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ppt/metadata" ContentType="application/binary"/>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autoCompressPictures="0">
  <p:sldMasterIdLst>
    <p:sldMasterId id="2147483648" r:id="rId1"/>
    <p:sldMasterId id="2147483660" r:id="rId2"/>
  </p:sldMasterIdLst>
  <p:notesMasterIdLst>
    <p:notesMasterId r:id="rId27"/>
  </p:notesMasterIdLst>
  <p:sldIdLst>
    <p:sldId id="256" r:id="rId3"/>
    <p:sldId id="282" r:id="rId4"/>
    <p:sldId id="284" r:id="rId5"/>
    <p:sldId id="283" r:id="rId6"/>
    <p:sldId id="297" r:id="rId7"/>
    <p:sldId id="298" r:id="rId8"/>
    <p:sldId id="2147481911" r:id="rId9"/>
    <p:sldId id="300" r:id="rId10"/>
    <p:sldId id="301" r:id="rId11"/>
    <p:sldId id="302" r:id="rId12"/>
    <p:sldId id="303" r:id="rId13"/>
    <p:sldId id="304" r:id="rId14"/>
    <p:sldId id="305" r:id="rId15"/>
    <p:sldId id="306" r:id="rId16"/>
    <p:sldId id="307" r:id="rId17"/>
    <p:sldId id="2147481908" r:id="rId18"/>
    <p:sldId id="2147481909" r:id="rId19"/>
    <p:sldId id="308" r:id="rId20"/>
    <p:sldId id="2147481906" r:id="rId21"/>
    <p:sldId id="2147481907" r:id="rId22"/>
    <p:sldId id="2147481910" r:id="rId23"/>
    <p:sldId id="310" r:id="rId24"/>
    <p:sldId id="311" r:id="rId25"/>
    <p:sldId id="2147481905" r:id="rId26"/>
  </p:sldIdLst>
  <p:sldSz cx="12192000" cy="6858000"/>
  <p:notesSz cx="6858000" cy="9144000"/>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ext>
    <p:ext uri="http://customooxmlschemas.google.com/">
      <go:slidesCustomData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xmlns:go="http://customooxmlschemas.google.com/" r:id="rId28" roundtripDataSignature="AMtx7miNer+MoIWSaArPUDEyMSZsqnvdNw=="/>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Pham Minh Duc - TTNHS" initials="PMDT" lastIdx="3" clrIdx="0">
    <p:extLst>
      <p:ext uri="{19B8F6BF-5375-455C-9EA6-DF929625EA0E}">
        <p15:presenceInfo xmlns:p15="http://schemas.microsoft.com/office/powerpoint/2012/main" userId="S::V365.ducpm1.ho@vcb365.onmicrosoft.com::45c690ba-b7ca-4e6d-b2aa-930c2616946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99FF9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6115" autoAdjust="0"/>
    <p:restoredTop sz="96374" autoAdjust="0"/>
  </p:normalViewPr>
  <p:slideViewPr>
    <p:cSldViewPr snapToGrid="0">
      <p:cViewPr varScale="1">
        <p:scale>
          <a:sx n="114" d="100"/>
          <a:sy n="114" d="100"/>
        </p:scale>
        <p:origin x="408" y="11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 Type="http://schemas.openxmlformats.org/officeDocument/2006/relationships/slide" Target="slides/slide1.xml"/><Relationship Id="rId21" Type="http://schemas.openxmlformats.org/officeDocument/2006/relationships/slide" Target="slides/slide19.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commentAuthors" Target="commentAuthor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theme" Target="theme/theme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customschemas.google.com/relationships/presentationmetadata" Target="metadata"/><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viewProps" Target="viewProp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notesMaster" Target="notesMasters/notesMaster1.xml"/><Relationship Id="rId30" Type="http://schemas.openxmlformats.org/officeDocument/2006/relationships/presProps" Target="pres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Shape 2"/>
        <p:cNvGrpSpPr/>
        <p:nvPr/>
      </p:nvGrpSpPr>
      <p:grpSpPr>
        <a:xfrm>
          <a:off x="0" y="0"/>
          <a:ext cx="0" cy="0"/>
          <a:chOff x="0" y="0"/>
          <a:chExt cx="0" cy="0"/>
        </a:xfrm>
      </p:grpSpPr>
      <p:sp>
        <p:nvSpPr>
          <p:cNvPr id="3" name="Google Shape;3;n"/>
          <p:cNvSpPr>
            <a:spLocks noGrp="1" noRot="1" noChangeAspect="1"/>
          </p:cNvSpPr>
          <p:nvPr>
            <p:ph type="sldImg" idx="2"/>
          </p:nvPr>
        </p:nvSpPr>
        <p:spPr>
          <a:xfrm>
            <a:off x="1143225" y="685800"/>
            <a:ext cx="4572225"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4" name="Google Shape;4;n"/>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lvl1pPr marL="457200" lvl="0" indent="-298450">
              <a:spcBef>
                <a:spcPts val="0"/>
              </a:spcBef>
              <a:spcAft>
                <a:spcPts val="0"/>
              </a:spcAft>
              <a:buSzPts val="1100"/>
              <a:buChar char="●"/>
              <a:defRPr sz="1100"/>
            </a:lvl1pPr>
            <a:lvl2pPr marL="914400" lvl="1" indent="-298450">
              <a:spcBef>
                <a:spcPts val="0"/>
              </a:spcBef>
              <a:spcAft>
                <a:spcPts val="0"/>
              </a:spcAft>
              <a:buSzPts val="1100"/>
              <a:buChar char="○"/>
              <a:defRPr sz="1100"/>
            </a:lvl2pPr>
            <a:lvl3pPr marL="1371600" lvl="2" indent="-298450">
              <a:spcBef>
                <a:spcPts val="0"/>
              </a:spcBef>
              <a:spcAft>
                <a:spcPts val="0"/>
              </a:spcAft>
              <a:buSzPts val="1100"/>
              <a:buChar char="■"/>
              <a:defRPr sz="1100"/>
            </a:lvl3pPr>
            <a:lvl4pPr marL="1828800" lvl="3" indent="-298450">
              <a:spcBef>
                <a:spcPts val="0"/>
              </a:spcBef>
              <a:spcAft>
                <a:spcPts val="0"/>
              </a:spcAft>
              <a:buSzPts val="1100"/>
              <a:buChar char="●"/>
              <a:defRPr sz="1100"/>
            </a:lvl4pPr>
            <a:lvl5pPr marL="2286000" lvl="4" indent="-298450">
              <a:spcBef>
                <a:spcPts val="0"/>
              </a:spcBef>
              <a:spcAft>
                <a:spcPts val="0"/>
              </a:spcAft>
              <a:buSzPts val="1100"/>
              <a:buChar char="○"/>
              <a:defRPr sz="1100"/>
            </a:lvl5pPr>
            <a:lvl6pPr marL="2743200" lvl="5" indent="-298450">
              <a:spcBef>
                <a:spcPts val="0"/>
              </a:spcBef>
              <a:spcAft>
                <a:spcPts val="0"/>
              </a:spcAft>
              <a:buSzPts val="1100"/>
              <a:buChar char="■"/>
              <a:defRPr sz="1100"/>
            </a:lvl6pPr>
            <a:lvl7pPr marL="3200400" lvl="6" indent="-298450">
              <a:spcBef>
                <a:spcPts val="0"/>
              </a:spcBef>
              <a:spcAft>
                <a:spcPts val="0"/>
              </a:spcAft>
              <a:buSzPts val="1100"/>
              <a:buChar char="●"/>
              <a:defRPr sz="1100"/>
            </a:lvl7pPr>
            <a:lvl8pPr marL="3657600" lvl="7" indent="-298450">
              <a:spcBef>
                <a:spcPts val="0"/>
              </a:spcBef>
              <a:spcAft>
                <a:spcPts val="0"/>
              </a:spcAft>
              <a:buSzPts val="1100"/>
              <a:buChar char="○"/>
              <a:defRPr sz="1100"/>
            </a:lvl8pPr>
            <a:lvl9pPr marL="4114800" lvl="8" indent="-298450">
              <a:spcBef>
                <a:spcPts val="0"/>
              </a:spcBef>
              <a:spcAft>
                <a:spcPts val="0"/>
              </a:spcAft>
              <a:buSzPts val="1100"/>
              <a:buChar char="■"/>
              <a:defRPr sz="1100"/>
            </a:lvl9pPr>
          </a:lstStyle>
          <a:p>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0"/>
        <p:cNvGrpSpPr/>
        <p:nvPr/>
      </p:nvGrpSpPr>
      <p:grpSpPr>
        <a:xfrm>
          <a:off x="0" y="0"/>
          <a:ext cx="0" cy="0"/>
          <a:chOff x="0" y="0"/>
          <a:chExt cx="0" cy="0"/>
        </a:xfrm>
      </p:grpSpPr>
      <p:sp>
        <p:nvSpPr>
          <p:cNvPr id="81" name="Google Shape;81;p1: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82" name="Google Shape;82;p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oleObject" Target="../embeddings/oleObject90.bin"/><Relationship Id="rId7" Type="http://schemas.openxmlformats.org/officeDocument/2006/relationships/image" Target="../media/image7.svg"/><Relationship Id="rId2" Type="http://schemas.openxmlformats.org/officeDocument/2006/relationships/slideMaster" Target="../slideMasters/slideMaster2.xml"/><Relationship Id="rId1" Type="http://schemas.openxmlformats.org/officeDocument/2006/relationships/tags" Target="../tags/tag92.xml"/><Relationship Id="rId6" Type="http://schemas.openxmlformats.org/officeDocument/2006/relationships/image" Target="../media/image5.png"/><Relationship Id="rId5" Type="http://schemas.openxmlformats.org/officeDocument/2006/relationships/image" Target="../media/image9.png"/><Relationship Id="rId4" Type="http://schemas.openxmlformats.org/officeDocument/2006/relationships/image" Target="../media/image4.emf"/></Relationships>
</file>

<file path=ppt/slideLayouts/_rels/slideLayout101.xml.rels><?xml version="1.0" encoding="UTF-8" standalone="yes"?>
<Relationships xmlns="http://schemas.openxmlformats.org/package/2006/relationships"><Relationship Id="rId3" Type="http://schemas.openxmlformats.org/officeDocument/2006/relationships/oleObject" Target="../embeddings/oleObject91.bin"/><Relationship Id="rId7" Type="http://schemas.openxmlformats.org/officeDocument/2006/relationships/image" Target="../media/image7.svg"/><Relationship Id="rId2" Type="http://schemas.openxmlformats.org/officeDocument/2006/relationships/slideMaster" Target="../slideMasters/slideMaster2.xml"/><Relationship Id="rId1" Type="http://schemas.openxmlformats.org/officeDocument/2006/relationships/tags" Target="../tags/tag93.xml"/><Relationship Id="rId6" Type="http://schemas.openxmlformats.org/officeDocument/2006/relationships/image" Target="../media/image5.png"/><Relationship Id="rId5" Type="http://schemas.openxmlformats.org/officeDocument/2006/relationships/image" Target="../media/image10.png"/><Relationship Id="rId4" Type="http://schemas.openxmlformats.org/officeDocument/2006/relationships/image" Target="../media/image4.emf"/></Relationships>
</file>

<file path=ppt/slideLayouts/_rels/slideLayout102.xml.rels><?xml version="1.0" encoding="UTF-8" standalone="yes"?>
<Relationships xmlns="http://schemas.openxmlformats.org/package/2006/relationships"><Relationship Id="rId3" Type="http://schemas.openxmlformats.org/officeDocument/2006/relationships/oleObject" Target="../embeddings/oleObject92.bin"/><Relationship Id="rId7" Type="http://schemas.openxmlformats.org/officeDocument/2006/relationships/image" Target="../media/image7.svg"/><Relationship Id="rId2" Type="http://schemas.openxmlformats.org/officeDocument/2006/relationships/slideMaster" Target="../slideMasters/slideMaster2.xml"/><Relationship Id="rId1" Type="http://schemas.openxmlformats.org/officeDocument/2006/relationships/tags" Target="../tags/tag94.xml"/><Relationship Id="rId6" Type="http://schemas.openxmlformats.org/officeDocument/2006/relationships/image" Target="../media/image5.png"/><Relationship Id="rId5" Type="http://schemas.openxmlformats.org/officeDocument/2006/relationships/image" Target="../media/image9.png"/><Relationship Id="rId4" Type="http://schemas.openxmlformats.org/officeDocument/2006/relationships/image" Target="../media/image4.emf"/></Relationships>
</file>

<file path=ppt/slideLayouts/_rels/slideLayout103.xml.rels><?xml version="1.0" encoding="UTF-8" standalone="yes"?>
<Relationships xmlns="http://schemas.openxmlformats.org/package/2006/relationships"><Relationship Id="rId3" Type="http://schemas.openxmlformats.org/officeDocument/2006/relationships/oleObject" Target="../embeddings/oleObject93.bin"/><Relationship Id="rId7" Type="http://schemas.openxmlformats.org/officeDocument/2006/relationships/image" Target="../media/image7.svg"/><Relationship Id="rId2" Type="http://schemas.openxmlformats.org/officeDocument/2006/relationships/slideMaster" Target="../slideMasters/slideMaster2.xml"/><Relationship Id="rId1" Type="http://schemas.openxmlformats.org/officeDocument/2006/relationships/tags" Target="../tags/tag95.xml"/><Relationship Id="rId6" Type="http://schemas.openxmlformats.org/officeDocument/2006/relationships/image" Target="../media/image5.png"/><Relationship Id="rId5" Type="http://schemas.openxmlformats.org/officeDocument/2006/relationships/image" Target="../media/image10.png"/><Relationship Id="rId4" Type="http://schemas.openxmlformats.org/officeDocument/2006/relationships/image" Target="../media/image4.emf"/></Relationships>
</file>

<file path=ppt/slideLayouts/_rels/slideLayout104.xml.rels><?xml version="1.0" encoding="UTF-8" standalone="yes"?>
<Relationships xmlns="http://schemas.openxmlformats.org/package/2006/relationships"><Relationship Id="rId3" Type="http://schemas.openxmlformats.org/officeDocument/2006/relationships/oleObject" Target="../embeddings/oleObject94.bin"/><Relationship Id="rId2" Type="http://schemas.openxmlformats.org/officeDocument/2006/relationships/slideMaster" Target="../slideMasters/slideMaster2.xml"/><Relationship Id="rId1" Type="http://schemas.openxmlformats.org/officeDocument/2006/relationships/tags" Target="../tags/tag96.xml"/><Relationship Id="rId6" Type="http://schemas.openxmlformats.org/officeDocument/2006/relationships/image" Target="../media/image7.svg"/><Relationship Id="rId5" Type="http://schemas.openxmlformats.org/officeDocument/2006/relationships/image" Target="../media/image5.png"/><Relationship Id="rId4" Type="http://schemas.openxmlformats.org/officeDocument/2006/relationships/image" Target="../media/image4.emf"/></Relationships>
</file>

<file path=ppt/slideLayouts/_rels/slideLayout105.xml.rels><?xml version="1.0" encoding="UTF-8" standalone="yes"?>
<Relationships xmlns="http://schemas.openxmlformats.org/package/2006/relationships"><Relationship Id="rId3" Type="http://schemas.openxmlformats.org/officeDocument/2006/relationships/oleObject" Target="../embeddings/oleObject95.bin"/><Relationship Id="rId2" Type="http://schemas.openxmlformats.org/officeDocument/2006/relationships/slideMaster" Target="../slideMasters/slideMaster2.xml"/><Relationship Id="rId1" Type="http://schemas.openxmlformats.org/officeDocument/2006/relationships/tags" Target="../tags/tag97.xml"/><Relationship Id="rId6" Type="http://schemas.openxmlformats.org/officeDocument/2006/relationships/image" Target="../media/image7.svg"/><Relationship Id="rId5" Type="http://schemas.openxmlformats.org/officeDocument/2006/relationships/image" Target="../media/image5.png"/><Relationship Id="rId4" Type="http://schemas.openxmlformats.org/officeDocument/2006/relationships/image" Target="../media/image4.emf"/></Relationships>
</file>

<file path=ppt/slideLayouts/_rels/slideLayout106.xml.rels><?xml version="1.0" encoding="UTF-8" standalone="yes"?>
<Relationships xmlns="http://schemas.openxmlformats.org/package/2006/relationships"><Relationship Id="rId3" Type="http://schemas.openxmlformats.org/officeDocument/2006/relationships/oleObject" Target="../embeddings/oleObject96.bin"/><Relationship Id="rId7" Type="http://schemas.openxmlformats.org/officeDocument/2006/relationships/image" Target="../media/image7.svg"/><Relationship Id="rId2" Type="http://schemas.openxmlformats.org/officeDocument/2006/relationships/slideMaster" Target="../slideMasters/slideMaster2.xml"/><Relationship Id="rId1" Type="http://schemas.openxmlformats.org/officeDocument/2006/relationships/tags" Target="../tags/tag98.xml"/><Relationship Id="rId6" Type="http://schemas.openxmlformats.org/officeDocument/2006/relationships/image" Target="../media/image5.png"/><Relationship Id="rId5" Type="http://schemas.openxmlformats.org/officeDocument/2006/relationships/image" Target="../media/image13.png"/><Relationship Id="rId4" Type="http://schemas.openxmlformats.org/officeDocument/2006/relationships/image" Target="../media/image2.emf"/></Relationships>
</file>

<file path=ppt/slideLayouts/_rels/slideLayout107.xml.rels><?xml version="1.0" encoding="UTF-8" standalone="yes"?>
<Relationships xmlns="http://schemas.openxmlformats.org/package/2006/relationships"><Relationship Id="rId3" Type="http://schemas.openxmlformats.org/officeDocument/2006/relationships/oleObject" Target="../embeddings/oleObject97.bin"/><Relationship Id="rId2" Type="http://schemas.openxmlformats.org/officeDocument/2006/relationships/slideMaster" Target="../slideMasters/slideMaster2.xml"/><Relationship Id="rId1" Type="http://schemas.openxmlformats.org/officeDocument/2006/relationships/tags" Target="../tags/tag99.xml"/><Relationship Id="rId6" Type="http://schemas.openxmlformats.org/officeDocument/2006/relationships/image" Target="../media/image7.svg"/><Relationship Id="rId5" Type="http://schemas.openxmlformats.org/officeDocument/2006/relationships/image" Target="../media/image5.png"/><Relationship Id="rId4" Type="http://schemas.openxmlformats.org/officeDocument/2006/relationships/image" Target="../media/image4.emf"/></Relationships>
</file>

<file path=ppt/slideLayouts/_rels/slideLayout108.xml.rels><?xml version="1.0" encoding="UTF-8" standalone="yes"?>
<Relationships xmlns="http://schemas.openxmlformats.org/package/2006/relationships"><Relationship Id="rId3" Type="http://schemas.openxmlformats.org/officeDocument/2006/relationships/oleObject" Target="../embeddings/oleObject98.bin"/><Relationship Id="rId7" Type="http://schemas.openxmlformats.org/officeDocument/2006/relationships/image" Target="../media/image7.svg"/><Relationship Id="rId2" Type="http://schemas.openxmlformats.org/officeDocument/2006/relationships/slideMaster" Target="../slideMasters/slideMaster2.xml"/><Relationship Id="rId1" Type="http://schemas.openxmlformats.org/officeDocument/2006/relationships/tags" Target="../tags/tag100.xml"/><Relationship Id="rId6" Type="http://schemas.openxmlformats.org/officeDocument/2006/relationships/image" Target="../media/image5.png"/><Relationship Id="rId5" Type="http://schemas.openxmlformats.org/officeDocument/2006/relationships/image" Target="../media/image9.png"/><Relationship Id="rId4" Type="http://schemas.openxmlformats.org/officeDocument/2006/relationships/image" Target="../media/image4.emf"/></Relationships>
</file>

<file path=ppt/slideLayouts/_rels/slideLayout109.xml.rels><?xml version="1.0" encoding="UTF-8" standalone="yes"?>
<Relationships xmlns="http://schemas.openxmlformats.org/package/2006/relationships"><Relationship Id="rId3" Type="http://schemas.openxmlformats.org/officeDocument/2006/relationships/oleObject" Target="../embeddings/oleObject99.bin"/><Relationship Id="rId2" Type="http://schemas.openxmlformats.org/officeDocument/2006/relationships/slideMaster" Target="../slideMasters/slideMaster2.xml"/><Relationship Id="rId1" Type="http://schemas.openxmlformats.org/officeDocument/2006/relationships/tags" Target="../tags/tag101.xml"/><Relationship Id="rId6" Type="http://schemas.openxmlformats.org/officeDocument/2006/relationships/image" Target="../media/image7.svg"/><Relationship Id="rId5" Type="http://schemas.openxmlformats.org/officeDocument/2006/relationships/image" Target="../media/image5.png"/><Relationship Id="rId4" Type="http://schemas.openxmlformats.org/officeDocument/2006/relationships/image" Target="../media/image4.emf"/></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oleObject" Target="../embeddings/oleObject100.bin"/><Relationship Id="rId2" Type="http://schemas.openxmlformats.org/officeDocument/2006/relationships/slideMaster" Target="../slideMasters/slideMaster2.xml"/><Relationship Id="rId1" Type="http://schemas.openxmlformats.org/officeDocument/2006/relationships/tags" Target="../tags/tag102.xml"/><Relationship Id="rId6" Type="http://schemas.openxmlformats.org/officeDocument/2006/relationships/image" Target="../media/image7.svg"/><Relationship Id="rId5" Type="http://schemas.openxmlformats.org/officeDocument/2006/relationships/image" Target="../media/image5.png"/><Relationship Id="rId4" Type="http://schemas.openxmlformats.org/officeDocument/2006/relationships/image" Target="../media/image4.emf"/></Relationships>
</file>

<file path=ppt/slideLayouts/_rels/slideLayout111.xml.rels><?xml version="1.0" encoding="UTF-8" standalone="yes"?>
<Relationships xmlns="http://schemas.openxmlformats.org/package/2006/relationships"><Relationship Id="rId3" Type="http://schemas.openxmlformats.org/officeDocument/2006/relationships/oleObject" Target="../embeddings/oleObject101.bin"/><Relationship Id="rId2" Type="http://schemas.openxmlformats.org/officeDocument/2006/relationships/slideMaster" Target="../slideMasters/slideMaster2.xml"/><Relationship Id="rId1" Type="http://schemas.openxmlformats.org/officeDocument/2006/relationships/tags" Target="../tags/tag103.xml"/><Relationship Id="rId6" Type="http://schemas.openxmlformats.org/officeDocument/2006/relationships/image" Target="../media/image7.svg"/><Relationship Id="rId5" Type="http://schemas.openxmlformats.org/officeDocument/2006/relationships/image" Target="../media/image5.png"/><Relationship Id="rId4" Type="http://schemas.openxmlformats.org/officeDocument/2006/relationships/image" Target="../media/image4.emf"/></Relationships>
</file>

<file path=ppt/slideLayouts/_rels/slideLayout112.xml.rels><?xml version="1.0" encoding="UTF-8" standalone="yes"?>
<Relationships xmlns="http://schemas.openxmlformats.org/package/2006/relationships"><Relationship Id="rId3" Type="http://schemas.openxmlformats.org/officeDocument/2006/relationships/oleObject" Target="../embeddings/oleObject102.bin"/><Relationship Id="rId2" Type="http://schemas.openxmlformats.org/officeDocument/2006/relationships/slideMaster" Target="../slideMasters/slideMaster2.xml"/><Relationship Id="rId1" Type="http://schemas.openxmlformats.org/officeDocument/2006/relationships/tags" Target="../tags/tag104.xml"/><Relationship Id="rId6" Type="http://schemas.openxmlformats.org/officeDocument/2006/relationships/image" Target="../media/image7.svg"/><Relationship Id="rId5" Type="http://schemas.openxmlformats.org/officeDocument/2006/relationships/image" Target="../media/image5.png"/><Relationship Id="rId4" Type="http://schemas.openxmlformats.org/officeDocument/2006/relationships/image" Target="../media/image4.emf"/></Relationships>
</file>

<file path=ppt/slideLayouts/_rels/slideLayout113.xml.rels><?xml version="1.0" encoding="UTF-8" standalone="yes"?>
<Relationships xmlns="http://schemas.openxmlformats.org/package/2006/relationships"><Relationship Id="rId3" Type="http://schemas.openxmlformats.org/officeDocument/2006/relationships/oleObject" Target="../embeddings/oleObject103.bin"/><Relationship Id="rId7" Type="http://schemas.openxmlformats.org/officeDocument/2006/relationships/image" Target="../media/image7.svg"/><Relationship Id="rId2" Type="http://schemas.openxmlformats.org/officeDocument/2006/relationships/slideMaster" Target="../slideMasters/slideMaster2.xml"/><Relationship Id="rId1" Type="http://schemas.openxmlformats.org/officeDocument/2006/relationships/tags" Target="../tags/tag105.xml"/><Relationship Id="rId6" Type="http://schemas.openxmlformats.org/officeDocument/2006/relationships/image" Target="../media/image5.png"/><Relationship Id="rId5" Type="http://schemas.openxmlformats.org/officeDocument/2006/relationships/image" Target="../media/image9.png"/><Relationship Id="rId4" Type="http://schemas.openxmlformats.org/officeDocument/2006/relationships/image" Target="../media/image4.emf"/></Relationships>
</file>

<file path=ppt/slideLayouts/_rels/slideLayout114.xml.rels><?xml version="1.0" encoding="UTF-8" standalone="yes"?>
<Relationships xmlns="http://schemas.openxmlformats.org/package/2006/relationships"><Relationship Id="rId3" Type="http://schemas.openxmlformats.org/officeDocument/2006/relationships/oleObject" Target="../embeddings/oleObject104.bin"/><Relationship Id="rId2" Type="http://schemas.openxmlformats.org/officeDocument/2006/relationships/slideMaster" Target="../slideMasters/slideMaster2.xml"/><Relationship Id="rId1" Type="http://schemas.openxmlformats.org/officeDocument/2006/relationships/tags" Target="../tags/tag106.xml"/><Relationship Id="rId6" Type="http://schemas.openxmlformats.org/officeDocument/2006/relationships/image" Target="../media/image7.svg"/><Relationship Id="rId5" Type="http://schemas.openxmlformats.org/officeDocument/2006/relationships/image" Target="../media/image5.png"/><Relationship Id="rId4" Type="http://schemas.openxmlformats.org/officeDocument/2006/relationships/image" Target="../media/image4.emf"/></Relationships>
</file>

<file path=ppt/slideLayouts/_rels/slideLayout115.xml.rels><?xml version="1.0" encoding="UTF-8" standalone="yes"?>
<Relationships xmlns="http://schemas.openxmlformats.org/package/2006/relationships"><Relationship Id="rId3" Type="http://schemas.openxmlformats.org/officeDocument/2006/relationships/oleObject" Target="../embeddings/oleObject105.bin"/><Relationship Id="rId2" Type="http://schemas.openxmlformats.org/officeDocument/2006/relationships/slideMaster" Target="../slideMasters/slideMaster2.xml"/><Relationship Id="rId1" Type="http://schemas.openxmlformats.org/officeDocument/2006/relationships/tags" Target="../tags/tag107.xml"/><Relationship Id="rId6" Type="http://schemas.openxmlformats.org/officeDocument/2006/relationships/image" Target="../media/image7.svg"/><Relationship Id="rId5" Type="http://schemas.openxmlformats.org/officeDocument/2006/relationships/image" Target="../media/image5.png"/><Relationship Id="rId4" Type="http://schemas.openxmlformats.org/officeDocument/2006/relationships/image" Target="../media/image4.emf"/></Relationships>
</file>

<file path=ppt/slideLayouts/_rels/slideLayout116.xml.rels><?xml version="1.0" encoding="UTF-8" standalone="yes"?>
<Relationships xmlns="http://schemas.openxmlformats.org/package/2006/relationships"><Relationship Id="rId3" Type="http://schemas.openxmlformats.org/officeDocument/2006/relationships/oleObject" Target="../embeddings/oleObject106.bin"/><Relationship Id="rId2" Type="http://schemas.openxmlformats.org/officeDocument/2006/relationships/slideMaster" Target="../slideMasters/slideMaster2.xml"/><Relationship Id="rId1" Type="http://schemas.openxmlformats.org/officeDocument/2006/relationships/tags" Target="../tags/tag108.xml"/><Relationship Id="rId6" Type="http://schemas.openxmlformats.org/officeDocument/2006/relationships/image" Target="../media/image7.svg"/><Relationship Id="rId5" Type="http://schemas.openxmlformats.org/officeDocument/2006/relationships/image" Target="../media/image5.png"/><Relationship Id="rId4" Type="http://schemas.openxmlformats.org/officeDocument/2006/relationships/image" Target="../media/image4.emf"/></Relationships>
</file>

<file path=ppt/slideLayouts/_rels/slideLayout117.xml.rels><?xml version="1.0" encoding="UTF-8" standalone="yes"?>
<Relationships xmlns="http://schemas.openxmlformats.org/package/2006/relationships"><Relationship Id="rId3" Type="http://schemas.openxmlformats.org/officeDocument/2006/relationships/oleObject" Target="../embeddings/oleObject107.bin"/><Relationship Id="rId7" Type="http://schemas.openxmlformats.org/officeDocument/2006/relationships/image" Target="../media/image3.jpeg"/><Relationship Id="rId2" Type="http://schemas.openxmlformats.org/officeDocument/2006/relationships/slideMaster" Target="../slideMasters/slideMaster2.xml"/><Relationship Id="rId1" Type="http://schemas.openxmlformats.org/officeDocument/2006/relationships/tags" Target="../tags/tag109.xml"/><Relationship Id="rId6" Type="http://schemas.openxmlformats.org/officeDocument/2006/relationships/image" Target="../media/image15.jpeg"/><Relationship Id="rId5" Type="http://schemas.openxmlformats.org/officeDocument/2006/relationships/image" Target="../media/image14.png"/><Relationship Id="rId4" Type="http://schemas.openxmlformats.org/officeDocument/2006/relationships/image" Target="../media/image2.emf"/></Relationships>
</file>

<file path=ppt/slideLayouts/_rels/slideLayout118.xml.rels><?xml version="1.0" encoding="UTF-8" standalone="yes"?>
<Relationships xmlns="http://schemas.openxmlformats.org/package/2006/relationships"><Relationship Id="rId3" Type="http://schemas.openxmlformats.org/officeDocument/2006/relationships/oleObject" Target="../embeddings/oleObject108.bin"/><Relationship Id="rId2" Type="http://schemas.openxmlformats.org/officeDocument/2006/relationships/slideMaster" Target="../slideMasters/slideMaster2.xml"/><Relationship Id="rId1" Type="http://schemas.openxmlformats.org/officeDocument/2006/relationships/tags" Target="../tags/tag110.xml"/><Relationship Id="rId6" Type="http://schemas.openxmlformats.org/officeDocument/2006/relationships/image" Target="../media/image7.svg"/><Relationship Id="rId5" Type="http://schemas.openxmlformats.org/officeDocument/2006/relationships/image" Target="../media/image5.png"/><Relationship Id="rId4" Type="http://schemas.openxmlformats.org/officeDocument/2006/relationships/image" Target="../media/image4.emf"/></Relationships>
</file>

<file path=ppt/slideLayouts/_rels/slideLayout119.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7.svg"/><Relationship Id="rId2" Type="http://schemas.openxmlformats.org/officeDocument/2006/relationships/tags" Target="../tags/tag112.xml"/><Relationship Id="rId1" Type="http://schemas.openxmlformats.org/officeDocument/2006/relationships/tags" Target="../tags/tag111.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109.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image" Target="../media/image3.jpeg"/><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120.xml.rels><?xml version="1.0" encoding="UTF-8" standalone="yes"?>
<Relationships xmlns="http://schemas.openxmlformats.org/package/2006/relationships"><Relationship Id="rId3" Type="http://schemas.openxmlformats.org/officeDocument/2006/relationships/oleObject" Target="../embeddings/oleObject110.bin"/><Relationship Id="rId2" Type="http://schemas.openxmlformats.org/officeDocument/2006/relationships/slideMaster" Target="../slideMasters/slideMaster2.xml"/><Relationship Id="rId1" Type="http://schemas.openxmlformats.org/officeDocument/2006/relationships/tags" Target="../tags/tag113.xml"/><Relationship Id="rId6" Type="http://schemas.openxmlformats.org/officeDocument/2006/relationships/image" Target="../media/image7.svg"/><Relationship Id="rId5" Type="http://schemas.openxmlformats.org/officeDocument/2006/relationships/image" Target="../media/image5.png"/><Relationship Id="rId4" Type="http://schemas.openxmlformats.org/officeDocument/2006/relationships/image" Target="../media/image1.emf"/></Relationships>
</file>

<file path=ppt/slideLayouts/_rels/slideLayout121.xml.rels><?xml version="1.0" encoding="UTF-8" standalone="yes"?>
<Relationships xmlns="http://schemas.openxmlformats.org/package/2006/relationships"><Relationship Id="rId3" Type="http://schemas.openxmlformats.org/officeDocument/2006/relationships/oleObject" Target="../embeddings/oleObject111.bin"/><Relationship Id="rId2" Type="http://schemas.openxmlformats.org/officeDocument/2006/relationships/slideMaster" Target="../slideMasters/slideMaster2.xml"/><Relationship Id="rId1" Type="http://schemas.openxmlformats.org/officeDocument/2006/relationships/tags" Target="../tags/tag114.xml"/><Relationship Id="rId6" Type="http://schemas.openxmlformats.org/officeDocument/2006/relationships/image" Target="../media/image7.svg"/><Relationship Id="rId5" Type="http://schemas.openxmlformats.org/officeDocument/2006/relationships/image" Target="../media/image5.png"/><Relationship Id="rId4" Type="http://schemas.openxmlformats.org/officeDocument/2006/relationships/image" Target="../media/image1.emf"/></Relationships>
</file>

<file path=ppt/slideLayouts/_rels/slideLayout122.xml.rels><?xml version="1.0" encoding="UTF-8" standalone="yes"?>
<Relationships xmlns="http://schemas.openxmlformats.org/package/2006/relationships"><Relationship Id="rId3" Type="http://schemas.openxmlformats.org/officeDocument/2006/relationships/oleObject" Target="../embeddings/oleObject112.bin"/><Relationship Id="rId7" Type="http://schemas.openxmlformats.org/officeDocument/2006/relationships/image" Target="../media/image7.svg"/><Relationship Id="rId2" Type="http://schemas.openxmlformats.org/officeDocument/2006/relationships/slideMaster" Target="../slideMasters/slideMaster2.xml"/><Relationship Id="rId1" Type="http://schemas.openxmlformats.org/officeDocument/2006/relationships/tags" Target="../tags/tag115.xml"/><Relationship Id="rId6" Type="http://schemas.openxmlformats.org/officeDocument/2006/relationships/image" Target="../media/image5.png"/><Relationship Id="rId5" Type="http://schemas.openxmlformats.org/officeDocument/2006/relationships/image" Target="../media/image8.png"/><Relationship Id="rId4" Type="http://schemas.openxmlformats.org/officeDocument/2006/relationships/image" Target="../media/image1.emf"/></Relationships>
</file>

<file path=ppt/slideLayouts/_rels/slideLayout123.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7.svg"/><Relationship Id="rId2" Type="http://schemas.openxmlformats.org/officeDocument/2006/relationships/tags" Target="../tags/tag117.xml"/><Relationship Id="rId1" Type="http://schemas.openxmlformats.org/officeDocument/2006/relationships/tags" Target="../tags/tag116.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113.bin"/></Relationships>
</file>

<file path=ppt/slideLayouts/_rels/slideLayout124.xml.rels><?xml version="1.0" encoding="UTF-8" standalone="yes"?>
<Relationships xmlns="http://schemas.openxmlformats.org/package/2006/relationships"><Relationship Id="rId3" Type="http://schemas.openxmlformats.org/officeDocument/2006/relationships/oleObject" Target="../embeddings/oleObject114.bin"/><Relationship Id="rId2" Type="http://schemas.openxmlformats.org/officeDocument/2006/relationships/slideMaster" Target="../slideMasters/slideMaster2.xml"/><Relationship Id="rId1" Type="http://schemas.openxmlformats.org/officeDocument/2006/relationships/tags" Target="../tags/tag118.xml"/><Relationship Id="rId6" Type="http://schemas.openxmlformats.org/officeDocument/2006/relationships/image" Target="../media/image7.svg"/><Relationship Id="rId5" Type="http://schemas.openxmlformats.org/officeDocument/2006/relationships/image" Target="../media/image5.png"/><Relationship Id="rId4" Type="http://schemas.openxmlformats.org/officeDocument/2006/relationships/image" Target="../media/image1.emf"/></Relationships>
</file>

<file path=ppt/slideLayouts/_rels/slideLayout125.xml.rels><?xml version="1.0" encoding="UTF-8" standalone="yes"?>
<Relationships xmlns="http://schemas.openxmlformats.org/package/2006/relationships"><Relationship Id="rId3" Type="http://schemas.openxmlformats.org/officeDocument/2006/relationships/oleObject" Target="../embeddings/oleObject115.bin"/><Relationship Id="rId2" Type="http://schemas.openxmlformats.org/officeDocument/2006/relationships/slideMaster" Target="../slideMasters/slideMaster2.xml"/><Relationship Id="rId1" Type="http://schemas.openxmlformats.org/officeDocument/2006/relationships/tags" Target="../tags/tag119.xml"/><Relationship Id="rId6" Type="http://schemas.openxmlformats.org/officeDocument/2006/relationships/image" Target="../media/image7.svg"/><Relationship Id="rId5" Type="http://schemas.openxmlformats.org/officeDocument/2006/relationships/image" Target="../media/image5.png"/><Relationship Id="rId4" Type="http://schemas.openxmlformats.org/officeDocument/2006/relationships/image" Target="../media/image1.emf"/></Relationships>
</file>

<file path=ppt/slideLayouts/_rels/slideLayout126.xml.rels><?xml version="1.0" encoding="UTF-8" standalone="yes"?>
<Relationships xmlns="http://schemas.openxmlformats.org/package/2006/relationships"><Relationship Id="rId3" Type="http://schemas.openxmlformats.org/officeDocument/2006/relationships/oleObject" Target="../embeddings/oleObject116.bin"/><Relationship Id="rId7" Type="http://schemas.openxmlformats.org/officeDocument/2006/relationships/image" Target="../media/image7.svg"/><Relationship Id="rId2" Type="http://schemas.openxmlformats.org/officeDocument/2006/relationships/slideMaster" Target="../slideMasters/slideMaster2.xml"/><Relationship Id="rId1" Type="http://schemas.openxmlformats.org/officeDocument/2006/relationships/tags" Target="../tags/tag120.xml"/><Relationship Id="rId6" Type="http://schemas.openxmlformats.org/officeDocument/2006/relationships/image" Target="../media/image5.png"/><Relationship Id="rId5" Type="http://schemas.openxmlformats.org/officeDocument/2006/relationships/image" Target="../media/image8.png"/><Relationship Id="rId4" Type="http://schemas.openxmlformats.org/officeDocument/2006/relationships/image" Target="../media/image1.emf"/></Relationships>
</file>

<file path=ppt/slideLayouts/_rels/slideLayout127.xml.rels><?xml version="1.0" encoding="UTF-8" standalone="yes"?>
<Relationships xmlns="http://schemas.openxmlformats.org/package/2006/relationships"><Relationship Id="rId3" Type="http://schemas.openxmlformats.org/officeDocument/2006/relationships/oleObject" Target="../embeddings/oleObject117.bin"/><Relationship Id="rId7" Type="http://schemas.openxmlformats.org/officeDocument/2006/relationships/image" Target="../media/image7.svg"/><Relationship Id="rId2" Type="http://schemas.openxmlformats.org/officeDocument/2006/relationships/slideMaster" Target="../slideMasters/slideMaster2.xml"/><Relationship Id="rId1" Type="http://schemas.openxmlformats.org/officeDocument/2006/relationships/tags" Target="../tags/tag121.xml"/><Relationship Id="rId6" Type="http://schemas.openxmlformats.org/officeDocument/2006/relationships/image" Target="../media/image5.png"/><Relationship Id="rId5" Type="http://schemas.openxmlformats.org/officeDocument/2006/relationships/image" Target="../media/image9.png"/><Relationship Id="rId4" Type="http://schemas.openxmlformats.org/officeDocument/2006/relationships/image" Target="../media/image1.emf"/></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129.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7.svg"/><Relationship Id="rId2" Type="http://schemas.openxmlformats.org/officeDocument/2006/relationships/tags" Target="../tags/tag123.xml"/><Relationship Id="rId1" Type="http://schemas.openxmlformats.org/officeDocument/2006/relationships/tags" Target="../tags/tag122.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118.bin"/></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4.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4.emf"/></Relationships>
</file>

<file path=ppt/slideLayouts/_rels/slideLayout130.xml.rels><?xml version="1.0" encoding="UTF-8" standalone="yes"?>
<Relationships xmlns="http://schemas.openxmlformats.org/package/2006/relationships"><Relationship Id="rId3" Type="http://schemas.openxmlformats.org/officeDocument/2006/relationships/oleObject" Target="../embeddings/oleObject119.bin"/><Relationship Id="rId2" Type="http://schemas.openxmlformats.org/officeDocument/2006/relationships/slideMaster" Target="../slideMasters/slideMaster2.xml"/><Relationship Id="rId1" Type="http://schemas.openxmlformats.org/officeDocument/2006/relationships/tags" Target="../tags/tag124.xml"/><Relationship Id="rId6" Type="http://schemas.openxmlformats.org/officeDocument/2006/relationships/image" Target="../media/image7.svg"/><Relationship Id="rId5" Type="http://schemas.openxmlformats.org/officeDocument/2006/relationships/image" Target="../media/image5.png"/><Relationship Id="rId4" Type="http://schemas.openxmlformats.org/officeDocument/2006/relationships/image" Target="../media/image1.emf"/></Relationships>
</file>

<file path=ppt/slideLayouts/_rels/slideLayout131.xml.rels><?xml version="1.0" encoding="UTF-8" standalone="yes"?>
<Relationships xmlns="http://schemas.openxmlformats.org/package/2006/relationships"><Relationship Id="rId3" Type="http://schemas.openxmlformats.org/officeDocument/2006/relationships/oleObject" Target="../embeddings/oleObject120.bin"/><Relationship Id="rId2" Type="http://schemas.openxmlformats.org/officeDocument/2006/relationships/slideMaster" Target="../slideMasters/slideMaster2.xml"/><Relationship Id="rId1" Type="http://schemas.openxmlformats.org/officeDocument/2006/relationships/tags" Target="../tags/tag125.xml"/><Relationship Id="rId6" Type="http://schemas.openxmlformats.org/officeDocument/2006/relationships/image" Target="../media/image7.svg"/><Relationship Id="rId5" Type="http://schemas.openxmlformats.org/officeDocument/2006/relationships/image" Target="../media/image5.png"/><Relationship Id="rId4" Type="http://schemas.openxmlformats.org/officeDocument/2006/relationships/image" Target="../media/image1.emf"/></Relationships>
</file>

<file path=ppt/slideLayouts/_rels/slideLayout132.xml.rels><?xml version="1.0" encoding="UTF-8" standalone="yes"?>
<Relationships xmlns="http://schemas.openxmlformats.org/package/2006/relationships"><Relationship Id="rId3" Type="http://schemas.openxmlformats.org/officeDocument/2006/relationships/oleObject" Target="../embeddings/oleObject121.bin"/><Relationship Id="rId7" Type="http://schemas.openxmlformats.org/officeDocument/2006/relationships/image" Target="../media/image7.svg"/><Relationship Id="rId2" Type="http://schemas.openxmlformats.org/officeDocument/2006/relationships/slideMaster" Target="../slideMasters/slideMaster2.xml"/><Relationship Id="rId1" Type="http://schemas.openxmlformats.org/officeDocument/2006/relationships/tags" Target="../tags/tag126.xml"/><Relationship Id="rId6" Type="http://schemas.openxmlformats.org/officeDocument/2006/relationships/image" Target="../media/image5.png"/><Relationship Id="rId5" Type="http://schemas.openxmlformats.org/officeDocument/2006/relationships/image" Target="../media/image8.png"/><Relationship Id="rId4" Type="http://schemas.openxmlformats.org/officeDocument/2006/relationships/image" Target="../media/image1.emf"/></Relationships>
</file>

<file path=ppt/slideLayouts/_rels/slideLayout133.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7.svg"/><Relationship Id="rId2" Type="http://schemas.openxmlformats.org/officeDocument/2006/relationships/tags" Target="../tags/tag128.xml"/><Relationship Id="rId1" Type="http://schemas.openxmlformats.org/officeDocument/2006/relationships/tags" Target="../tags/tag127.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122.bin"/></Relationships>
</file>

<file path=ppt/slideLayouts/_rels/slideLayout134.xml.rels><?xml version="1.0" encoding="UTF-8" standalone="yes"?>
<Relationships xmlns="http://schemas.openxmlformats.org/package/2006/relationships"><Relationship Id="rId3" Type="http://schemas.openxmlformats.org/officeDocument/2006/relationships/oleObject" Target="../embeddings/oleObject123.bin"/><Relationship Id="rId2" Type="http://schemas.openxmlformats.org/officeDocument/2006/relationships/slideMaster" Target="../slideMasters/slideMaster2.xml"/><Relationship Id="rId1" Type="http://schemas.openxmlformats.org/officeDocument/2006/relationships/tags" Target="../tags/tag129.xml"/><Relationship Id="rId6" Type="http://schemas.openxmlformats.org/officeDocument/2006/relationships/image" Target="../media/image7.svg"/><Relationship Id="rId5" Type="http://schemas.openxmlformats.org/officeDocument/2006/relationships/image" Target="../media/image5.png"/><Relationship Id="rId4" Type="http://schemas.openxmlformats.org/officeDocument/2006/relationships/image" Target="../media/image1.emf"/></Relationships>
</file>

<file path=ppt/slideLayouts/_rels/slideLayout135.xml.rels><?xml version="1.0" encoding="UTF-8" standalone="yes"?>
<Relationships xmlns="http://schemas.openxmlformats.org/package/2006/relationships"><Relationship Id="rId3" Type="http://schemas.openxmlformats.org/officeDocument/2006/relationships/oleObject" Target="../embeddings/oleObject124.bin"/><Relationship Id="rId2" Type="http://schemas.openxmlformats.org/officeDocument/2006/relationships/slideMaster" Target="../slideMasters/slideMaster2.xml"/><Relationship Id="rId1" Type="http://schemas.openxmlformats.org/officeDocument/2006/relationships/tags" Target="../tags/tag130.xml"/><Relationship Id="rId6" Type="http://schemas.openxmlformats.org/officeDocument/2006/relationships/image" Target="../media/image7.svg"/><Relationship Id="rId5" Type="http://schemas.openxmlformats.org/officeDocument/2006/relationships/image" Target="../media/image5.png"/><Relationship Id="rId4" Type="http://schemas.openxmlformats.org/officeDocument/2006/relationships/image" Target="../media/image1.emf"/></Relationships>
</file>

<file path=ppt/slideLayouts/_rels/slideLayout136.xml.rels><?xml version="1.0" encoding="UTF-8" standalone="yes"?>
<Relationships xmlns="http://schemas.openxmlformats.org/package/2006/relationships"><Relationship Id="rId3" Type="http://schemas.openxmlformats.org/officeDocument/2006/relationships/oleObject" Target="../embeddings/oleObject125.bin"/><Relationship Id="rId7" Type="http://schemas.openxmlformats.org/officeDocument/2006/relationships/image" Target="../media/image7.svg"/><Relationship Id="rId2" Type="http://schemas.openxmlformats.org/officeDocument/2006/relationships/slideMaster" Target="../slideMasters/slideMaster2.xml"/><Relationship Id="rId1" Type="http://schemas.openxmlformats.org/officeDocument/2006/relationships/tags" Target="../tags/tag131.xml"/><Relationship Id="rId6" Type="http://schemas.openxmlformats.org/officeDocument/2006/relationships/image" Target="../media/image5.png"/><Relationship Id="rId5" Type="http://schemas.openxmlformats.org/officeDocument/2006/relationships/image" Target="../media/image8.png"/><Relationship Id="rId4" Type="http://schemas.openxmlformats.org/officeDocument/2006/relationships/image" Target="../media/image1.emf"/></Relationships>
</file>

<file path=ppt/slideLayouts/_rels/slideLayout137.xml.rels><?xml version="1.0" encoding="UTF-8" standalone="yes"?>
<Relationships xmlns="http://schemas.openxmlformats.org/package/2006/relationships"><Relationship Id="rId3" Type="http://schemas.openxmlformats.org/officeDocument/2006/relationships/oleObject" Target="../embeddings/oleObject126.bin"/><Relationship Id="rId7" Type="http://schemas.openxmlformats.org/officeDocument/2006/relationships/image" Target="../media/image7.svg"/><Relationship Id="rId2" Type="http://schemas.openxmlformats.org/officeDocument/2006/relationships/slideMaster" Target="../slideMasters/slideMaster2.xml"/><Relationship Id="rId1" Type="http://schemas.openxmlformats.org/officeDocument/2006/relationships/tags" Target="../tags/tag132.xml"/><Relationship Id="rId6" Type="http://schemas.openxmlformats.org/officeDocument/2006/relationships/image" Target="../media/image5.png"/><Relationship Id="rId5" Type="http://schemas.openxmlformats.org/officeDocument/2006/relationships/image" Target="../media/image9.png"/><Relationship Id="rId4" Type="http://schemas.openxmlformats.org/officeDocument/2006/relationships/image" Target="../media/image1.emf"/></Relationships>
</file>

<file path=ppt/slideLayouts/_rels/slideLayout138.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7.svg"/><Relationship Id="rId2" Type="http://schemas.openxmlformats.org/officeDocument/2006/relationships/tags" Target="../tags/tag134.xml"/><Relationship Id="rId1" Type="http://schemas.openxmlformats.org/officeDocument/2006/relationships/tags" Target="../tags/tag133.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127.bin"/></Relationships>
</file>

<file path=ppt/slideLayouts/_rels/slideLayout139.xml.rels><?xml version="1.0" encoding="UTF-8" standalone="yes"?>
<Relationships xmlns="http://schemas.openxmlformats.org/package/2006/relationships"><Relationship Id="rId3" Type="http://schemas.openxmlformats.org/officeDocument/2006/relationships/oleObject" Target="../embeddings/oleObject128.bin"/><Relationship Id="rId2" Type="http://schemas.openxmlformats.org/officeDocument/2006/relationships/slideMaster" Target="../slideMasters/slideMaster2.xml"/><Relationship Id="rId1" Type="http://schemas.openxmlformats.org/officeDocument/2006/relationships/tags" Target="../tags/tag135.xml"/><Relationship Id="rId6" Type="http://schemas.openxmlformats.org/officeDocument/2006/relationships/image" Target="../media/image7.svg"/><Relationship Id="rId5" Type="http://schemas.openxmlformats.org/officeDocument/2006/relationships/image" Target="../media/image5.png"/><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5.xml"/><Relationship Id="rId6" Type="http://schemas.openxmlformats.org/officeDocument/2006/relationships/image" Target="../media/image7.svg"/><Relationship Id="rId5" Type="http://schemas.openxmlformats.org/officeDocument/2006/relationships/image" Target="../media/image5.png"/><Relationship Id="rId4" Type="http://schemas.openxmlformats.org/officeDocument/2006/relationships/image" Target="../media/image4.emf"/></Relationships>
</file>

<file path=ppt/slideLayouts/_rels/slideLayout140.xml.rels><?xml version="1.0" encoding="UTF-8" standalone="yes"?>
<Relationships xmlns="http://schemas.openxmlformats.org/package/2006/relationships"><Relationship Id="rId3" Type="http://schemas.openxmlformats.org/officeDocument/2006/relationships/oleObject" Target="../embeddings/oleObject129.bin"/><Relationship Id="rId2" Type="http://schemas.openxmlformats.org/officeDocument/2006/relationships/slideMaster" Target="../slideMasters/slideMaster2.xml"/><Relationship Id="rId1" Type="http://schemas.openxmlformats.org/officeDocument/2006/relationships/tags" Target="../tags/tag136.xml"/><Relationship Id="rId6" Type="http://schemas.openxmlformats.org/officeDocument/2006/relationships/image" Target="../media/image7.svg"/><Relationship Id="rId5" Type="http://schemas.openxmlformats.org/officeDocument/2006/relationships/image" Target="../media/image5.png"/><Relationship Id="rId4" Type="http://schemas.openxmlformats.org/officeDocument/2006/relationships/image" Target="../media/image1.emf"/></Relationships>
</file>

<file path=ppt/slideLayouts/_rels/slideLayout141.xml.rels><?xml version="1.0" encoding="UTF-8" standalone="yes"?>
<Relationships xmlns="http://schemas.openxmlformats.org/package/2006/relationships"><Relationship Id="rId3" Type="http://schemas.openxmlformats.org/officeDocument/2006/relationships/oleObject" Target="../embeddings/oleObject130.bin"/><Relationship Id="rId7" Type="http://schemas.openxmlformats.org/officeDocument/2006/relationships/image" Target="../media/image7.svg"/><Relationship Id="rId2" Type="http://schemas.openxmlformats.org/officeDocument/2006/relationships/slideMaster" Target="../slideMasters/slideMaster2.xml"/><Relationship Id="rId1" Type="http://schemas.openxmlformats.org/officeDocument/2006/relationships/tags" Target="../tags/tag137.xml"/><Relationship Id="rId6" Type="http://schemas.openxmlformats.org/officeDocument/2006/relationships/image" Target="../media/image5.png"/><Relationship Id="rId5" Type="http://schemas.openxmlformats.org/officeDocument/2006/relationships/image" Target="../media/image8.png"/><Relationship Id="rId4" Type="http://schemas.openxmlformats.org/officeDocument/2006/relationships/image" Target="../media/image1.emf"/></Relationships>
</file>

<file path=ppt/slideLayouts/_rels/slideLayout142.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7.svg"/><Relationship Id="rId2" Type="http://schemas.openxmlformats.org/officeDocument/2006/relationships/tags" Target="../tags/tag139.xml"/><Relationship Id="rId1" Type="http://schemas.openxmlformats.org/officeDocument/2006/relationships/tags" Target="../tags/tag138.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131.bin"/></Relationships>
</file>

<file path=ppt/slideLayouts/_rels/slideLayout143.xml.rels><?xml version="1.0" encoding="UTF-8" standalone="yes"?>
<Relationships xmlns="http://schemas.openxmlformats.org/package/2006/relationships"><Relationship Id="rId3" Type="http://schemas.openxmlformats.org/officeDocument/2006/relationships/oleObject" Target="../embeddings/oleObject132.bin"/><Relationship Id="rId2" Type="http://schemas.openxmlformats.org/officeDocument/2006/relationships/slideMaster" Target="../slideMasters/slideMaster2.xml"/><Relationship Id="rId1" Type="http://schemas.openxmlformats.org/officeDocument/2006/relationships/tags" Target="../tags/tag140.xml"/><Relationship Id="rId6" Type="http://schemas.openxmlformats.org/officeDocument/2006/relationships/image" Target="../media/image7.svg"/><Relationship Id="rId5" Type="http://schemas.openxmlformats.org/officeDocument/2006/relationships/image" Target="../media/image5.png"/><Relationship Id="rId4" Type="http://schemas.openxmlformats.org/officeDocument/2006/relationships/image" Target="../media/image1.emf"/></Relationships>
</file>

<file path=ppt/slideLayouts/_rels/slideLayout144.xml.rels><?xml version="1.0" encoding="UTF-8" standalone="yes"?>
<Relationships xmlns="http://schemas.openxmlformats.org/package/2006/relationships"><Relationship Id="rId3" Type="http://schemas.openxmlformats.org/officeDocument/2006/relationships/oleObject" Target="../embeddings/oleObject133.bin"/><Relationship Id="rId2" Type="http://schemas.openxmlformats.org/officeDocument/2006/relationships/slideMaster" Target="../slideMasters/slideMaster2.xml"/><Relationship Id="rId1" Type="http://schemas.openxmlformats.org/officeDocument/2006/relationships/tags" Target="../tags/tag141.xml"/><Relationship Id="rId6" Type="http://schemas.openxmlformats.org/officeDocument/2006/relationships/image" Target="../media/image7.svg"/><Relationship Id="rId5" Type="http://schemas.openxmlformats.org/officeDocument/2006/relationships/image" Target="../media/image5.png"/><Relationship Id="rId4" Type="http://schemas.openxmlformats.org/officeDocument/2006/relationships/image" Target="../media/image1.emf"/></Relationships>
</file>

<file path=ppt/slideLayouts/_rels/slideLayout145.xml.rels><?xml version="1.0" encoding="UTF-8" standalone="yes"?>
<Relationships xmlns="http://schemas.openxmlformats.org/package/2006/relationships"><Relationship Id="rId3" Type="http://schemas.openxmlformats.org/officeDocument/2006/relationships/oleObject" Target="../embeddings/oleObject134.bin"/><Relationship Id="rId7" Type="http://schemas.openxmlformats.org/officeDocument/2006/relationships/image" Target="../media/image7.svg"/><Relationship Id="rId2" Type="http://schemas.openxmlformats.org/officeDocument/2006/relationships/slideMaster" Target="../slideMasters/slideMaster2.xml"/><Relationship Id="rId1" Type="http://schemas.openxmlformats.org/officeDocument/2006/relationships/tags" Target="../tags/tag142.xml"/><Relationship Id="rId6" Type="http://schemas.openxmlformats.org/officeDocument/2006/relationships/image" Target="../media/image5.png"/><Relationship Id="rId5" Type="http://schemas.openxmlformats.org/officeDocument/2006/relationships/image" Target="../media/image8.png"/><Relationship Id="rId4" Type="http://schemas.openxmlformats.org/officeDocument/2006/relationships/image" Target="../media/image1.emf"/></Relationships>
</file>

<file path=ppt/slideLayouts/_rels/slideLayout146.xml.rels><?xml version="1.0" encoding="UTF-8" standalone="yes"?>
<Relationships xmlns="http://schemas.openxmlformats.org/package/2006/relationships"><Relationship Id="rId3" Type="http://schemas.openxmlformats.org/officeDocument/2006/relationships/oleObject" Target="../embeddings/oleObject135.bin"/><Relationship Id="rId7" Type="http://schemas.openxmlformats.org/officeDocument/2006/relationships/image" Target="../media/image7.svg"/><Relationship Id="rId2" Type="http://schemas.openxmlformats.org/officeDocument/2006/relationships/slideMaster" Target="../slideMasters/slideMaster2.xml"/><Relationship Id="rId1" Type="http://schemas.openxmlformats.org/officeDocument/2006/relationships/tags" Target="../tags/tag143.xml"/><Relationship Id="rId6" Type="http://schemas.openxmlformats.org/officeDocument/2006/relationships/image" Target="../media/image5.png"/><Relationship Id="rId5" Type="http://schemas.openxmlformats.org/officeDocument/2006/relationships/image" Target="../media/image9.png"/><Relationship Id="rId4" Type="http://schemas.openxmlformats.org/officeDocument/2006/relationships/image" Target="../media/image1.emf"/></Relationships>
</file>

<file path=ppt/slideLayouts/_rels/slideLayout14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45.xml"/><Relationship Id="rId1" Type="http://schemas.openxmlformats.org/officeDocument/2006/relationships/tags" Target="../tags/tag144.xml"/><Relationship Id="rId6" Type="http://schemas.openxmlformats.org/officeDocument/2006/relationships/image" Target="../media/image19.jpeg"/><Relationship Id="rId5" Type="http://schemas.openxmlformats.org/officeDocument/2006/relationships/image" Target="../media/image18.emf"/><Relationship Id="rId4" Type="http://schemas.openxmlformats.org/officeDocument/2006/relationships/oleObject" Target="../embeddings/oleObject136.bin"/></Relationships>
</file>

<file path=ppt/slideLayouts/_rels/slideLayout148.xml.rels><?xml version="1.0" encoding="UTF-8" standalone="yes"?>
<Relationships xmlns="http://schemas.openxmlformats.org/package/2006/relationships"><Relationship Id="rId3" Type="http://schemas.openxmlformats.org/officeDocument/2006/relationships/oleObject" Target="../embeddings/oleObject137.bin"/><Relationship Id="rId2" Type="http://schemas.openxmlformats.org/officeDocument/2006/relationships/slideMaster" Target="../slideMasters/slideMaster2.xml"/><Relationship Id="rId1" Type="http://schemas.openxmlformats.org/officeDocument/2006/relationships/tags" Target="../tags/tag146.xml"/><Relationship Id="rId6" Type="http://schemas.openxmlformats.org/officeDocument/2006/relationships/image" Target="../media/image7.svg"/><Relationship Id="rId5" Type="http://schemas.openxmlformats.org/officeDocument/2006/relationships/image" Target="../media/image5.png"/><Relationship Id="rId4" Type="http://schemas.openxmlformats.org/officeDocument/2006/relationships/image" Target="../media/image4.emf"/></Relationships>
</file>

<file path=ppt/slideLayouts/_rels/slideLayout149.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7.svg"/><Relationship Id="rId2" Type="http://schemas.openxmlformats.org/officeDocument/2006/relationships/tags" Target="../tags/tag148.xml"/><Relationship Id="rId1" Type="http://schemas.openxmlformats.org/officeDocument/2006/relationships/tags" Target="../tags/tag147.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138.bin"/></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2.xml"/><Relationship Id="rId1" Type="http://schemas.openxmlformats.org/officeDocument/2006/relationships/tags" Target="../tags/tag6.xml"/><Relationship Id="rId6" Type="http://schemas.openxmlformats.org/officeDocument/2006/relationships/image" Target="../media/image7.svg"/><Relationship Id="rId5" Type="http://schemas.openxmlformats.org/officeDocument/2006/relationships/image" Target="../media/image5.png"/><Relationship Id="rId4" Type="http://schemas.openxmlformats.org/officeDocument/2006/relationships/image" Target="../media/image4.emf"/></Relationships>
</file>

<file path=ppt/slideLayouts/_rels/slideLayout150.xml.rels><?xml version="1.0" encoding="UTF-8" standalone="yes"?>
<Relationships xmlns="http://schemas.openxmlformats.org/package/2006/relationships"><Relationship Id="rId3" Type="http://schemas.openxmlformats.org/officeDocument/2006/relationships/oleObject" Target="../embeddings/oleObject139.bin"/><Relationship Id="rId2" Type="http://schemas.openxmlformats.org/officeDocument/2006/relationships/slideMaster" Target="../slideMasters/slideMaster2.xml"/><Relationship Id="rId1" Type="http://schemas.openxmlformats.org/officeDocument/2006/relationships/tags" Target="../tags/tag149.xml"/><Relationship Id="rId6" Type="http://schemas.openxmlformats.org/officeDocument/2006/relationships/image" Target="../media/image7.svg"/><Relationship Id="rId5" Type="http://schemas.openxmlformats.org/officeDocument/2006/relationships/image" Target="../media/image5.png"/><Relationship Id="rId4" Type="http://schemas.openxmlformats.org/officeDocument/2006/relationships/image" Target="../media/image1.emf"/></Relationships>
</file>

<file path=ppt/slideLayouts/_rels/slideLayout151.xml.rels><?xml version="1.0" encoding="UTF-8" standalone="yes"?>
<Relationships xmlns="http://schemas.openxmlformats.org/package/2006/relationships"><Relationship Id="rId3" Type="http://schemas.openxmlformats.org/officeDocument/2006/relationships/oleObject" Target="../embeddings/oleObject140.bin"/><Relationship Id="rId2" Type="http://schemas.openxmlformats.org/officeDocument/2006/relationships/slideMaster" Target="../slideMasters/slideMaster2.xml"/><Relationship Id="rId1" Type="http://schemas.openxmlformats.org/officeDocument/2006/relationships/tags" Target="../tags/tag150.xml"/><Relationship Id="rId6" Type="http://schemas.openxmlformats.org/officeDocument/2006/relationships/image" Target="../media/image7.svg"/><Relationship Id="rId5" Type="http://schemas.openxmlformats.org/officeDocument/2006/relationships/image" Target="../media/image5.png"/><Relationship Id="rId4" Type="http://schemas.openxmlformats.org/officeDocument/2006/relationships/image" Target="../media/image1.emf"/></Relationships>
</file>

<file path=ppt/slideLayouts/_rels/slideLayout152.xml.rels><?xml version="1.0" encoding="UTF-8" standalone="yes"?>
<Relationships xmlns="http://schemas.openxmlformats.org/package/2006/relationships"><Relationship Id="rId3" Type="http://schemas.openxmlformats.org/officeDocument/2006/relationships/oleObject" Target="../embeddings/oleObject141.bin"/><Relationship Id="rId7" Type="http://schemas.openxmlformats.org/officeDocument/2006/relationships/image" Target="../media/image7.svg"/><Relationship Id="rId2" Type="http://schemas.openxmlformats.org/officeDocument/2006/relationships/slideMaster" Target="../slideMasters/slideMaster2.xml"/><Relationship Id="rId1" Type="http://schemas.openxmlformats.org/officeDocument/2006/relationships/tags" Target="../tags/tag151.xml"/><Relationship Id="rId6" Type="http://schemas.openxmlformats.org/officeDocument/2006/relationships/image" Target="../media/image5.png"/><Relationship Id="rId5" Type="http://schemas.openxmlformats.org/officeDocument/2006/relationships/image" Target="../media/image8.png"/><Relationship Id="rId4" Type="http://schemas.openxmlformats.org/officeDocument/2006/relationships/image" Target="../media/image1.emf"/></Relationships>
</file>

<file path=ppt/slideLayouts/_rels/slideLayout153.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7.svg"/><Relationship Id="rId2" Type="http://schemas.openxmlformats.org/officeDocument/2006/relationships/tags" Target="../tags/tag153.xml"/><Relationship Id="rId1" Type="http://schemas.openxmlformats.org/officeDocument/2006/relationships/tags" Target="../tags/tag152.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142.bin"/></Relationships>
</file>

<file path=ppt/slideLayouts/_rels/slideLayout154.xml.rels><?xml version="1.0" encoding="UTF-8" standalone="yes"?>
<Relationships xmlns="http://schemas.openxmlformats.org/package/2006/relationships"><Relationship Id="rId3" Type="http://schemas.openxmlformats.org/officeDocument/2006/relationships/oleObject" Target="../embeddings/oleObject143.bin"/><Relationship Id="rId2" Type="http://schemas.openxmlformats.org/officeDocument/2006/relationships/slideMaster" Target="../slideMasters/slideMaster2.xml"/><Relationship Id="rId1" Type="http://schemas.openxmlformats.org/officeDocument/2006/relationships/tags" Target="../tags/tag154.xml"/><Relationship Id="rId6" Type="http://schemas.openxmlformats.org/officeDocument/2006/relationships/image" Target="../media/image7.svg"/><Relationship Id="rId5" Type="http://schemas.openxmlformats.org/officeDocument/2006/relationships/image" Target="../media/image5.png"/><Relationship Id="rId4" Type="http://schemas.openxmlformats.org/officeDocument/2006/relationships/image" Target="../media/image1.emf"/></Relationships>
</file>

<file path=ppt/slideLayouts/_rels/slideLayout155.xml.rels><?xml version="1.0" encoding="UTF-8" standalone="yes"?>
<Relationships xmlns="http://schemas.openxmlformats.org/package/2006/relationships"><Relationship Id="rId3" Type="http://schemas.openxmlformats.org/officeDocument/2006/relationships/oleObject" Target="../embeddings/oleObject144.bin"/><Relationship Id="rId2" Type="http://schemas.openxmlformats.org/officeDocument/2006/relationships/slideMaster" Target="../slideMasters/slideMaster2.xml"/><Relationship Id="rId1" Type="http://schemas.openxmlformats.org/officeDocument/2006/relationships/tags" Target="../tags/tag155.xml"/><Relationship Id="rId6" Type="http://schemas.openxmlformats.org/officeDocument/2006/relationships/image" Target="../media/image7.svg"/><Relationship Id="rId5" Type="http://schemas.openxmlformats.org/officeDocument/2006/relationships/image" Target="../media/image5.png"/><Relationship Id="rId4" Type="http://schemas.openxmlformats.org/officeDocument/2006/relationships/image" Target="../media/image1.emf"/></Relationships>
</file>

<file path=ppt/slideLayouts/_rels/slideLayout156.xml.rels><?xml version="1.0" encoding="UTF-8" standalone="yes"?>
<Relationships xmlns="http://schemas.openxmlformats.org/package/2006/relationships"><Relationship Id="rId3" Type="http://schemas.openxmlformats.org/officeDocument/2006/relationships/oleObject" Target="../embeddings/oleObject145.bin"/><Relationship Id="rId7" Type="http://schemas.openxmlformats.org/officeDocument/2006/relationships/image" Target="../media/image7.svg"/><Relationship Id="rId2" Type="http://schemas.openxmlformats.org/officeDocument/2006/relationships/slideMaster" Target="../slideMasters/slideMaster2.xml"/><Relationship Id="rId1" Type="http://schemas.openxmlformats.org/officeDocument/2006/relationships/tags" Target="../tags/tag156.xml"/><Relationship Id="rId6" Type="http://schemas.openxmlformats.org/officeDocument/2006/relationships/image" Target="../media/image5.png"/><Relationship Id="rId5" Type="http://schemas.openxmlformats.org/officeDocument/2006/relationships/image" Target="../media/image8.png"/><Relationship Id="rId4" Type="http://schemas.openxmlformats.org/officeDocument/2006/relationships/image" Target="../media/image1.emf"/></Relationships>
</file>

<file path=ppt/slideLayouts/_rels/slideLayout157.xml.rels><?xml version="1.0" encoding="UTF-8" standalone="yes"?>
<Relationships xmlns="http://schemas.openxmlformats.org/package/2006/relationships"><Relationship Id="rId3" Type="http://schemas.openxmlformats.org/officeDocument/2006/relationships/oleObject" Target="../embeddings/oleObject146.bin"/><Relationship Id="rId7" Type="http://schemas.openxmlformats.org/officeDocument/2006/relationships/image" Target="../media/image7.svg"/><Relationship Id="rId2" Type="http://schemas.openxmlformats.org/officeDocument/2006/relationships/slideMaster" Target="../slideMasters/slideMaster2.xml"/><Relationship Id="rId1" Type="http://schemas.openxmlformats.org/officeDocument/2006/relationships/tags" Target="../tags/tag157.xml"/><Relationship Id="rId6" Type="http://schemas.openxmlformats.org/officeDocument/2006/relationships/image" Target="../media/image5.png"/><Relationship Id="rId5" Type="http://schemas.openxmlformats.org/officeDocument/2006/relationships/image" Target="../media/image9.png"/><Relationship Id="rId4" Type="http://schemas.openxmlformats.org/officeDocument/2006/relationships/image" Target="../media/image1.emf"/></Relationships>
</file>

<file path=ppt/slideLayouts/_rels/slideLayout15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59.xml"/><Relationship Id="rId1" Type="http://schemas.openxmlformats.org/officeDocument/2006/relationships/tags" Target="../tags/tag158.xml"/><Relationship Id="rId6" Type="http://schemas.openxmlformats.org/officeDocument/2006/relationships/image" Target="../media/image20.jpeg"/><Relationship Id="rId5" Type="http://schemas.openxmlformats.org/officeDocument/2006/relationships/image" Target="../media/image2.emf"/><Relationship Id="rId4" Type="http://schemas.openxmlformats.org/officeDocument/2006/relationships/oleObject" Target="../embeddings/oleObject147.bin"/></Relationships>
</file>

<file path=ppt/slideLayouts/_rels/slideLayout159.xml.rels><?xml version="1.0" encoding="UTF-8" standalone="yes"?>
<Relationships xmlns="http://schemas.openxmlformats.org/package/2006/relationships"><Relationship Id="rId3" Type="http://schemas.openxmlformats.org/officeDocument/2006/relationships/oleObject" Target="../embeddings/oleObject148.bin"/><Relationship Id="rId2" Type="http://schemas.openxmlformats.org/officeDocument/2006/relationships/slideMaster" Target="../slideMasters/slideMaster2.xml"/><Relationship Id="rId1" Type="http://schemas.openxmlformats.org/officeDocument/2006/relationships/tags" Target="../tags/tag160.xml"/><Relationship Id="rId6" Type="http://schemas.openxmlformats.org/officeDocument/2006/relationships/image" Target="../media/image7.svg"/><Relationship Id="rId5" Type="http://schemas.openxmlformats.org/officeDocument/2006/relationships/image" Target="../media/image5.png"/><Relationship Id="rId4" Type="http://schemas.openxmlformats.org/officeDocument/2006/relationships/image" Target="../media/image4.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2.xml"/><Relationship Id="rId1" Type="http://schemas.openxmlformats.org/officeDocument/2006/relationships/tags" Target="../tags/tag7.xml"/><Relationship Id="rId6" Type="http://schemas.openxmlformats.org/officeDocument/2006/relationships/image" Target="../media/image7.svg"/><Relationship Id="rId5" Type="http://schemas.openxmlformats.org/officeDocument/2006/relationships/image" Target="../media/image5.png"/><Relationship Id="rId4" Type="http://schemas.openxmlformats.org/officeDocument/2006/relationships/image" Target="../media/image4.emf"/></Relationships>
</file>

<file path=ppt/slideLayouts/_rels/slideLayout160.xml.rels><?xml version="1.0" encoding="UTF-8" standalone="yes"?>
<Relationships xmlns="http://schemas.openxmlformats.org/package/2006/relationships"><Relationship Id="rId3" Type="http://schemas.openxmlformats.org/officeDocument/2006/relationships/oleObject" Target="../embeddings/oleObject149.bin"/><Relationship Id="rId2" Type="http://schemas.openxmlformats.org/officeDocument/2006/relationships/slideMaster" Target="../slideMasters/slideMaster2.xml"/><Relationship Id="rId1" Type="http://schemas.openxmlformats.org/officeDocument/2006/relationships/tags" Target="../tags/tag161.xml"/><Relationship Id="rId6" Type="http://schemas.openxmlformats.org/officeDocument/2006/relationships/image" Target="../media/image7.svg"/><Relationship Id="rId5" Type="http://schemas.openxmlformats.org/officeDocument/2006/relationships/image" Target="../media/image5.png"/><Relationship Id="rId4" Type="http://schemas.openxmlformats.org/officeDocument/2006/relationships/image" Target="../media/image4.emf"/></Relationships>
</file>

<file path=ppt/slideLayouts/_rels/slideLayout161.xml.rels><?xml version="1.0" encoding="UTF-8" standalone="yes"?>
<Relationships xmlns="http://schemas.openxmlformats.org/package/2006/relationships"><Relationship Id="rId3" Type="http://schemas.openxmlformats.org/officeDocument/2006/relationships/oleObject" Target="../embeddings/oleObject150.bin"/><Relationship Id="rId7" Type="http://schemas.openxmlformats.org/officeDocument/2006/relationships/image" Target="../media/image7.svg"/><Relationship Id="rId2" Type="http://schemas.openxmlformats.org/officeDocument/2006/relationships/slideMaster" Target="../slideMasters/slideMaster2.xml"/><Relationship Id="rId1" Type="http://schemas.openxmlformats.org/officeDocument/2006/relationships/tags" Target="../tags/tag162.xml"/><Relationship Id="rId6" Type="http://schemas.openxmlformats.org/officeDocument/2006/relationships/image" Target="../media/image5.png"/><Relationship Id="rId5" Type="http://schemas.openxmlformats.org/officeDocument/2006/relationships/image" Target="../media/image21.png"/><Relationship Id="rId4" Type="http://schemas.openxmlformats.org/officeDocument/2006/relationships/image" Target="../media/image4.emf"/></Relationships>
</file>

<file path=ppt/slideLayouts/_rels/slideLayout162.xml.rels><?xml version="1.0" encoding="UTF-8" standalone="yes"?>
<Relationships xmlns="http://schemas.openxmlformats.org/package/2006/relationships"><Relationship Id="rId3" Type="http://schemas.openxmlformats.org/officeDocument/2006/relationships/oleObject" Target="../embeddings/oleObject151.bin"/><Relationship Id="rId7" Type="http://schemas.openxmlformats.org/officeDocument/2006/relationships/image" Target="../media/image7.svg"/><Relationship Id="rId2" Type="http://schemas.openxmlformats.org/officeDocument/2006/relationships/slideMaster" Target="../slideMasters/slideMaster2.xml"/><Relationship Id="rId1" Type="http://schemas.openxmlformats.org/officeDocument/2006/relationships/tags" Target="../tags/tag163.xml"/><Relationship Id="rId6" Type="http://schemas.openxmlformats.org/officeDocument/2006/relationships/image" Target="../media/image5.png"/><Relationship Id="rId5" Type="http://schemas.openxmlformats.org/officeDocument/2006/relationships/image" Target="../media/image21.png"/><Relationship Id="rId4" Type="http://schemas.openxmlformats.org/officeDocument/2006/relationships/image" Target="../media/image4.emf"/></Relationships>
</file>

<file path=ppt/slideLayouts/_rels/slideLayout163.xml.rels><?xml version="1.0" encoding="UTF-8" standalone="yes"?>
<Relationships xmlns="http://schemas.openxmlformats.org/package/2006/relationships"><Relationship Id="rId3" Type="http://schemas.openxmlformats.org/officeDocument/2006/relationships/oleObject" Target="../embeddings/oleObject152.bin"/><Relationship Id="rId7" Type="http://schemas.openxmlformats.org/officeDocument/2006/relationships/image" Target="../media/image7.svg"/><Relationship Id="rId2" Type="http://schemas.openxmlformats.org/officeDocument/2006/relationships/slideMaster" Target="../slideMasters/slideMaster2.xml"/><Relationship Id="rId1" Type="http://schemas.openxmlformats.org/officeDocument/2006/relationships/tags" Target="../tags/tag164.xml"/><Relationship Id="rId6" Type="http://schemas.openxmlformats.org/officeDocument/2006/relationships/image" Target="../media/image5.png"/><Relationship Id="rId5" Type="http://schemas.openxmlformats.org/officeDocument/2006/relationships/image" Target="../media/image21.png"/><Relationship Id="rId4" Type="http://schemas.openxmlformats.org/officeDocument/2006/relationships/image" Target="../media/image4.emf"/></Relationships>
</file>

<file path=ppt/slideLayouts/_rels/slideLayout164.xml.rels><?xml version="1.0" encoding="UTF-8" standalone="yes"?>
<Relationships xmlns="http://schemas.openxmlformats.org/package/2006/relationships"><Relationship Id="rId3" Type="http://schemas.openxmlformats.org/officeDocument/2006/relationships/oleObject" Target="../embeddings/oleObject153.bin"/><Relationship Id="rId7" Type="http://schemas.openxmlformats.org/officeDocument/2006/relationships/image" Target="../media/image7.svg"/><Relationship Id="rId2" Type="http://schemas.openxmlformats.org/officeDocument/2006/relationships/slideMaster" Target="../slideMasters/slideMaster2.xml"/><Relationship Id="rId1" Type="http://schemas.openxmlformats.org/officeDocument/2006/relationships/tags" Target="../tags/tag165.xml"/><Relationship Id="rId6" Type="http://schemas.openxmlformats.org/officeDocument/2006/relationships/image" Target="../media/image5.png"/><Relationship Id="rId5" Type="http://schemas.openxmlformats.org/officeDocument/2006/relationships/image" Target="../media/image21.png"/><Relationship Id="rId4" Type="http://schemas.openxmlformats.org/officeDocument/2006/relationships/image" Target="../media/image4.emf"/></Relationships>
</file>

<file path=ppt/slideLayouts/_rels/slideLayout165.xml.rels><?xml version="1.0" encoding="UTF-8" standalone="yes"?>
<Relationships xmlns="http://schemas.openxmlformats.org/package/2006/relationships"><Relationship Id="rId3" Type="http://schemas.openxmlformats.org/officeDocument/2006/relationships/oleObject" Target="../embeddings/oleObject154.bin"/><Relationship Id="rId7" Type="http://schemas.openxmlformats.org/officeDocument/2006/relationships/image" Target="../media/image7.svg"/><Relationship Id="rId2" Type="http://schemas.openxmlformats.org/officeDocument/2006/relationships/slideMaster" Target="../slideMasters/slideMaster2.xml"/><Relationship Id="rId1" Type="http://schemas.openxmlformats.org/officeDocument/2006/relationships/tags" Target="../tags/tag166.xml"/><Relationship Id="rId6" Type="http://schemas.openxmlformats.org/officeDocument/2006/relationships/image" Target="../media/image5.png"/><Relationship Id="rId5" Type="http://schemas.openxmlformats.org/officeDocument/2006/relationships/image" Target="../media/image8.png"/><Relationship Id="rId4" Type="http://schemas.openxmlformats.org/officeDocument/2006/relationships/image" Target="../media/image11.emf"/></Relationships>
</file>

<file path=ppt/slideLayouts/_rels/slideLayout166.xml.rels><?xml version="1.0" encoding="UTF-8" standalone="yes"?>
<Relationships xmlns="http://schemas.openxmlformats.org/package/2006/relationships"><Relationship Id="rId3" Type="http://schemas.openxmlformats.org/officeDocument/2006/relationships/oleObject" Target="../embeddings/oleObject155.bin"/><Relationship Id="rId7" Type="http://schemas.openxmlformats.org/officeDocument/2006/relationships/image" Target="../media/image20.jpeg"/><Relationship Id="rId2" Type="http://schemas.openxmlformats.org/officeDocument/2006/relationships/slideMaster" Target="../slideMasters/slideMaster2.xml"/><Relationship Id="rId1" Type="http://schemas.openxmlformats.org/officeDocument/2006/relationships/tags" Target="../tags/tag167.xml"/><Relationship Id="rId6" Type="http://schemas.openxmlformats.org/officeDocument/2006/relationships/image" Target="../media/image22.jpeg"/><Relationship Id="rId5" Type="http://schemas.openxmlformats.org/officeDocument/2006/relationships/image" Target="../media/image14.png"/><Relationship Id="rId4" Type="http://schemas.openxmlformats.org/officeDocument/2006/relationships/image" Target="../media/image2.emf"/></Relationships>
</file>

<file path=ppt/slideLayouts/_rels/slideLayout16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69.xml"/><Relationship Id="rId1" Type="http://schemas.openxmlformats.org/officeDocument/2006/relationships/tags" Target="../tags/tag168.xml"/><Relationship Id="rId6" Type="http://schemas.openxmlformats.org/officeDocument/2006/relationships/image" Target="../media/image20.jpeg"/><Relationship Id="rId5" Type="http://schemas.openxmlformats.org/officeDocument/2006/relationships/image" Target="../media/image2.emf"/><Relationship Id="rId4" Type="http://schemas.openxmlformats.org/officeDocument/2006/relationships/oleObject" Target="../embeddings/oleObject156.bin"/></Relationships>
</file>

<file path=ppt/slideLayouts/_rels/slideLayout168.xml.rels><?xml version="1.0" encoding="UTF-8" standalone="yes"?>
<Relationships xmlns="http://schemas.openxmlformats.org/package/2006/relationships"><Relationship Id="rId3" Type="http://schemas.openxmlformats.org/officeDocument/2006/relationships/oleObject" Target="../embeddings/oleObject157.bin"/><Relationship Id="rId2" Type="http://schemas.openxmlformats.org/officeDocument/2006/relationships/slideMaster" Target="../slideMasters/slideMaster2.xml"/><Relationship Id="rId1" Type="http://schemas.openxmlformats.org/officeDocument/2006/relationships/tags" Target="../tags/tag170.xml"/><Relationship Id="rId6" Type="http://schemas.openxmlformats.org/officeDocument/2006/relationships/image" Target="../media/image7.svg"/><Relationship Id="rId5" Type="http://schemas.openxmlformats.org/officeDocument/2006/relationships/image" Target="../media/image5.png"/><Relationship Id="rId4" Type="http://schemas.openxmlformats.org/officeDocument/2006/relationships/image" Target="../media/image4.emf"/></Relationships>
</file>

<file path=ppt/slideLayouts/_rels/slideLayout169.xml.rels><?xml version="1.0" encoding="UTF-8" standalone="yes"?>
<Relationships xmlns="http://schemas.openxmlformats.org/package/2006/relationships"><Relationship Id="rId3" Type="http://schemas.openxmlformats.org/officeDocument/2006/relationships/oleObject" Target="../embeddings/oleObject158.bin"/><Relationship Id="rId2" Type="http://schemas.openxmlformats.org/officeDocument/2006/relationships/slideMaster" Target="../slideMasters/slideMaster2.xml"/><Relationship Id="rId1" Type="http://schemas.openxmlformats.org/officeDocument/2006/relationships/tags" Target="../tags/tag171.xml"/><Relationship Id="rId6" Type="http://schemas.openxmlformats.org/officeDocument/2006/relationships/image" Target="../media/image7.svg"/><Relationship Id="rId5" Type="http://schemas.openxmlformats.org/officeDocument/2006/relationships/image" Target="../media/image5.png"/><Relationship Id="rId4" Type="http://schemas.openxmlformats.org/officeDocument/2006/relationships/image" Target="../media/image4.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2.xml"/><Relationship Id="rId1" Type="http://schemas.openxmlformats.org/officeDocument/2006/relationships/tags" Target="../tags/tag8.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4.emf"/></Relationships>
</file>

<file path=ppt/slideLayouts/_rels/slideLayout170.xml.rels><?xml version="1.0" encoding="UTF-8" standalone="yes"?>
<Relationships xmlns="http://schemas.openxmlformats.org/package/2006/relationships"><Relationship Id="rId3" Type="http://schemas.openxmlformats.org/officeDocument/2006/relationships/oleObject" Target="../embeddings/oleObject159.bin"/><Relationship Id="rId7" Type="http://schemas.openxmlformats.org/officeDocument/2006/relationships/image" Target="../media/image7.svg"/><Relationship Id="rId2" Type="http://schemas.openxmlformats.org/officeDocument/2006/relationships/slideMaster" Target="../slideMasters/slideMaster2.xml"/><Relationship Id="rId1" Type="http://schemas.openxmlformats.org/officeDocument/2006/relationships/tags" Target="../tags/tag172.xml"/><Relationship Id="rId6" Type="http://schemas.openxmlformats.org/officeDocument/2006/relationships/image" Target="../media/image5.png"/><Relationship Id="rId5" Type="http://schemas.openxmlformats.org/officeDocument/2006/relationships/image" Target="../media/image21.png"/><Relationship Id="rId4" Type="http://schemas.openxmlformats.org/officeDocument/2006/relationships/image" Target="../media/image4.emf"/></Relationships>
</file>

<file path=ppt/slideLayouts/_rels/slideLayout171.xml.rels><?xml version="1.0" encoding="UTF-8" standalone="yes"?>
<Relationships xmlns="http://schemas.openxmlformats.org/package/2006/relationships"><Relationship Id="rId3" Type="http://schemas.openxmlformats.org/officeDocument/2006/relationships/oleObject" Target="../embeddings/oleObject160.bin"/><Relationship Id="rId7" Type="http://schemas.openxmlformats.org/officeDocument/2006/relationships/image" Target="../media/image7.svg"/><Relationship Id="rId2" Type="http://schemas.openxmlformats.org/officeDocument/2006/relationships/slideMaster" Target="../slideMasters/slideMaster2.xml"/><Relationship Id="rId1" Type="http://schemas.openxmlformats.org/officeDocument/2006/relationships/tags" Target="../tags/tag173.xml"/><Relationship Id="rId6" Type="http://schemas.openxmlformats.org/officeDocument/2006/relationships/image" Target="../media/image5.png"/><Relationship Id="rId5" Type="http://schemas.openxmlformats.org/officeDocument/2006/relationships/image" Target="../media/image21.png"/><Relationship Id="rId4" Type="http://schemas.openxmlformats.org/officeDocument/2006/relationships/image" Target="../media/image4.emf"/></Relationships>
</file>

<file path=ppt/slideLayouts/_rels/slideLayout172.xml.rels><?xml version="1.0" encoding="UTF-8" standalone="yes"?>
<Relationships xmlns="http://schemas.openxmlformats.org/package/2006/relationships"><Relationship Id="rId3" Type="http://schemas.openxmlformats.org/officeDocument/2006/relationships/oleObject" Target="../embeddings/oleObject161.bin"/><Relationship Id="rId7" Type="http://schemas.openxmlformats.org/officeDocument/2006/relationships/image" Target="../media/image7.svg"/><Relationship Id="rId2" Type="http://schemas.openxmlformats.org/officeDocument/2006/relationships/slideMaster" Target="../slideMasters/slideMaster2.xml"/><Relationship Id="rId1" Type="http://schemas.openxmlformats.org/officeDocument/2006/relationships/tags" Target="../tags/tag174.xml"/><Relationship Id="rId6" Type="http://schemas.openxmlformats.org/officeDocument/2006/relationships/image" Target="../media/image5.png"/><Relationship Id="rId5" Type="http://schemas.openxmlformats.org/officeDocument/2006/relationships/image" Target="../media/image21.png"/><Relationship Id="rId4" Type="http://schemas.openxmlformats.org/officeDocument/2006/relationships/image" Target="../media/image4.emf"/></Relationships>
</file>

<file path=ppt/slideLayouts/_rels/slideLayout173.xml.rels><?xml version="1.0" encoding="UTF-8" standalone="yes"?>
<Relationships xmlns="http://schemas.openxmlformats.org/package/2006/relationships"><Relationship Id="rId3" Type="http://schemas.openxmlformats.org/officeDocument/2006/relationships/oleObject" Target="../embeddings/oleObject162.bin"/><Relationship Id="rId7" Type="http://schemas.openxmlformats.org/officeDocument/2006/relationships/image" Target="../media/image7.svg"/><Relationship Id="rId2" Type="http://schemas.openxmlformats.org/officeDocument/2006/relationships/slideMaster" Target="../slideMasters/slideMaster2.xml"/><Relationship Id="rId1" Type="http://schemas.openxmlformats.org/officeDocument/2006/relationships/tags" Target="../tags/tag175.xml"/><Relationship Id="rId6" Type="http://schemas.openxmlformats.org/officeDocument/2006/relationships/image" Target="../media/image5.png"/><Relationship Id="rId5" Type="http://schemas.openxmlformats.org/officeDocument/2006/relationships/image" Target="../media/image21.png"/><Relationship Id="rId4" Type="http://schemas.openxmlformats.org/officeDocument/2006/relationships/image" Target="../media/image4.emf"/></Relationships>
</file>

<file path=ppt/slideLayouts/_rels/slideLayout174.xml.rels><?xml version="1.0" encoding="UTF-8" standalone="yes"?>
<Relationships xmlns="http://schemas.openxmlformats.org/package/2006/relationships"><Relationship Id="rId3" Type="http://schemas.openxmlformats.org/officeDocument/2006/relationships/oleObject" Target="../embeddings/oleObject163.bin"/><Relationship Id="rId7" Type="http://schemas.openxmlformats.org/officeDocument/2006/relationships/image" Target="../media/image7.svg"/><Relationship Id="rId2" Type="http://schemas.openxmlformats.org/officeDocument/2006/relationships/slideMaster" Target="../slideMasters/slideMaster2.xml"/><Relationship Id="rId1" Type="http://schemas.openxmlformats.org/officeDocument/2006/relationships/tags" Target="../tags/tag176.xml"/><Relationship Id="rId6" Type="http://schemas.openxmlformats.org/officeDocument/2006/relationships/image" Target="../media/image5.png"/><Relationship Id="rId5" Type="http://schemas.openxmlformats.org/officeDocument/2006/relationships/image" Target="../media/image8.png"/><Relationship Id="rId4" Type="http://schemas.openxmlformats.org/officeDocument/2006/relationships/image" Target="../media/image2.emf"/></Relationships>
</file>

<file path=ppt/slideLayouts/_rels/slideLayout175.xml.rels><?xml version="1.0" encoding="UTF-8" standalone="yes"?>
<Relationships xmlns="http://schemas.openxmlformats.org/package/2006/relationships"><Relationship Id="rId3" Type="http://schemas.openxmlformats.org/officeDocument/2006/relationships/oleObject" Target="../embeddings/oleObject164.bin"/><Relationship Id="rId7" Type="http://schemas.openxmlformats.org/officeDocument/2006/relationships/image" Target="../media/image20.jpeg"/><Relationship Id="rId2" Type="http://schemas.openxmlformats.org/officeDocument/2006/relationships/slideMaster" Target="../slideMasters/slideMaster2.xml"/><Relationship Id="rId1" Type="http://schemas.openxmlformats.org/officeDocument/2006/relationships/tags" Target="../tags/tag177.xml"/><Relationship Id="rId6" Type="http://schemas.openxmlformats.org/officeDocument/2006/relationships/image" Target="../media/image22.jpeg"/><Relationship Id="rId5" Type="http://schemas.openxmlformats.org/officeDocument/2006/relationships/image" Target="../media/image14.png"/><Relationship Id="rId4" Type="http://schemas.openxmlformats.org/officeDocument/2006/relationships/image" Target="../media/image2.emf"/></Relationships>
</file>

<file path=ppt/slideLayouts/_rels/slideLayout176.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7.svg"/><Relationship Id="rId2" Type="http://schemas.openxmlformats.org/officeDocument/2006/relationships/tags" Target="../tags/tag179.xml"/><Relationship Id="rId1" Type="http://schemas.openxmlformats.org/officeDocument/2006/relationships/tags" Target="../tags/tag178.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165.bin"/></Relationships>
</file>

<file path=ppt/slideLayouts/_rels/slideLayout177.xml.rels><?xml version="1.0" encoding="UTF-8" standalone="yes"?>
<Relationships xmlns="http://schemas.openxmlformats.org/package/2006/relationships"><Relationship Id="rId3" Type="http://schemas.openxmlformats.org/officeDocument/2006/relationships/oleObject" Target="../embeddings/oleObject166.bin"/><Relationship Id="rId2" Type="http://schemas.openxmlformats.org/officeDocument/2006/relationships/slideMaster" Target="../slideMasters/slideMaster2.xml"/><Relationship Id="rId1" Type="http://schemas.openxmlformats.org/officeDocument/2006/relationships/tags" Target="../tags/tag180.xml"/><Relationship Id="rId6" Type="http://schemas.openxmlformats.org/officeDocument/2006/relationships/image" Target="../media/image7.svg"/><Relationship Id="rId5" Type="http://schemas.openxmlformats.org/officeDocument/2006/relationships/image" Target="../media/image5.png"/><Relationship Id="rId4" Type="http://schemas.openxmlformats.org/officeDocument/2006/relationships/image" Target="../media/image1.emf"/></Relationships>
</file>

<file path=ppt/slideLayouts/_rels/slideLayout178.xml.rels><?xml version="1.0" encoding="UTF-8" standalone="yes"?>
<Relationships xmlns="http://schemas.openxmlformats.org/package/2006/relationships"><Relationship Id="rId3" Type="http://schemas.openxmlformats.org/officeDocument/2006/relationships/oleObject" Target="../embeddings/oleObject167.bin"/><Relationship Id="rId2" Type="http://schemas.openxmlformats.org/officeDocument/2006/relationships/slideMaster" Target="../slideMasters/slideMaster2.xml"/><Relationship Id="rId1" Type="http://schemas.openxmlformats.org/officeDocument/2006/relationships/tags" Target="../tags/tag181.xml"/><Relationship Id="rId6" Type="http://schemas.openxmlformats.org/officeDocument/2006/relationships/image" Target="../media/image7.svg"/><Relationship Id="rId5" Type="http://schemas.openxmlformats.org/officeDocument/2006/relationships/image" Target="../media/image5.png"/><Relationship Id="rId4" Type="http://schemas.openxmlformats.org/officeDocument/2006/relationships/image" Target="../media/image1.emf"/></Relationships>
</file>

<file path=ppt/slideLayouts/_rels/slideLayout179.xml.rels><?xml version="1.0" encoding="UTF-8" standalone="yes"?>
<Relationships xmlns="http://schemas.openxmlformats.org/package/2006/relationships"><Relationship Id="rId3" Type="http://schemas.openxmlformats.org/officeDocument/2006/relationships/oleObject" Target="../embeddings/oleObject168.bin"/><Relationship Id="rId7" Type="http://schemas.openxmlformats.org/officeDocument/2006/relationships/image" Target="../media/image6.svg"/><Relationship Id="rId2" Type="http://schemas.openxmlformats.org/officeDocument/2006/relationships/slideMaster" Target="../slideMasters/slideMaster2.xml"/><Relationship Id="rId1" Type="http://schemas.openxmlformats.org/officeDocument/2006/relationships/tags" Target="../tags/tag182.xml"/><Relationship Id="rId6" Type="http://schemas.openxmlformats.org/officeDocument/2006/relationships/image" Target="../media/image5.png"/><Relationship Id="rId5" Type="http://schemas.openxmlformats.org/officeDocument/2006/relationships/image" Target="../media/image8.png"/><Relationship Id="rId4"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2.xml"/><Relationship Id="rId1" Type="http://schemas.openxmlformats.org/officeDocument/2006/relationships/tags" Target="../tags/tag9.xml"/><Relationship Id="rId6" Type="http://schemas.openxmlformats.org/officeDocument/2006/relationships/image" Target="../media/image7.svg"/><Relationship Id="rId5" Type="http://schemas.openxmlformats.org/officeDocument/2006/relationships/image" Target="../media/image5.png"/><Relationship Id="rId4" Type="http://schemas.openxmlformats.org/officeDocument/2006/relationships/image" Target="../media/image4.emf"/></Relationships>
</file>

<file path=ppt/slideLayouts/_rels/slideLayout180.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7.svg"/><Relationship Id="rId2" Type="http://schemas.openxmlformats.org/officeDocument/2006/relationships/tags" Target="../tags/tag184.xml"/><Relationship Id="rId1" Type="http://schemas.openxmlformats.org/officeDocument/2006/relationships/tags" Target="../tags/tag183.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169.bin"/></Relationships>
</file>

<file path=ppt/slideLayouts/_rels/slideLayout181.xml.rels><?xml version="1.0" encoding="UTF-8" standalone="yes"?>
<Relationships xmlns="http://schemas.openxmlformats.org/package/2006/relationships"><Relationship Id="rId3" Type="http://schemas.openxmlformats.org/officeDocument/2006/relationships/oleObject" Target="../embeddings/oleObject170.bin"/><Relationship Id="rId2" Type="http://schemas.openxmlformats.org/officeDocument/2006/relationships/slideMaster" Target="../slideMasters/slideMaster2.xml"/><Relationship Id="rId1" Type="http://schemas.openxmlformats.org/officeDocument/2006/relationships/tags" Target="../tags/tag185.xml"/><Relationship Id="rId6" Type="http://schemas.openxmlformats.org/officeDocument/2006/relationships/image" Target="../media/image7.svg"/><Relationship Id="rId5" Type="http://schemas.openxmlformats.org/officeDocument/2006/relationships/image" Target="../media/image5.png"/><Relationship Id="rId4" Type="http://schemas.openxmlformats.org/officeDocument/2006/relationships/image" Target="../media/image1.emf"/></Relationships>
</file>

<file path=ppt/slideLayouts/_rels/slideLayout182.xml.rels><?xml version="1.0" encoding="UTF-8" standalone="yes"?>
<Relationships xmlns="http://schemas.openxmlformats.org/package/2006/relationships"><Relationship Id="rId3" Type="http://schemas.openxmlformats.org/officeDocument/2006/relationships/oleObject" Target="../embeddings/oleObject171.bin"/><Relationship Id="rId2" Type="http://schemas.openxmlformats.org/officeDocument/2006/relationships/slideMaster" Target="../slideMasters/slideMaster2.xml"/><Relationship Id="rId1" Type="http://schemas.openxmlformats.org/officeDocument/2006/relationships/tags" Target="../tags/tag186.xml"/><Relationship Id="rId6" Type="http://schemas.openxmlformats.org/officeDocument/2006/relationships/image" Target="../media/image7.svg"/><Relationship Id="rId5" Type="http://schemas.openxmlformats.org/officeDocument/2006/relationships/image" Target="../media/image5.png"/><Relationship Id="rId4" Type="http://schemas.openxmlformats.org/officeDocument/2006/relationships/image" Target="../media/image1.emf"/></Relationships>
</file>

<file path=ppt/slideLayouts/_rels/slideLayout183.xml.rels><?xml version="1.0" encoding="UTF-8" standalone="yes"?>
<Relationships xmlns="http://schemas.openxmlformats.org/package/2006/relationships"><Relationship Id="rId3" Type="http://schemas.openxmlformats.org/officeDocument/2006/relationships/oleObject" Target="../embeddings/oleObject172.bin"/><Relationship Id="rId7" Type="http://schemas.openxmlformats.org/officeDocument/2006/relationships/image" Target="../media/image7.svg"/><Relationship Id="rId2" Type="http://schemas.openxmlformats.org/officeDocument/2006/relationships/slideMaster" Target="../slideMasters/slideMaster2.xml"/><Relationship Id="rId1" Type="http://schemas.openxmlformats.org/officeDocument/2006/relationships/tags" Target="../tags/tag187.xml"/><Relationship Id="rId6" Type="http://schemas.openxmlformats.org/officeDocument/2006/relationships/image" Target="../media/image5.png"/><Relationship Id="rId5" Type="http://schemas.openxmlformats.org/officeDocument/2006/relationships/image" Target="../media/image8.png"/><Relationship Id="rId4" Type="http://schemas.openxmlformats.org/officeDocument/2006/relationships/image" Target="../media/image1.emf"/></Relationships>
</file>

<file path=ppt/slideLayouts/_rels/slideLayout184.xml.rels><?xml version="1.0" encoding="UTF-8" standalone="yes"?>
<Relationships xmlns="http://schemas.openxmlformats.org/package/2006/relationships"><Relationship Id="rId3" Type="http://schemas.openxmlformats.org/officeDocument/2006/relationships/oleObject" Target="../embeddings/oleObject173.bin"/><Relationship Id="rId7" Type="http://schemas.openxmlformats.org/officeDocument/2006/relationships/image" Target="../media/image7.svg"/><Relationship Id="rId2" Type="http://schemas.openxmlformats.org/officeDocument/2006/relationships/slideMaster" Target="../slideMasters/slideMaster2.xml"/><Relationship Id="rId1" Type="http://schemas.openxmlformats.org/officeDocument/2006/relationships/tags" Target="../tags/tag188.xml"/><Relationship Id="rId6" Type="http://schemas.openxmlformats.org/officeDocument/2006/relationships/image" Target="../media/image5.png"/><Relationship Id="rId5" Type="http://schemas.openxmlformats.org/officeDocument/2006/relationships/image" Target="../media/image9.png"/><Relationship Id="rId4" Type="http://schemas.openxmlformats.org/officeDocument/2006/relationships/image" Target="../media/image1.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2.xml"/><Relationship Id="rId1" Type="http://schemas.openxmlformats.org/officeDocument/2006/relationships/tags" Target="../tags/tag10.xml"/><Relationship Id="rId6" Type="http://schemas.openxmlformats.org/officeDocument/2006/relationships/image" Target="../media/image7.svg"/><Relationship Id="rId5" Type="http://schemas.openxmlformats.org/officeDocument/2006/relationships/image" Target="../media/image5.png"/><Relationship Id="rId4" Type="http://schemas.openxmlformats.org/officeDocument/2006/relationships/image" Target="../media/image4.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2.xml"/><Relationship Id="rId1" Type="http://schemas.openxmlformats.org/officeDocument/2006/relationships/tags" Target="../tags/tag11.xml"/><Relationship Id="rId6" Type="http://schemas.openxmlformats.org/officeDocument/2006/relationships/image" Target="../media/image7.svg"/><Relationship Id="rId5" Type="http://schemas.openxmlformats.org/officeDocument/2006/relationships/image" Target="../media/image5.png"/><Relationship Id="rId4" Type="http://schemas.openxmlformats.org/officeDocument/2006/relationships/image" Target="../media/image4.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2.xml"/><Relationship Id="rId1" Type="http://schemas.openxmlformats.org/officeDocument/2006/relationships/tags" Target="../tags/tag12.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4.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12.bin"/><Relationship Id="rId7" Type="http://schemas.openxmlformats.org/officeDocument/2006/relationships/image" Target="../media/image7.svg"/><Relationship Id="rId2" Type="http://schemas.openxmlformats.org/officeDocument/2006/relationships/slideMaster" Target="../slideMasters/slideMaster2.xml"/><Relationship Id="rId1" Type="http://schemas.openxmlformats.org/officeDocument/2006/relationships/tags" Target="../tags/tag13.xml"/><Relationship Id="rId6" Type="http://schemas.openxmlformats.org/officeDocument/2006/relationships/image" Target="../media/image5.png"/><Relationship Id="rId5" Type="http://schemas.openxmlformats.org/officeDocument/2006/relationships/image" Target="../media/image8.png"/><Relationship Id="rId4" Type="http://schemas.openxmlformats.org/officeDocument/2006/relationships/image" Target="../media/image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13.bin"/><Relationship Id="rId7" Type="http://schemas.openxmlformats.org/officeDocument/2006/relationships/image" Target="../media/image7.svg"/><Relationship Id="rId2" Type="http://schemas.openxmlformats.org/officeDocument/2006/relationships/slideMaster" Target="../slideMasters/slideMaster2.xml"/><Relationship Id="rId1" Type="http://schemas.openxmlformats.org/officeDocument/2006/relationships/tags" Target="../tags/tag14.xml"/><Relationship Id="rId6" Type="http://schemas.openxmlformats.org/officeDocument/2006/relationships/image" Target="../media/image5.png"/><Relationship Id="rId5" Type="http://schemas.openxmlformats.org/officeDocument/2006/relationships/image" Target="../media/image8.png"/><Relationship Id="rId4" Type="http://schemas.openxmlformats.org/officeDocument/2006/relationships/image" Target="../media/image4.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14.bin"/><Relationship Id="rId7" Type="http://schemas.openxmlformats.org/officeDocument/2006/relationships/image" Target="../media/image6.svg"/><Relationship Id="rId2" Type="http://schemas.openxmlformats.org/officeDocument/2006/relationships/slideMaster" Target="../slideMasters/slideMaster2.xml"/><Relationship Id="rId1" Type="http://schemas.openxmlformats.org/officeDocument/2006/relationships/tags" Target="../tags/tag15.xml"/><Relationship Id="rId6" Type="http://schemas.openxmlformats.org/officeDocument/2006/relationships/image" Target="../media/image5.png"/><Relationship Id="rId5" Type="http://schemas.openxmlformats.org/officeDocument/2006/relationships/image" Target="../media/image8.png"/><Relationship Id="rId4" Type="http://schemas.openxmlformats.org/officeDocument/2006/relationships/image" Target="../media/image4.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15.bin"/><Relationship Id="rId7" Type="http://schemas.openxmlformats.org/officeDocument/2006/relationships/image" Target="../media/image7.svg"/><Relationship Id="rId2" Type="http://schemas.openxmlformats.org/officeDocument/2006/relationships/slideMaster" Target="../slideMasters/slideMaster2.xml"/><Relationship Id="rId1" Type="http://schemas.openxmlformats.org/officeDocument/2006/relationships/tags" Target="../tags/tag16.xml"/><Relationship Id="rId6" Type="http://schemas.openxmlformats.org/officeDocument/2006/relationships/image" Target="../media/image5.png"/><Relationship Id="rId5" Type="http://schemas.openxmlformats.org/officeDocument/2006/relationships/image" Target="../media/image8.png"/><Relationship Id="rId4" Type="http://schemas.openxmlformats.org/officeDocument/2006/relationships/image" Target="../media/image4.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16.bin"/><Relationship Id="rId7" Type="http://schemas.openxmlformats.org/officeDocument/2006/relationships/image" Target="../media/image6.svg"/><Relationship Id="rId2" Type="http://schemas.openxmlformats.org/officeDocument/2006/relationships/slideMaster" Target="../slideMasters/slideMaster2.xml"/><Relationship Id="rId1" Type="http://schemas.openxmlformats.org/officeDocument/2006/relationships/tags" Target="../tags/tag17.xml"/><Relationship Id="rId6" Type="http://schemas.openxmlformats.org/officeDocument/2006/relationships/image" Target="../media/image5.png"/><Relationship Id="rId5" Type="http://schemas.openxmlformats.org/officeDocument/2006/relationships/image" Target="../media/image8.png"/><Relationship Id="rId4" Type="http://schemas.openxmlformats.org/officeDocument/2006/relationships/image" Target="../media/image4.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17.bin"/><Relationship Id="rId7" Type="http://schemas.openxmlformats.org/officeDocument/2006/relationships/image" Target="../media/image7.svg"/><Relationship Id="rId2" Type="http://schemas.openxmlformats.org/officeDocument/2006/relationships/slideMaster" Target="../slideMasters/slideMaster2.xml"/><Relationship Id="rId1" Type="http://schemas.openxmlformats.org/officeDocument/2006/relationships/tags" Target="../tags/tag18.xml"/><Relationship Id="rId6" Type="http://schemas.openxmlformats.org/officeDocument/2006/relationships/image" Target="../media/image5.png"/><Relationship Id="rId5" Type="http://schemas.openxmlformats.org/officeDocument/2006/relationships/image" Target="../media/image9.png"/><Relationship Id="rId4" Type="http://schemas.openxmlformats.org/officeDocument/2006/relationships/image" Target="../media/image4.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18.bin"/><Relationship Id="rId7" Type="http://schemas.openxmlformats.org/officeDocument/2006/relationships/image" Target="../media/image7.svg"/><Relationship Id="rId2" Type="http://schemas.openxmlformats.org/officeDocument/2006/relationships/slideMaster" Target="../slideMasters/slideMaster2.xml"/><Relationship Id="rId1" Type="http://schemas.openxmlformats.org/officeDocument/2006/relationships/tags" Target="../tags/tag19.xml"/><Relationship Id="rId6" Type="http://schemas.openxmlformats.org/officeDocument/2006/relationships/image" Target="../media/image5.png"/><Relationship Id="rId5" Type="http://schemas.openxmlformats.org/officeDocument/2006/relationships/image" Target="../media/image10.png"/><Relationship Id="rId4" Type="http://schemas.openxmlformats.org/officeDocument/2006/relationships/image" Target="../media/image4.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19.bin"/><Relationship Id="rId7" Type="http://schemas.openxmlformats.org/officeDocument/2006/relationships/image" Target="../media/image7.svg"/><Relationship Id="rId2" Type="http://schemas.openxmlformats.org/officeDocument/2006/relationships/slideMaster" Target="../slideMasters/slideMaster2.xml"/><Relationship Id="rId1" Type="http://schemas.openxmlformats.org/officeDocument/2006/relationships/tags" Target="../tags/tag20.xml"/><Relationship Id="rId6" Type="http://schemas.openxmlformats.org/officeDocument/2006/relationships/image" Target="../media/image5.png"/><Relationship Id="rId5" Type="http://schemas.openxmlformats.org/officeDocument/2006/relationships/image" Target="../media/image12.png"/><Relationship Id="rId4" Type="http://schemas.openxmlformats.org/officeDocument/2006/relationships/image" Target="../media/image11.emf"/></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20.bin"/><Relationship Id="rId7" Type="http://schemas.openxmlformats.org/officeDocument/2006/relationships/image" Target="../media/image7.svg"/><Relationship Id="rId2" Type="http://schemas.openxmlformats.org/officeDocument/2006/relationships/slideMaster" Target="../slideMasters/slideMaster2.xml"/><Relationship Id="rId1" Type="http://schemas.openxmlformats.org/officeDocument/2006/relationships/tags" Target="../tags/tag21.xml"/><Relationship Id="rId6" Type="http://schemas.openxmlformats.org/officeDocument/2006/relationships/image" Target="../media/image5.png"/><Relationship Id="rId5" Type="http://schemas.openxmlformats.org/officeDocument/2006/relationships/image" Target="../media/image10.png"/><Relationship Id="rId4" Type="http://schemas.openxmlformats.org/officeDocument/2006/relationships/image" Target="../media/image4.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21.bin"/><Relationship Id="rId7" Type="http://schemas.openxmlformats.org/officeDocument/2006/relationships/image" Target="../media/image7.svg"/><Relationship Id="rId2" Type="http://schemas.openxmlformats.org/officeDocument/2006/relationships/slideMaster" Target="../slideMasters/slideMaster2.xml"/><Relationship Id="rId1" Type="http://schemas.openxmlformats.org/officeDocument/2006/relationships/tags" Target="../tags/tag22.xml"/><Relationship Id="rId6" Type="http://schemas.openxmlformats.org/officeDocument/2006/relationships/image" Target="../media/image5.png"/><Relationship Id="rId5" Type="http://schemas.openxmlformats.org/officeDocument/2006/relationships/image" Target="../media/image9.png"/><Relationship Id="rId4" Type="http://schemas.openxmlformats.org/officeDocument/2006/relationships/image" Target="../media/image4.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22.bin"/><Relationship Id="rId7" Type="http://schemas.openxmlformats.org/officeDocument/2006/relationships/image" Target="../media/image7.svg"/><Relationship Id="rId2" Type="http://schemas.openxmlformats.org/officeDocument/2006/relationships/slideMaster" Target="../slideMasters/slideMaster2.xml"/><Relationship Id="rId1" Type="http://schemas.openxmlformats.org/officeDocument/2006/relationships/tags" Target="../tags/tag23.xml"/><Relationship Id="rId6" Type="http://schemas.openxmlformats.org/officeDocument/2006/relationships/image" Target="../media/image5.png"/><Relationship Id="rId5" Type="http://schemas.openxmlformats.org/officeDocument/2006/relationships/image" Target="../media/image10.png"/><Relationship Id="rId4" Type="http://schemas.openxmlformats.org/officeDocument/2006/relationships/image" Target="../media/image4.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23.bin"/><Relationship Id="rId7" Type="http://schemas.openxmlformats.org/officeDocument/2006/relationships/image" Target="../media/image7.svg"/><Relationship Id="rId2" Type="http://schemas.openxmlformats.org/officeDocument/2006/relationships/slideMaster" Target="../slideMasters/slideMaster2.xml"/><Relationship Id="rId1" Type="http://schemas.openxmlformats.org/officeDocument/2006/relationships/tags" Target="../tags/tag24.xml"/><Relationship Id="rId6" Type="http://schemas.openxmlformats.org/officeDocument/2006/relationships/image" Target="../media/image5.png"/><Relationship Id="rId5" Type="http://schemas.openxmlformats.org/officeDocument/2006/relationships/image" Target="../media/image9.png"/><Relationship Id="rId4" Type="http://schemas.openxmlformats.org/officeDocument/2006/relationships/image" Target="../media/image4.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24.bin"/><Relationship Id="rId7" Type="http://schemas.openxmlformats.org/officeDocument/2006/relationships/image" Target="../media/image7.svg"/><Relationship Id="rId2" Type="http://schemas.openxmlformats.org/officeDocument/2006/relationships/slideMaster" Target="../slideMasters/slideMaster2.xml"/><Relationship Id="rId1" Type="http://schemas.openxmlformats.org/officeDocument/2006/relationships/tags" Target="../tags/tag25.xml"/><Relationship Id="rId6" Type="http://schemas.openxmlformats.org/officeDocument/2006/relationships/image" Target="../media/image5.png"/><Relationship Id="rId5" Type="http://schemas.openxmlformats.org/officeDocument/2006/relationships/image" Target="../media/image10.png"/><Relationship Id="rId4" Type="http://schemas.openxmlformats.org/officeDocument/2006/relationships/image" Target="../media/image4.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2.xml"/><Relationship Id="rId1" Type="http://schemas.openxmlformats.org/officeDocument/2006/relationships/tags" Target="../tags/tag26.xml"/><Relationship Id="rId6" Type="http://schemas.openxmlformats.org/officeDocument/2006/relationships/image" Target="../media/image7.svg"/><Relationship Id="rId5" Type="http://schemas.openxmlformats.org/officeDocument/2006/relationships/image" Target="../media/image5.png"/><Relationship Id="rId4" Type="http://schemas.openxmlformats.org/officeDocument/2006/relationships/image" Target="../media/image4.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27.xml"/><Relationship Id="rId6" Type="http://schemas.openxmlformats.org/officeDocument/2006/relationships/image" Target="../media/image7.svg"/><Relationship Id="rId5" Type="http://schemas.openxmlformats.org/officeDocument/2006/relationships/image" Target="../media/image5.png"/><Relationship Id="rId4" Type="http://schemas.openxmlformats.org/officeDocument/2006/relationships/image" Target="../media/image4.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image" Target="../media/image7.svg"/><Relationship Id="rId2" Type="http://schemas.openxmlformats.org/officeDocument/2006/relationships/slideMaster" Target="../slideMasters/slideMaster2.xml"/><Relationship Id="rId1" Type="http://schemas.openxmlformats.org/officeDocument/2006/relationships/tags" Target="../tags/tag28.xml"/><Relationship Id="rId6" Type="http://schemas.openxmlformats.org/officeDocument/2006/relationships/image" Target="../media/image5.png"/><Relationship Id="rId5" Type="http://schemas.openxmlformats.org/officeDocument/2006/relationships/image" Target="../media/image8.png"/><Relationship Id="rId4" Type="http://schemas.openxmlformats.org/officeDocument/2006/relationships/image" Target="../media/image4.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28.bin"/><Relationship Id="rId7" Type="http://schemas.openxmlformats.org/officeDocument/2006/relationships/image" Target="../media/image7.svg"/><Relationship Id="rId2" Type="http://schemas.openxmlformats.org/officeDocument/2006/relationships/slideMaster" Target="../slideMasters/slideMaster2.xml"/><Relationship Id="rId1" Type="http://schemas.openxmlformats.org/officeDocument/2006/relationships/tags" Target="../tags/tag29.xml"/><Relationship Id="rId6" Type="http://schemas.openxmlformats.org/officeDocument/2006/relationships/image" Target="../media/image5.png"/><Relationship Id="rId5" Type="http://schemas.openxmlformats.org/officeDocument/2006/relationships/image" Target="../media/image8.png"/><Relationship Id="rId4" Type="http://schemas.openxmlformats.org/officeDocument/2006/relationships/image" Target="../media/image4.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29.bin"/><Relationship Id="rId7" Type="http://schemas.openxmlformats.org/officeDocument/2006/relationships/image" Target="../media/image7.svg"/><Relationship Id="rId2" Type="http://schemas.openxmlformats.org/officeDocument/2006/relationships/slideMaster" Target="../slideMasters/slideMaster2.xml"/><Relationship Id="rId1" Type="http://schemas.openxmlformats.org/officeDocument/2006/relationships/tags" Target="../tags/tag30.xml"/><Relationship Id="rId6" Type="http://schemas.openxmlformats.org/officeDocument/2006/relationships/image" Target="../media/image5.png"/><Relationship Id="rId5" Type="http://schemas.openxmlformats.org/officeDocument/2006/relationships/image" Target="../media/image8.png"/><Relationship Id="rId4" Type="http://schemas.openxmlformats.org/officeDocument/2006/relationships/image" Target="../media/image4.emf"/></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30.bin"/><Relationship Id="rId7" Type="http://schemas.openxmlformats.org/officeDocument/2006/relationships/image" Target="../media/image7.svg"/><Relationship Id="rId2" Type="http://schemas.openxmlformats.org/officeDocument/2006/relationships/slideMaster" Target="../slideMasters/slideMaster2.xml"/><Relationship Id="rId1" Type="http://schemas.openxmlformats.org/officeDocument/2006/relationships/tags" Target="../tags/tag31.xml"/><Relationship Id="rId6" Type="http://schemas.openxmlformats.org/officeDocument/2006/relationships/image" Target="../media/image5.png"/><Relationship Id="rId5" Type="http://schemas.openxmlformats.org/officeDocument/2006/relationships/image" Target="../media/image8.png"/><Relationship Id="rId4" Type="http://schemas.openxmlformats.org/officeDocument/2006/relationships/image" Target="../media/image4.emf"/></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31.bin"/><Relationship Id="rId7" Type="http://schemas.openxmlformats.org/officeDocument/2006/relationships/image" Target="../media/image7.svg"/><Relationship Id="rId2" Type="http://schemas.openxmlformats.org/officeDocument/2006/relationships/slideMaster" Target="../slideMasters/slideMaster2.xml"/><Relationship Id="rId1" Type="http://schemas.openxmlformats.org/officeDocument/2006/relationships/tags" Target="../tags/tag32.xml"/><Relationship Id="rId6" Type="http://schemas.openxmlformats.org/officeDocument/2006/relationships/image" Target="../media/image5.png"/><Relationship Id="rId5" Type="http://schemas.openxmlformats.org/officeDocument/2006/relationships/image" Target="../media/image8.png"/><Relationship Id="rId4" Type="http://schemas.openxmlformats.org/officeDocument/2006/relationships/image" Target="../media/image4.emf"/></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32.bin"/><Relationship Id="rId7" Type="http://schemas.openxmlformats.org/officeDocument/2006/relationships/image" Target="../media/image7.svg"/><Relationship Id="rId2" Type="http://schemas.openxmlformats.org/officeDocument/2006/relationships/slideMaster" Target="../slideMasters/slideMaster2.xml"/><Relationship Id="rId1" Type="http://schemas.openxmlformats.org/officeDocument/2006/relationships/tags" Target="../tags/tag33.xml"/><Relationship Id="rId6" Type="http://schemas.openxmlformats.org/officeDocument/2006/relationships/image" Target="../media/image5.png"/><Relationship Id="rId5" Type="http://schemas.openxmlformats.org/officeDocument/2006/relationships/image" Target="../media/image9.png"/><Relationship Id="rId4" Type="http://schemas.openxmlformats.org/officeDocument/2006/relationships/image" Target="../media/image4.emf"/></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33.bin"/><Relationship Id="rId7" Type="http://schemas.openxmlformats.org/officeDocument/2006/relationships/image" Target="../media/image7.svg"/><Relationship Id="rId2" Type="http://schemas.openxmlformats.org/officeDocument/2006/relationships/slideMaster" Target="../slideMasters/slideMaster2.xml"/><Relationship Id="rId1" Type="http://schemas.openxmlformats.org/officeDocument/2006/relationships/tags" Target="../tags/tag34.xml"/><Relationship Id="rId6" Type="http://schemas.openxmlformats.org/officeDocument/2006/relationships/image" Target="../media/image5.png"/><Relationship Id="rId5" Type="http://schemas.openxmlformats.org/officeDocument/2006/relationships/image" Target="../media/image10.png"/><Relationship Id="rId4" Type="http://schemas.openxmlformats.org/officeDocument/2006/relationships/image" Target="../media/image4.emf"/></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34.bin"/><Relationship Id="rId7" Type="http://schemas.openxmlformats.org/officeDocument/2006/relationships/image" Target="../media/image7.svg"/><Relationship Id="rId2" Type="http://schemas.openxmlformats.org/officeDocument/2006/relationships/slideMaster" Target="../slideMasters/slideMaster2.xml"/><Relationship Id="rId1" Type="http://schemas.openxmlformats.org/officeDocument/2006/relationships/tags" Target="../tags/tag35.xml"/><Relationship Id="rId6" Type="http://schemas.openxmlformats.org/officeDocument/2006/relationships/image" Target="../media/image5.png"/><Relationship Id="rId5" Type="http://schemas.openxmlformats.org/officeDocument/2006/relationships/image" Target="../media/image12.png"/><Relationship Id="rId4" Type="http://schemas.openxmlformats.org/officeDocument/2006/relationships/image" Target="../media/image11.emf"/></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35.bin"/><Relationship Id="rId7" Type="http://schemas.openxmlformats.org/officeDocument/2006/relationships/image" Target="../media/image7.svg"/><Relationship Id="rId2" Type="http://schemas.openxmlformats.org/officeDocument/2006/relationships/slideMaster" Target="../slideMasters/slideMaster2.xml"/><Relationship Id="rId1" Type="http://schemas.openxmlformats.org/officeDocument/2006/relationships/tags" Target="../tags/tag36.xml"/><Relationship Id="rId6" Type="http://schemas.openxmlformats.org/officeDocument/2006/relationships/image" Target="../media/image5.png"/><Relationship Id="rId5" Type="http://schemas.openxmlformats.org/officeDocument/2006/relationships/image" Target="../media/image10.png"/><Relationship Id="rId4" Type="http://schemas.openxmlformats.org/officeDocument/2006/relationships/image" Target="../media/image4.emf"/></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36.bin"/><Relationship Id="rId7" Type="http://schemas.openxmlformats.org/officeDocument/2006/relationships/image" Target="../media/image7.svg"/><Relationship Id="rId2" Type="http://schemas.openxmlformats.org/officeDocument/2006/relationships/slideMaster" Target="../slideMasters/slideMaster2.xml"/><Relationship Id="rId1" Type="http://schemas.openxmlformats.org/officeDocument/2006/relationships/tags" Target="../tags/tag37.xml"/><Relationship Id="rId6" Type="http://schemas.openxmlformats.org/officeDocument/2006/relationships/image" Target="../media/image5.png"/><Relationship Id="rId5" Type="http://schemas.openxmlformats.org/officeDocument/2006/relationships/image" Target="../media/image9.png"/><Relationship Id="rId4" Type="http://schemas.openxmlformats.org/officeDocument/2006/relationships/image" Target="../media/image4.emf"/></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37.bin"/><Relationship Id="rId7" Type="http://schemas.openxmlformats.org/officeDocument/2006/relationships/image" Target="../media/image7.svg"/><Relationship Id="rId2" Type="http://schemas.openxmlformats.org/officeDocument/2006/relationships/slideMaster" Target="../slideMasters/slideMaster2.xml"/><Relationship Id="rId1" Type="http://schemas.openxmlformats.org/officeDocument/2006/relationships/tags" Target="../tags/tag38.xml"/><Relationship Id="rId6" Type="http://schemas.openxmlformats.org/officeDocument/2006/relationships/image" Target="../media/image5.png"/><Relationship Id="rId5" Type="http://schemas.openxmlformats.org/officeDocument/2006/relationships/image" Target="../media/image10.png"/><Relationship Id="rId4" Type="http://schemas.openxmlformats.org/officeDocument/2006/relationships/image" Target="../media/image4.emf"/></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38.bin"/><Relationship Id="rId7" Type="http://schemas.openxmlformats.org/officeDocument/2006/relationships/image" Target="../media/image7.svg"/><Relationship Id="rId2" Type="http://schemas.openxmlformats.org/officeDocument/2006/relationships/slideMaster" Target="../slideMasters/slideMaster2.xml"/><Relationship Id="rId1" Type="http://schemas.openxmlformats.org/officeDocument/2006/relationships/tags" Target="../tags/tag39.xml"/><Relationship Id="rId6" Type="http://schemas.openxmlformats.org/officeDocument/2006/relationships/image" Target="../media/image5.png"/><Relationship Id="rId5" Type="http://schemas.openxmlformats.org/officeDocument/2006/relationships/image" Target="../media/image9.png"/><Relationship Id="rId4" Type="http://schemas.openxmlformats.org/officeDocument/2006/relationships/image" Target="../media/image4.emf"/></Relationships>
</file>

<file path=ppt/slideLayouts/_rels/slideLayout49.xml.rels><?xml version="1.0" encoding="UTF-8" standalone="yes"?>
<Relationships xmlns="http://schemas.openxmlformats.org/package/2006/relationships"><Relationship Id="rId3" Type="http://schemas.openxmlformats.org/officeDocument/2006/relationships/oleObject" Target="../embeddings/oleObject39.bin"/><Relationship Id="rId7" Type="http://schemas.openxmlformats.org/officeDocument/2006/relationships/image" Target="../media/image7.svg"/><Relationship Id="rId2" Type="http://schemas.openxmlformats.org/officeDocument/2006/relationships/slideMaster" Target="../slideMasters/slideMaster2.xml"/><Relationship Id="rId1" Type="http://schemas.openxmlformats.org/officeDocument/2006/relationships/tags" Target="../tags/tag40.xml"/><Relationship Id="rId6" Type="http://schemas.openxmlformats.org/officeDocument/2006/relationships/image" Target="../media/image5.png"/><Relationship Id="rId5" Type="http://schemas.openxmlformats.org/officeDocument/2006/relationships/image" Target="../media/image10.png"/><Relationship Id="rId4" Type="http://schemas.openxmlformats.org/officeDocument/2006/relationships/image" Target="../media/image4.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Master" Target="../slideMasters/slideMaster2.xml"/><Relationship Id="rId1" Type="http://schemas.openxmlformats.org/officeDocument/2006/relationships/tags" Target="../tags/tag41.xml"/><Relationship Id="rId6" Type="http://schemas.openxmlformats.org/officeDocument/2006/relationships/image" Target="../media/image7.svg"/><Relationship Id="rId5" Type="http://schemas.openxmlformats.org/officeDocument/2006/relationships/image" Target="../media/image5.png"/><Relationship Id="rId4" Type="http://schemas.openxmlformats.org/officeDocument/2006/relationships/image" Target="../media/image4.emf"/></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Master" Target="../slideMasters/slideMaster2.xml"/><Relationship Id="rId1" Type="http://schemas.openxmlformats.org/officeDocument/2006/relationships/tags" Target="../tags/tag42.xml"/><Relationship Id="rId6" Type="http://schemas.openxmlformats.org/officeDocument/2006/relationships/image" Target="../media/image7.svg"/><Relationship Id="rId5" Type="http://schemas.openxmlformats.org/officeDocument/2006/relationships/image" Target="../media/image5.png"/><Relationship Id="rId4" Type="http://schemas.openxmlformats.org/officeDocument/2006/relationships/image" Target="../media/image4.emf"/></Relationships>
</file>

<file path=ppt/slideLayouts/_rels/slideLayout52.xml.rels><?xml version="1.0" encoding="UTF-8" standalone="yes"?>
<Relationships xmlns="http://schemas.openxmlformats.org/package/2006/relationships"><Relationship Id="rId3" Type="http://schemas.openxmlformats.org/officeDocument/2006/relationships/oleObject" Target="../embeddings/oleObject42.bin"/><Relationship Id="rId7" Type="http://schemas.openxmlformats.org/officeDocument/2006/relationships/image" Target="../media/image7.svg"/><Relationship Id="rId2" Type="http://schemas.openxmlformats.org/officeDocument/2006/relationships/slideMaster" Target="../slideMasters/slideMaster2.xml"/><Relationship Id="rId1" Type="http://schemas.openxmlformats.org/officeDocument/2006/relationships/tags" Target="../tags/tag43.xml"/><Relationship Id="rId6" Type="http://schemas.openxmlformats.org/officeDocument/2006/relationships/image" Target="../media/image5.png"/><Relationship Id="rId5" Type="http://schemas.openxmlformats.org/officeDocument/2006/relationships/image" Target="../media/image13.png"/><Relationship Id="rId4" Type="http://schemas.openxmlformats.org/officeDocument/2006/relationships/image" Target="../media/image11.emf"/></Relationships>
</file>

<file path=ppt/slideLayouts/_rels/slideLayout53.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Master" Target="../slideMasters/slideMaster2.xml"/><Relationship Id="rId1" Type="http://schemas.openxmlformats.org/officeDocument/2006/relationships/tags" Target="../tags/tag44.xml"/><Relationship Id="rId6" Type="http://schemas.openxmlformats.org/officeDocument/2006/relationships/image" Target="../media/image7.svg"/><Relationship Id="rId5" Type="http://schemas.openxmlformats.org/officeDocument/2006/relationships/image" Target="../media/image5.png"/><Relationship Id="rId4" Type="http://schemas.openxmlformats.org/officeDocument/2006/relationships/image" Target="../media/image4.emf"/></Relationships>
</file>

<file path=ppt/slideLayouts/_rels/slideLayout54.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Master" Target="../slideMasters/slideMaster2.xml"/><Relationship Id="rId1" Type="http://schemas.openxmlformats.org/officeDocument/2006/relationships/tags" Target="../tags/tag45.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4.emf"/></Relationships>
</file>

<file path=ppt/slideLayouts/_rels/slideLayout55.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Master" Target="../slideMasters/slideMaster2.xml"/><Relationship Id="rId1" Type="http://schemas.openxmlformats.org/officeDocument/2006/relationships/tags" Target="../tags/tag46.xml"/><Relationship Id="rId6" Type="http://schemas.openxmlformats.org/officeDocument/2006/relationships/image" Target="../media/image7.svg"/><Relationship Id="rId5" Type="http://schemas.openxmlformats.org/officeDocument/2006/relationships/image" Target="../media/image5.png"/><Relationship Id="rId4" Type="http://schemas.openxmlformats.org/officeDocument/2006/relationships/image" Target="../media/image4.emf"/></Relationships>
</file>

<file path=ppt/slideLayouts/_rels/slideLayout56.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Master" Target="../slideMasters/slideMaster2.xml"/><Relationship Id="rId1" Type="http://schemas.openxmlformats.org/officeDocument/2006/relationships/tags" Target="../tags/tag47.xml"/><Relationship Id="rId6" Type="http://schemas.openxmlformats.org/officeDocument/2006/relationships/image" Target="../media/image7.svg"/><Relationship Id="rId5" Type="http://schemas.openxmlformats.org/officeDocument/2006/relationships/image" Target="../media/image5.png"/><Relationship Id="rId4" Type="http://schemas.openxmlformats.org/officeDocument/2006/relationships/image" Target="../media/image4.emf"/></Relationships>
</file>

<file path=ppt/slideLayouts/_rels/slideLayout57.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Master" Target="../slideMasters/slideMaster2.xml"/><Relationship Id="rId1" Type="http://schemas.openxmlformats.org/officeDocument/2006/relationships/tags" Target="../tags/tag48.xml"/><Relationship Id="rId6" Type="http://schemas.openxmlformats.org/officeDocument/2006/relationships/image" Target="../media/image7.svg"/><Relationship Id="rId5" Type="http://schemas.openxmlformats.org/officeDocument/2006/relationships/image" Target="../media/image5.png"/><Relationship Id="rId4" Type="http://schemas.openxmlformats.org/officeDocument/2006/relationships/image" Target="../media/image4.emf"/></Relationships>
</file>

<file path=ppt/slideLayouts/_rels/slideLayout58.xml.rels><?xml version="1.0" encoding="UTF-8" standalone="yes"?>
<Relationships xmlns="http://schemas.openxmlformats.org/package/2006/relationships"><Relationship Id="rId3" Type="http://schemas.openxmlformats.org/officeDocument/2006/relationships/oleObject" Target="../embeddings/oleObject48.bin"/><Relationship Id="rId2" Type="http://schemas.openxmlformats.org/officeDocument/2006/relationships/slideMaster" Target="../slideMasters/slideMaster2.xml"/><Relationship Id="rId1" Type="http://schemas.openxmlformats.org/officeDocument/2006/relationships/tags" Target="../tags/tag49.xml"/><Relationship Id="rId6" Type="http://schemas.openxmlformats.org/officeDocument/2006/relationships/image" Target="../media/image7.svg"/><Relationship Id="rId5" Type="http://schemas.openxmlformats.org/officeDocument/2006/relationships/image" Target="../media/image5.png"/><Relationship Id="rId4" Type="http://schemas.openxmlformats.org/officeDocument/2006/relationships/image" Target="../media/image4.emf"/></Relationships>
</file>

<file path=ppt/slideLayouts/_rels/slideLayout59.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Master" Target="../slideMasters/slideMaster2.xml"/><Relationship Id="rId1" Type="http://schemas.openxmlformats.org/officeDocument/2006/relationships/tags" Target="../tags/tag50.xml"/><Relationship Id="rId6" Type="http://schemas.openxmlformats.org/officeDocument/2006/relationships/image" Target="../media/image7.svg"/><Relationship Id="rId5" Type="http://schemas.openxmlformats.org/officeDocument/2006/relationships/image" Target="../media/image5.png"/><Relationship Id="rId4" Type="http://schemas.openxmlformats.org/officeDocument/2006/relationships/image" Target="../media/image4.emf"/></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50.bin"/><Relationship Id="rId2" Type="http://schemas.openxmlformats.org/officeDocument/2006/relationships/slideMaster" Target="../slideMasters/slideMaster2.xml"/><Relationship Id="rId1" Type="http://schemas.openxmlformats.org/officeDocument/2006/relationships/tags" Target="../tags/tag51.xml"/><Relationship Id="rId6" Type="http://schemas.openxmlformats.org/officeDocument/2006/relationships/image" Target="../media/image7.svg"/><Relationship Id="rId5" Type="http://schemas.openxmlformats.org/officeDocument/2006/relationships/image" Target="../media/image5.png"/><Relationship Id="rId4" Type="http://schemas.openxmlformats.org/officeDocument/2006/relationships/image" Target="../media/image4.emf"/></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51.bin"/><Relationship Id="rId7" Type="http://schemas.openxmlformats.org/officeDocument/2006/relationships/image" Target="../media/image3.jpeg"/><Relationship Id="rId2" Type="http://schemas.openxmlformats.org/officeDocument/2006/relationships/slideMaster" Target="../slideMasters/slideMaster2.xml"/><Relationship Id="rId1" Type="http://schemas.openxmlformats.org/officeDocument/2006/relationships/tags" Target="../tags/tag52.xml"/><Relationship Id="rId6" Type="http://schemas.openxmlformats.org/officeDocument/2006/relationships/image" Target="../media/image15.jpeg"/><Relationship Id="rId5" Type="http://schemas.openxmlformats.org/officeDocument/2006/relationships/image" Target="../media/image14.png"/><Relationship Id="rId4" Type="http://schemas.openxmlformats.org/officeDocument/2006/relationships/image" Target="../media/image2.emf"/></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52.bin"/><Relationship Id="rId2" Type="http://schemas.openxmlformats.org/officeDocument/2006/relationships/slideMaster" Target="../slideMasters/slideMaster2.xml"/><Relationship Id="rId1" Type="http://schemas.openxmlformats.org/officeDocument/2006/relationships/tags" Target="../tags/tag53.xml"/><Relationship Id="rId6" Type="http://schemas.openxmlformats.org/officeDocument/2006/relationships/image" Target="../media/image7.svg"/><Relationship Id="rId5" Type="http://schemas.openxmlformats.org/officeDocument/2006/relationships/image" Target="../media/image5.png"/><Relationship Id="rId4" Type="http://schemas.openxmlformats.org/officeDocument/2006/relationships/image" Target="../media/image4.emf"/></Relationships>
</file>

<file path=ppt/slideLayouts/_rels/slideLayout63.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Master" Target="../slideMasters/slideMaster2.xml"/><Relationship Id="rId1" Type="http://schemas.openxmlformats.org/officeDocument/2006/relationships/tags" Target="../tags/tag54.xml"/><Relationship Id="rId6" Type="http://schemas.openxmlformats.org/officeDocument/2006/relationships/image" Target="../media/image7.svg"/><Relationship Id="rId5" Type="http://schemas.openxmlformats.org/officeDocument/2006/relationships/image" Target="../media/image5.png"/><Relationship Id="rId4" Type="http://schemas.openxmlformats.org/officeDocument/2006/relationships/image" Target="../media/image4.emf"/></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6.xml"/><Relationship Id="rId1" Type="http://schemas.openxmlformats.org/officeDocument/2006/relationships/tags" Target="../tags/tag55.xml"/><Relationship Id="rId6" Type="http://schemas.openxmlformats.org/officeDocument/2006/relationships/image" Target="../media/image3.jpeg"/><Relationship Id="rId5" Type="http://schemas.openxmlformats.org/officeDocument/2006/relationships/image" Target="../media/image2.emf"/><Relationship Id="rId4" Type="http://schemas.openxmlformats.org/officeDocument/2006/relationships/oleObject" Target="../embeddings/oleObject54.bin"/></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55.bin"/><Relationship Id="rId2" Type="http://schemas.openxmlformats.org/officeDocument/2006/relationships/slideMaster" Target="../slideMasters/slideMaster2.xml"/><Relationship Id="rId1" Type="http://schemas.openxmlformats.org/officeDocument/2006/relationships/tags" Target="../tags/tag57.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4.emf"/></Relationships>
</file>

<file path=ppt/slideLayouts/_rels/slideLayout66.xml.rels><?xml version="1.0" encoding="UTF-8" standalone="yes"?>
<Relationships xmlns="http://schemas.openxmlformats.org/package/2006/relationships"><Relationship Id="rId3" Type="http://schemas.openxmlformats.org/officeDocument/2006/relationships/oleObject" Target="../embeddings/oleObject56.bin"/><Relationship Id="rId2" Type="http://schemas.openxmlformats.org/officeDocument/2006/relationships/slideMaster" Target="../slideMasters/slideMaster2.xml"/><Relationship Id="rId1" Type="http://schemas.openxmlformats.org/officeDocument/2006/relationships/tags" Target="../tags/tag58.xml"/><Relationship Id="rId6" Type="http://schemas.openxmlformats.org/officeDocument/2006/relationships/image" Target="../media/image7.svg"/><Relationship Id="rId5" Type="http://schemas.openxmlformats.org/officeDocument/2006/relationships/image" Target="../media/image5.png"/><Relationship Id="rId4" Type="http://schemas.openxmlformats.org/officeDocument/2006/relationships/image" Target="../media/image4.emf"/></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57.bin"/><Relationship Id="rId2" Type="http://schemas.openxmlformats.org/officeDocument/2006/relationships/slideMaster" Target="../slideMasters/slideMaster2.xml"/><Relationship Id="rId1" Type="http://schemas.openxmlformats.org/officeDocument/2006/relationships/tags" Target="../tags/tag59.xml"/><Relationship Id="rId6" Type="http://schemas.openxmlformats.org/officeDocument/2006/relationships/image" Target="../media/image7.svg"/><Relationship Id="rId5" Type="http://schemas.openxmlformats.org/officeDocument/2006/relationships/image" Target="../media/image5.png"/><Relationship Id="rId4" Type="http://schemas.openxmlformats.org/officeDocument/2006/relationships/image" Target="../media/image4.emf"/></Relationships>
</file>

<file path=ppt/slideLayouts/_rels/slideLayout68.xml.rels><?xml version="1.0" encoding="UTF-8" standalone="yes"?>
<Relationships xmlns="http://schemas.openxmlformats.org/package/2006/relationships"><Relationship Id="rId3" Type="http://schemas.openxmlformats.org/officeDocument/2006/relationships/oleObject" Target="../embeddings/oleObject58.bin"/><Relationship Id="rId2" Type="http://schemas.openxmlformats.org/officeDocument/2006/relationships/slideMaster" Target="../slideMasters/slideMaster2.xml"/><Relationship Id="rId1" Type="http://schemas.openxmlformats.org/officeDocument/2006/relationships/tags" Target="../tags/tag60.xml"/><Relationship Id="rId6" Type="http://schemas.openxmlformats.org/officeDocument/2006/relationships/image" Target="../media/image7.svg"/><Relationship Id="rId5" Type="http://schemas.openxmlformats.org/officeDocument/2006/relationships/image" Target="../media/image5.png"/><Relationship Id="rId4" Type="http://schemas.openxmlformats.org/officeDocument/2006/relationships/image" Target="../media/image4.emf"/></Relationships>
</file>

<file path=ppt/slideLayouts/_rels/slideLayout69.xml.rels><?xml version="1.0" encoding="UTF-8" standalone="yes"?>
<Relationships xmlns="http://schemas.openxmlformats.org/package/2006/relationships"><Relationship Id="rId3" Type="http://schemas.openxmlformats.org/officeDocument/2006/relationships/oleObject" Target="../embeddings/oleObject59.bin"/><Relationship Id="rId2" Type="http://schemas.openxmlformats.org/officeDocument/2006/relationships/slideMaster" Target="../slideMasters/slideMaster2.xml"/><Relationship Id="rId1" Type="http://schemas.openxmlformats.org/officeDocument/2006/relationships/tags" Target="../tags/tag61.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4.emf"/></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oleObject" Target="../embeddings/oleObject60.bin"/><Relationship Id="rId2" Type="http://schemas.openxmlformats.org/officeDocument/2006/relationships/slideMaster" Target="../slideMasters/slideMaster2.xml"/><Relationship Id="rId1" Type="http://schemas.openxmlformats.org/officeDocument/2006/relationships/tags" Target="../tags/tag62.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4.emf"/></Relationships>
</file>

<file path=ppt/slideLayouts/_rels/slideLayout71.xml.rels><?xml version="1.0" encoding="UTF-8" standalone="yes"?>
<Relationships xmlns="http://schemas.openxmlformats.org/package/2006/relationships"><Relationship Id="rId3" Type="http://schemas.openxmlformats.org/officeDocument/2006/relationships/oleObject" Target="../embeddings/oleObject61.bin"/><Relationship Id="rId2" Type="http://schemas.openxmlformats.org/officeDocument/2006/relationships/slideMaster" Target="../slideMasters/slideMaster2.xml"/><Relationship Id="rId1" Type="http://schemas.openxmlformats.org/officeDocument/2006/relationships/tags" Target="../tags/tag63.xml"/><Relationship Id="rId6" Type="http://schemas.openxmlformats.org/officeDocument/2006/relationships/image" Target="../media/image7.svg"/><Relationship Id="rId5" Type="http://schemas.openxmlformats.org/officeDocument/2006/relationships/image" Target="../media/image5.png"/><Relationship Id="rId4" Type="http://schemas.openxmlformats.org/officeDocument/2006/relationships/image" Target="../media/image4.emf"/></Relationships>
</file>

<file path=ppt/slideLayouts/_rels/slideLayout72.xml.rels><?xml version="1.0" encoding="UTF-8" standalone="yes"?>
<Relationships xmlns="http://schemas.openxmlformats.org/package/2006/relationships"><Relationship Id="rId3" Type="http://schemas.openxmlformats.org/officeDocument/2006/relationships/oleObject" Target="../embeddings/oleObject62.bin"/><Relationship Id="rId2" Type="http://schemas.openxmlformats.org/officeDocument/2006/relationships/slideMaster" Target="../slideMasters/slideMaster2.xml"/><Relationship Id="rId1" Type="http://schemas.openxmlformats.org/officeDocument/2006/relationships/tags" Target="../tags/tag64.xml"/><Relationship Id="rId6" Type="http://schemas.openxmlformats.org/officeDocument/2006/relationships/image" Target="../media/image7.svg"/><Relationship Id="rId5" Type="http://schemas.openxmlformats.org/officeDocument/2006/relationships/image" Target="../media/image5.png"/><Relationship Id="rId4" Type="http://schemas.openxmlformats.org/officeDocument/2006/relationships/image" Target="../media/image4.emf"/></Relationships>
</file>

<file path=ppt/slideLayouts/_rels/slideLayout73.xml.rels><?xml version="1.0" encoding="UTF-8" standalone="yes"?>
<Relationships xmlns="http://schemas.openxmlformats.org/package/2006/relationships"><Relationship Id="rId3" Type="http://schemas.openxmlformats.org/officeDocument/2006/relationships/oleObject" Target="../embeddings/oleObject63.bin"/><Relationship Id="rId2" Type="http://schemas.openxmlformats.org/officeDocument/2006/relationships/slideMaster" Target="../slideMasters/slideMaster2.xml"/><Relationship Id="rId1" Type="http://schemas.openxmlformats.org/officeDocument/2006/relationships/tags" Target="../tags/tag65.xml"/><Relationship Id="rId6" Type="http://schemas.openxmlformats.org/officeDocument/2006/relationships/image" Target="../media/image7.svg"/><Relationship Id="rId5" Type="http://schemas.openxmlformats.org/officeDocument/2006/relationships/image" Target="../media/image5.png"/><Relationship Id="rId4" Type="http://schemas.openxmlformats.org/officeDocument/2006/relationships/image" Target="../media/image4.emf"/></Relationships>
</file>

<file path=ppt/slideLayouts/_rels/slideLayout74.xml.rels><?xml version="1.0" encoding="UTF-8" standalone="yes"?>
<Relationships xmlns="http://schemas.openxmlformats.org/package/2006/relationships"><Relationship Id="rId3" Type="http://schemas.openxmlformats.org/officeDocument/2006/relationships/oleObject" Target="../embeddings/oleObject64.bin"/><Relationship Id="rId7" Type="http://schemas.openxmlformats.org/officeDocument/2006/relationships/image" Target="../media/image7.svg"/><Relationship Id="rId2" Type="http://schemas.openxmlformats.org/officeDocument/2006/relationships/slideMaster" Target="../slideMasters/slideMaster2.xml"/><Relationship Id="rId1" Type="http://schemas.openxmlformats.org/officeDocument/2006/relationships/tags" Target="../tags/tag66.xml"/><Relationship Id="rId6" Type="http://schemas.openxmlformats.org/officeDocument/2006/relationships/image" Target="../media/image5.png"/><Relationship Id="rId5" Type="http://schemas.openxmlformats.org/officeDocument/2006/relationships/image" Target="../media/image8.png"/><Relationship Id="rId4" Type="http://schemas.openxmlformats.org/officeDocument/2006/relationships/image" Target="../media/image4.emf"/></Relationships>
</file>

<file path=ppt/slideLayouts/_rels/slideLayout75.xml.rels><?xml version="1.0" encoding="UTF-8" standalone="yes"?>
<Relationships xmlns="http://schemas.openxmlformats.org/package/2006/relationships"><Relationship Id="rId3" Type="http://schemas.openxmlformats.org/officeDocument/2006/relationships/oleObject" Target="../embeddings/oleObject65.bin"/><Relationship Id="rId7" Type="http://schemas.openxmlformats.org/officeDocument/2006/relationships/image" Target="../media/image7.svg"/><Relationship Id="rId2" Type="http://schemas.openxmlformats.org/officeDocument/2006/relationships/slideMaster" Target="../slideMasters/slideMaster2.xml"/><Relationship Id="rId1" Type="http://schemas.openxmlformats.org/officeDocument/2006/relationships/tags" Target="../tags/tag67.xml"/><Relationship Id="rId6" Type="http://schemas.openxmlformats.org/officeDocument/2006/relationships/image" Target="../media/image5.png"/><Relationship Id="rId5" Type="http://schemas.openxmlformats.org/officeDocument/2006/relationships/image" Target="../media/image8.png"/><Relationship Id="rId4" Type="http://schemas.openxmlformats.org/officeDocument/2006/relationships/image" Target="../media/image4.emf"/></Relationships>
</file>

<file path=ppt/slideLayouts/_rels/slideLayout76.xml.rels><?xml version="1.0" encoding="UTF-8" standalone="yes"?>
<Relationships xmlns="http://schemas.openxmlformats.org/package/2006/relationships"><Relationship Id="rId3" Type="http://schemas.openxmlformats.org/officeDocument/2006/relationships/oleObject" Target="../embeddings/oleObject66.bin"/><Relationship Id="rId7" Type="http://schemas.openxmlformats.org/officeDocument/2006/relationships/image" Target="../media/image7.svg"/><Relationship Id="rId2" Type="http://schemas.openxmlformats.org/officeDocument/2006/relationships/slideMaster" Target="../slideMasters/slideMaster2.xml"/><Relationship Id="rId1" Type="http://schemas.openxmlformats.org/officeDocument/2006/relationships/tags" Target="../tags/tag68.xml"/><Relationship Id="rId6" Type="http://schemas.openxmlformats.org/officeDocument/2006/relationships/image" Target="../media/image5.png"/><Relationship Id="rId5" Type="http://schemas.openxmlformats.org/officeDocument/2006/relationships/image" Target="../media/image8.png"/><Relationship Id="rId4" Type="http://schemas.openxmlformats.org/officeDocument/2006/relationships/image" Target="../media/image4.emf"/></Relationships>
</file>

<file path=ppt/slideLayouts/_rels/slideLayout77.xml.rels><?xml version="1.0" encoding="UTF-8" standalone="yes"?>
<Relationships xmlns="http://schemas.openxmlformats.org/package/2006/relationships"><Relationship Id="rId3" Type="http://schemas.openxmlformats.org/officeDocument/2006/relationships/oleObject" Target="../embeddings/oleObject67.bin"/><Relationship Id="rId7" Type="http://schemas.openxmlformats.org/officeDocument/2006/relationships/image" Target="../media/image7.svg"/><Relationship Id="rId2" Type="http://schemas.openxmlformats.org/officeDocument/2006/relationships/slideMaster" Target="../slideMasters/slideMaster2.xml"/><Relationship Id="rId1" Type="http://schemas.openxmlformats.org/officeDocument/2006/relationships/tags" Target="../tags/tag69.xml"/><Relationship Id="rId6" Type="http://schemas.openxmlformats.org/officeDocument/2006/relationships/image" Target="../media/image5.png"/><Relationship Id="rId5" Type="http://schemas.openxmlformats.org/officeDocument/2006/relationships/image" Target="../media/image8.png"/><Relationship Id="rId4" Type="http://schemas.openxmlformats.org/officeDocument/2006/relationships/image" Target="../media/image4.emf"/></Relationships>
</file>

<file path=ppt/slideLayouts/_rels/slideLayout78.xml.rels><?xml version="1.0" encoding="UTF-8" standalone="yes"?>
<Relationships xmlns="http://schemas.openxmlformats.org/package/2006/relationships"><Relationship Id="rId3" Type="http://schemas.openxmlformats.org/officeDocument/2006/relationships/oleObject" Target="../embeddings/oleObject68.bin"/><Relationship Id="rId7" Type="http://schemas.openxmlformats.org/officeDocument/2006/relationships/image" Target="../media/image7.svg"/><Relationship Id="rId2" Type="http://schemas.openxmlformats.org/officeDocument/2006/relationships/slideMaster" Target="../slideMasters/slideMaster2.xml"/><Relationship Id="rId1" Type="http://schemas.openxmlformats.org/officeDocument/2006/relationships/tags" Target="../tags/tag70.xml"/><Relationship Id="rId6" Type="http://schemas.openxmlformats.org/officeDocument/2006/relationships/image" Target="../media/image5.png"/><Relationship Id="rId5" Type="http://schemas.openxmlformats.org/officeDocument/2006/relationships/image" Target="../media/image8.png"/><Relationship Id="rId4" Type="http://schemas.openxmlformats.org/officeDocument/2006/relationships/image" Target="../media/image4.emf"/></Relationships>
</file>

<file path=ppt/slideLayouts/_rels/slideLayout79.xml.rels><?xml version="1.0" encoding="UTF-8" standalone="yes"?>
<Relationships xmlns="http://schemas.openxmlformats.org/package/2006/relationships"><Relationship Id="rId3" Type="http://schemas.openxmlformats.org/officeDocument/2006/relationships/oleObject" Target="../embeddings/oleObject69.bin"/><Relationship Id="rId7" Type="http://schemas.openxmlformats.org/officeDocument/2006/relationships/image" Target="../media/image7.svg"/><Relationship Id="rId2" Type="http://schemas.openxmlformats.org/officeDocument/2006/relationships/slideMaster" Target="../slideMasters/slideMaster2.xml"/><Relationship Id="rId1" Type="http://schemas.openxmlformats.org/officeDocument/2006/relationships/tags" Target="../tags/tag71.xml"/><Relationship Id="rId6" Type="http://schemas.openxmlformats.org/officeDocument/2006/relationships/image" Target="../media/image5.png"/><Relationship Id="rId5" Type="http://schemas.openxmlformats.org/officeDocument/2006/relationships/image" Target="../media/image8.png"/><Relationship Id="rId4" Type="http://schemas.openxmlformats.org/officeDocument/2006/relationships/image" Target="../media/image4.emf"/></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oleObject" Target="../embeddings/oleObject70.bin"/><Relationship Id="rId7" Type="http://schemas.openxmlformats.org/officeDocument/2006/relationships/image" Target="../media/image7.svg"/><Relationship Id="rId2" Type="http://schemas.openxmlformats.org/officeDocument/2006/relationships/slideMaster" Target="../slideMasters/slideMaster2.xml"/><Relationship Id="rId1" Type="http://schemas.openxmlformats.org/officeDocument/2006/relationships/tags" Target="../tags/tag72.xml"/><Relationship Id="rId6" Type="http://schemas.openxmlformats.org/officeDocument/2006/relationships/image" Target="../media/image5.png"/><Relationship Id="rId5" Type="http://schemas.openxmlformats.org/officeDocument/2006/relationships/image" Target="../media/image9.png"/><Relationship Id="rId4" Type="http://schemas.openxmlformats.org/officeDocument/2006/relationships/image" Target="../media/image11.emf"/></Relationships>
</file>

<file path=ppt/slideLayouts/_rels/slideLayout81.xml.rels><?xml version="1.0" encoding="UTF-8" standalone="yes"?>
<Relationships xmlns="http://schemas.openxmlformats.org/package/2006/relationships"><Relationship Id="rId3" Type="http://schemas.openxmlformats.org/officeDocument/2006/relationships/oleObject" Target="../embeddings/oleObject71.bin"/><Relationship Id="rId7" Type="http://schemas.openxmlformats.org/officeDocument/2006/relationships/image" Target="../media/image7.svg"/><Relationship Id="rId2" Type="http://schemas.openxmlformats.org/officeDocument/2006/relationships/slideMaster" Target="../slideMasters/slideMaster2.xml"/><Relationship Id="rId1" Type="http://schemas.openxmlformats.org/officeDocument/2006/relationships/tags" Target="../tags/tag73.xml"/><Relationship Id="rId6" Type="http://schemas.openxmlformats.org/officeDocument/2006/relationships/image" Target="../media/image5.png"/><Relationship Id="rId5" Type="http://schemas.openxmlformats.org/officeDocument/2006/relationships/image" Target="../media/image10.png"/><Relationship Id="rId4" Type="http://schemas.openxmlformats.org/officeDocument/2006/relationships/image" Target="../media/image4.emf"/></Relationships>
</file>

<file path=ppt/slideLayouts/_rels/slideLayout82.xml.rels><?xml version="1.0" encoding="UTF-8" standalone="yes"?>
<Relationships xmlns="http://schemas.openxmlformats.org/package/2006/relationships"><Relationship Id="rId3" Type="http://schemas.openxmlformats.org/officeDocument/2006/relationships/oleObject" Target="../embeddings/oleObject72.bin"/><Relationship Id="rId7" Type="http://schemas.openxmlformats.org/officeDocument/2006/relationships/image" Target="../media/image7.svg"/><Relationship Id="rId2" Type="http://schemas.openxmlformats.org/officeDocument/2006/relationships/slideMaster" Target="../slideMasters/slideMaster2.xml"/><Relationship Id="rId1" Type="http://schemas.openxmlformats.org/officeDocument/2006/relationships/tags" Target="../tags/tag74.xml"/><Relationship Id="rId6" Type="http://schemas.openxmlformats.org/officeDocument/2006/relationships/image" Target="../media/image5.png"/><Relationship Id="rId5" Type="http://schemas.openxmlformats.org/officeDocument/2006/relationships/image" Target="../media/image12.png"/><Relationship Id="rId4" Type="http://schemas.openxmlformats.org/officeDocument/2006/relationships/image" Target="../media/image4.emf"/></Relationships>
</file>

<file path=ppt/slideLayouts/_rels/slideLayout83.xml.rels><?xml version="1.0" encoding="UTF-8" standalone="yes"?>
<Relationships xmlns="http://schemas.openxmlformats.org/package/2006/relationships"><Relationship Id="rId3" Type="http://schemas.openxmlformats.org/officeDocument/2006/relationships/oleObject" Target="../embeddings/oleObject73.bin"/><Relationship Id="rId7" Type="http://schemas.openxmlformats.org/officeDocument/2006/relationships/image" Target="../media/image7.svg"/><Relationship Id="rId2" Type="http://schemas.openxmlformats.org/officeDocument/2006/relationships/slideMaster" Target="../slideMasters/slideMaster2.xml"/><Relationship Id="rId1" Type="http://schemas.openxmlformats.org/officeDocument/2006/relationships/tags" Target="../tags/tag75.xml"/><Relationship Id="rId6" Type="http://schemas.openxmlformats.org/officeDocument/2006/relationships/image" Target="../media/image5.png"/><Relationship Id="rId5" Type="http://schemas.openxmlformats.org/officeDocument/2006/relationships/image" Target="../media/image10.png"/><Relationship Id="rId4" Type="http://schemas.openxmlformats.org/officeDocument/2006/relationships/image" Target="../media/image4.emf"/></Relationships>
</file>

<file path=ppt/slideLayouts/_rels/slideLayout84.xml.rels><?xml version="1.0" encoding="UTF-8" standalone="yes"?>
<Relationships xmlns="http://schemas.openxmlformats.org/package/2006/relationships"><Relationship Id="rId3" Type="http://schemas.openxmlformats.org/officeDocument/2006/relationships/oleObject" Target="../embeddings/oleObject74.bin"/><Relationship Id="rId7" Type="http://schemas.openxmlformats.org/officeDocument/2006/relationships/image" Target="../media/image7.svg"/><Relationship Id="rId2" Type="http://schemas.openxmlformats.org/officeDocument/2006/relationships/slideMaster" Target="../slideMasters/slideMaster2.xml"/><Relationship Id="rId1" Type="http://schemas.openxmlformats.org/officeDocument/2006/relationships/tags" Target="../tags/tag76.xml"/><Relationship Id="rId6" Type="http://schemas.openxmlformats.org/officeDocument/2006/relationships/image" Target="../media/image5.png"/><Relationship Id="rId5" Type="http://schemas.openxmlformats.org/officeDocument/2006/relationships/image" Target="../media/image9.png"/><Relationship Id="rId4" Type="http://schemas.openxmlformats.org/officeDocument/2006/relationships/image" Target="../media/image4.emf"/></Relationships>
</file>

<file path=ppt/slideLayouts/_rels/slideLayout85.xml.rels><?xml version="1.0" encoding="UTF-8" standalone="yes"?>
<Relationships xmlns="http://schemas.openxmlformats.org/package/2006/relationships"><Relationship Id="rId3" Type="http://schemas.openxmlformats.org/officeDocument/2006/relationships/oleObject" Target="../embeddings/oleObject75.bin"/><Relationship Id="rId7" Type="http://schemas.openxmlformats.org/officeDocument/2006/relationships/image" Target="../media/image7.svg"/><Relationship Id="rId2" Type="http://schemas.openxmlformats.org/officeDocument/2006/relationships/slideMaster" Target="../slideMasters/slideMaster2.xml"/><Relationship Id="rId1" Type="http://schemas.openxmlformats.org/officeDocument/2006/relationships/tags" Target="../tags/tag77.xml"/><Relationship Id="rId6" Type="http://schemas.openxmlformats.org/officeDocument/2006/relationships/image" Target="../media/image5.png"/><Relationship Id="rId5" Type="http://schemas.openxmlformats.org/officeDocument/2006/relationships/image" Target="../media/image10.png"/><Relationship Id="rId4" Type="http://schemas.openxmlformats.org/officeDocument/2006/relationships/image" Target="../media/image4.emf"/></Relationships>
</file>

<file path=ppt/slideLayouts/_rels/slideLayout86.xml.rels><?xml version="1.0" encoding="UTF-8" standalone="yes"?>
<Relationships xmlns="http://schemas.openxmlformats.org/package/2006/relationships"><Relationship Id="rId3" Type="http://schemas.openxmlformats.org/officeDocument/2006/relationships/oleObject" Target="../embeddings/oleObject76.bin"/><Relationship Id="rId7" Type="http://schemas.openxmlformats.org/officeDocument/2006/relationships/image" Target="../media/image7.svg"/><Relationship Id="rId2" Type="http://schemas.openxmlformats.org/officeDocument/2006/relationships/slideMaster" Target="../slideMasters/slideMaster2.xml"/><Relationship Id="rId1" Type="http://schemas.openxmlformats.org/officeDocument/2006/relationships/tags" Target="../tags/tag78.xml"/><Relationship Id="rId6" Type="http://schemas.openxmlformats.org/officeDocument/2006/relationships/image" Target="../media/image5.png"/><Relationship Id="rId5" Type="http://schemas.openxmlformats.org/officeDocument/2006/relationships/image" Target="../media/image9.png"/><Relationship Id="rId4" Type="http://schemas.openxmlformats.org/officeDocument/2006/relationships/image" Target="../media/image4.emf"/></Relationships>
</file>

<file path=ppt/slideLayouts/_rels/slideLayout87.xml.rels><?xml version="1.0" encoding="UTF-8" standalone="yes"?>
<Relationships xmlns="http://schemas.openxmlformats.org/package/2006/relationships"><Relationship Id="rId3" Type="http://schemas.openxmlformats.org/officeDocument/2006/relationships/oleObject" Target="../embeddings/oleObject77.bin"/><Relationship Id="rId7" Type="http://schemas.openxmlformats.org/officeDocument/2006/relationships/image" Target="../media/image7.svg"/><Relationship Id="rId2" Type="http://schemas.openxmlformats.org/officeDocument/2006/relationships/slideMaster" Target="../slideMasters/slideMaster2.xml"/><Relationship Id="rId1" Type="http://schemas.openxmlformats.org/officeDocument/2006/relationships/tags" Target="../tags/tag79.xml"/><Relationship Id="rId6" Type="http://schemas.openxmlformats.org/officeDocument/2006/relationships/image" Target="../media/image5.png"/><Relationship Id="rId5" Type="http://schemas.openxmlformats.org/officeDocument/2006/relationships/image" Target="../media/image10.png"/><Relationship Id="rId4" Type="http://schemas.openxmlformats.org/officeDocument/2006/relationships/image" Target="../media/image4.emf"/></Relationships>
</file>

<file path=ppt/slideLayouts/_rels/slideLayout88.xml.rels><?xml version="1.0" encoding="UTF-8" standalone="yes"?>
<Relationships xmlns="http://schemas.openxmlformats.org/package/2006/relationships"><Relationship Id="rId3" Type="http://schemas.openxmlformats.org/officeDocument/2006/relationships/oleObject" Target="../embeddings/oleObject78.bin"/><Relationship Id="rId2" Type="http://schemas.openxmlformats.org/officeDocument/2006/relationships/slideMaster" Target="../slideMasters/slideMaster2.xml"/><Relationship Id="rId1" Type="http://schemas.openxmlformats.org/officeDocument/2006/relationships/tags" Target="../tags/tag80.xml"/><Relationship Id="rId6" Type="http://schemas.openxmlformats.org/officeDocument/2006/relationships/image" Target="../media/image7.svg"/><Relationship Id="rId5" Type="http://schemas.openxmlformats.org/officeDocument/2006/relationships/image" Target="../media/image5.png"/><Relationship Id="rId4" Type="http://schemas.openxmlformats.org/officeDocument/2006/relationships/image" Target="../media/image4.emf"/></Relationships>
</file>

<file path=ppt/slideLayouts/_rels/slideLayout89.xml.rels><?xml version="1.0" encoding="UTF-8" standalone="yes"?>
<Relationships xmlns="http://schemas.openxmlformats.org/package/2006/relationships"><Relationship Id="rId3" Type="http://schemas.openxmlformats.org/officeDocument/2006/relationships/oleObject" Target="../embeddings/oleObject79.bin"/><Relationship Id="rId2" Type="http://schemas.openxmlformats.org/officeDocument/2006/relationships/slideMaster" Target="../slideMasters/slideMaster2.xml"/><Relationship Id="rId1" Type="http://schemas.openxmlformats.org/officeDocument/2006/relationships/tags" Target="../tags/tag81.xml"/><Relationship Id="rId6" Type="http://schemas.openxmlformats.org/officeDocument/2006/relationships/image" Target="../media/image7.svg"/><Relationship Id="rId5" Type="http://schemas.openxmlformats.org/officeDocument/2006/relationships/image" Target="../media/image5.png"/><Relationship Id="rId4" Type="http://schemas.openxmlformats.org/officeDocument/2006/relationships/image" Target="../media/image4.emf"/></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oleObject" Target="../embeddings/oleObject80.bin"/><Relationship Id="rId7" Type="http://schemas.openxmlformats.org/officeDocument/2006/relationships/image" Target="../media/image7.svg"/><Relationship Id="rId2" Type="http://schemas.openxmlformats.org/officeDocument/2006/relationships/slideMaster" Target="../slideMasters/slideMaster2.xml"/><Relationship Id="rId1" Type="http://schemas.openxmlformats.org/officeDocument/2006/relationships/tags" Target="../tags/tag82.xml"/><Relationship Id="rId6" Type="http://schemas.openxmlformats.org/officeDocument/2006/relationships/image" Target="../media/image5.png"/><Relationship Id="rId5" Type="http://schemas.openxmlformats.org/officeDocument/2006/relationships/image" Target="../media/image8.png"/><Relationship Id="rId4" Type="http://schemas.openxmlformats.org/officeDocument/2006/relationships/image" Target="../media/image4.emf"/></Relationships>
</file>

<file path=ppt/slideLayouts/_rels/slideLayout91.xml.rels><?xml version="1.0" encoding="UTF-8" standalone="yes"?>
<Relationships xmlns="http://schemas.openxmlformats.org/package/2006/relationships"><Relationship Id="rId3" Type="http://schemas.openxmlformats.org/officeDocument/2006/relationships/oleObject" Target="../embeddings/oleObject81.bin"/><Relationship Id="rId7" Type="http://schemas.openxmlformats.org/officeDocument/2006/relationships/image" Target="../media/image7.svg"/><Relationship Id="rId2" Type="http://schemas.openxmlformats.org/officeDocument/2006/relationships/slideMaster" Target="../slideMasters/slideMaster2.xml"/><Relationship Id="rId1" Type="http://schemas.openxmlformats.org/officeDocument/2006/relationships/tags" Target="../tags/tag83.xml"/><Relationship Id="rId6" Type="http://schemas.openxmlformats.org/officeDocument/2006/relationships/image" Target="../media/image5.png"/><Relationship Id="rId5" Type="http://schemas.openxmlformats.org/officeDocument/2006/relationships/image" Target="../media/image8.png"/><Relationship Id="rId4" Type="http://schemas.openxmlformats.org/officeDocument/2006/relationships/image" Target="../media/image4.emf"/></Relationships>
</file>

<file path=ppt/slideLayouts/_rels/slideLayout92.xml.rels><?xml version="1.0" encoding="UTF-8" standalone="yes"?>
<Relationships xmlns="http://schemas.openxmlformats.org/package/2006/relationships"><Relationship Id="rId3" Type="http://schemas.openxmlformats.org/officeDocument/2006/relationships/oleObject" Target="../embeddings/oleObject82.bin"/><Relationship Id="rId7" Type="http://schemas.openxmlformats.org/officeDocument/2006/relationships/image" Target="../media/image7.svg"/><Relationship Id="rId2" Type="http://schemas.openxmlformats.org/officeDocument/2006/relationships/slideMaster" Target="../slideMasters/slideMaster2.xml"/><Relationship Id="rId1" Type="http://schemas.openxmlformats.org/officeDocument/2006/relationships/tags" Target="../tags/tag84.xml"/><Relationship Id="rId6" Type="http://schemas.openxmlformats.org/officeDocument/2006/relationships/image" Target="../media/image5.png"/><Relationship Id="rId5" Type="http://schemas.openxmlformats.org/officeDocument/2006/relationships/image" Target="../media/image8.png"/><Relationship Id="rId4" Type="http://schemas.openxmlformats.org/officeDocument/2006/relationships/image" Target="../media/image4.emf"/></Relationships>
</file>

<file path=ppt/slideLayouts/_rels/slideLayout93.xml.rels><?xml version="1.0" encoding="UTF-8" standalone="yes"?>
<Relationships xmlns="http://schemas.openxmlformats.org/package/2006/relationships"><Relationship Id="rId3" Type="http://schemas.openxmlformats.org/officeDocument/2006/relationships/oleObject" Target="../embeddings/oleObject83.bin"/><Relationship Id="rId7" Type="http://schemas.openxmlformats.org/officeDocument/2006/relationships/image" Target="../media/image7.svg"/><Relationship Id="rId2" Type="http://schemas.openxmlformats.org/officeDocument/2006/relationships/slideMaster" Target="../slideMasters/slideMaster2.xml"/><Relationship Id="rId1" Type="http://schemas.openxmlformats.org/officeDocument/2006/relationships/tags" Target="../tags/tag85.xml"/><Relationship Id="rId6" Type="http://schemas.openxmlformats.org/officeDocument/2006/relationships/image" Target="../media/image5.png"/><Relationship Id="rId5" Type="http://schemas.openxmlformats.org/officeDocument/2006/relationships/image" Target="../media/image8.png"/><Relationship Id="rId4" Type="http://schemas.openxmlformats.org/officeDocument/2006/relationships/image" Target="../media/image4.emf"/></Relationships>
</file>

<file path=ppt/slideLayouts/_rels/slideLayout94.xml.rels><?xml version="1.0" encoding="UTF-8" standalone="yes"?>
<Relationships xmlns="http://schemas.openxmlformats.org/package/2006/relationships"><Relationship Id="rId3" Type="http://schemas.openxmlformats.org/officeDocument/2006/relationships/oleObject" Target="../embeddings/oleObject84.bin"/><Relationship Id="rId7" Type="http://schemas.openxmlformats.org/officeDocument/2006/relationships/image" Target="../media/image7.svg"/><Relationship Id="rId2" Type="http://schemas.openxmlformats.org/officeDocument/2006/relationships/slideMaster" Target="../slideMasters/slideMaster2.xml"/><Relationship Id="rId1" Type="http://schemas.openxmlformats.org/officeDocument/2006/relationships/tags" Target="../tags/tag86.xml"/><Relationship Id="rId6" Type="http://schemas.openxmlformats.org/officeDocument/2006/relationships/image" Target="../media/image5.png"/><Relationship Id="rId5" Type="http://schemas.openxmlformats.org/officeDocument/2006/relationships/image" Target="../media/image8.png"/><Relationship Id="rId4" Type="http://schemas.openxmlformats.org/officeDocument/2006/relationships/image" Target="../media/image4.emf"/></Relationships>
</file>

<file path=ppt/slideLayouts/_rels/slideLayout95.xml.rels><?xml version="1.0" encoding="UTF-8" standalone="yes"?>
<Relationships xmlns="http://schemas.openxmlformats.org/package/2006/relationships"><Relationship Id="rId3" Type="http://schemas.openxmlformats.org/officeDocument/2006/relationships/oleObject" Target="../embeddings/oleObject85.bin"/><Relationship Id="rId7" Type="http://schemas.openxmlformats.org/officeDocument/2006/relationships/image" Target="../media/image7.svg"/><Relationship Id="rId2" Type="http://schemas.openxmlformats.org/officeDocument/2006/relationships/slideMaster" Target="../slideMasters/slideMaster2.xml"/><Relationship Id="rId1" Type="http://schemas.openxmlformats.org/officeDocument/2006/relationships/tags" Target="../tags/tag87.xml"/><Relationship Id="rId6" Type="http://schemas.openxmlformats.org/officeDocument/2006/relationships/image" Target="../media/image5.png"/><Relationship Id="rId5" Type="http://schemas.openxmlformats.org/officeDocument/2006/relationships/image" Target="../media/image8.png"/><Relationship Id="rId4" Type="http://schemas.openxmlformats.org/officeDocument/2006/relationships/image" Target="../media/image4.emf"/></Relationships>
</file>

<file path=ppt/slideLayouts/_rels/slideLayout96.xml.rels><?xml version="1.0" encoding="UTF-8" standalone="yes"?>
<Relationships xmlns="http://schemas.openxmlformats.org/package/2006/relationships"><Relationship Id="rId3" Type="http://schemas.openxmlformats.org/officeDocument/2006/relationships/oleObject" Target="../embeddings/oleObject86.bin"/><Relationship Id="rId7" Type="http://schemas.openxmlformats.org/officeDocument/2006/relationships/image" Target="../media/image7.svg"/><Relationship Id="rId2" Type="http://schemas.openxmlformats.org/officeDocument/2006/relationships/slideMaster" Target="../slideMasters/slideMaster2.xml"/><Relationship Id="rId1" Type="http://schemas.openxmlformats.org/officeDocument/2006/relationships/tags" Target="../tags/tag88.xml"/><Relationship Id="rId6" Type="http://schemas.openxmlformats.org/officeDocument/2006/relationships/image" Target="../media/image5.png"/><Relationship Id="rId5" Type="http://schemas.openxmlformats.org/officeDocument/2006/relationships/image" Target="../media/image9.png"/><Relationship Id="rId4" Type="http://schemas.openxmlformats.org/officeDocument/2006/relationships/image" Target="../media/image11.emf"/></Relationships>
</file>

<file path=ppt/slideLayouts/_rels/slideLayout97.xml.rels><?xml version="1.0" encoding="UTF-8" standalone="yes"?>
<Relationships xmlns="http://schemas.openxmlformats.org/package/2006/relationships"><Relationship Id="rId3" Type="http://schemas.openxmlformats.org/officeDocument/2006/relationships/oleObject" Target="../embeddings/oleObject87.bin"/><Relationship Id="rId7" Type="http://schemas.openxmlformats.org/officeDocument/2006/relationships/image" Target="../media/image7.svg"/><Relationship Id="rId2" Type="http://schemas.openxmlformats.org/officeDocument/2006/relationships/slideMaster" Target="../slideMasters/slideMaster2.xml"/><Relationship Id="rId1" Type="http://schemas.openxmlformats.org/officeDocument/2006/relationships/tags" Target="../tags/tag89.xml"/><Relationship Id="rId6" Type="http://schemas.openxmlformats.org/officeDocument/2006/relationships/image" Target="../media/image5.png"/><Relationship Id="rId5" Type="http://schemas.openxmlformats.org/officeDocument/2006/relationships/image" Target="../media/image10.png"/><Relationship Id="rId4" Type="http://schemas.openxmlformats.org/officeDocument/2006/relationships/image" Target="../media/image4.emf"/></Relationships>
</file>

<file path=ppt/slideLayouts/_rels/slideLayout98.xml.rels><?xml version="1.0" encoding="UTF-8" standalone="yes"?>
<Relationships xmlns="http://schemas.openxmlformats.org/package/2006/relationships"><Relationship Id="rId3" Type="http://schemas.openxmlformats.org/officeDocument/2006/relationships/oleObject" Target="../embeddings/oleObject88.bin"/><Relationship Id="rId7" Type="http://schemas.openxmlformats.org/officeDocument/2006/relationships/image" Target="../media/image7.svg"/><Relationship Id="rId2" Type="http://schemas.openxmlformats.org/officeDocument/2006/relationships/slideMaster" Target="../slideMasters/slideMaster2.xml"/><Relationship Id="rId1" Type="http://schemas.openxmlformats.org/officeDocument/2006/relationships/tags" Target="../tags/tag90.xml"/><Relationship Id="rId6" Type="http://schemas.openxmlformats.org/officeDocument/2006/relationships/image" Target="../media/image5.png"/><Relationship Id="rId5" Type="http://schemas.openxmlformats.org/officeDocument/2006/relationships/image" Target="../media/image12.png"/><Relationship Id="rId4" Type="http://schemas.openxmlformats.org/officeDocument/2006/relationships/image" Target="../media/image4.emf"/></Relationships>
</file>

<file path=ppt/slideLayouts/_rels/slideLayout99.xml.rels><?xml version="1.0" encoding="UTF-8" standalone="yes"?>
<Relationships xmlns="http://schemas.openxmlformats.org/package/2006/relationships"><Relationship Id="rId3" Type="http://schemas.openxmlformats.org/officeDocument/2006/relationships/oleObject" Target="../embeddings/oleObject89.bin"/><Relationship Id="rId7" Type="http://schemas.openxmlformats.org/officeDocument/2006/relationships/image" Target="../media/image7.svg"/><Relationship Id="rId2" Type="http://schemas.openxmlformats.org/officeDocument/2006/relationships/slideMaster" Target="../slideMasters/slideMaster2.xml"/><Relationship Id="rId1" Type="http://schemas.openxmlformats.org/officeDocument/2006/relationships/tags" Target="../tags/tag91.xml"/><Relationship Id="rId6" Type="http://schemas.openxmlformats.org/officeDocument/2006/relationships/image" Target="../media/image5.png"/><Relationship Id="rId5" Type="http://schemas.openxmlformats.org/officeDocument/2006/relationships/image" Target="../media/image10.png"/><Relationship Id="rId4" Type="http://schemas.openxmlformats.org/officeDocument/2006/relationships/image" Target="../media/image4.emf"/></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Title Slide" type="title">
  <p:cSld name="TITLE">
    <p:spTree>
      <p:nvGrpSpPr>
        <p:cNvPr id="1" name="Shape 11"/>
        <p:cNvGrpSpPr/>
        <p:nvPr/>
      </p:nvGrpSpPr>
      <p:grpSpPr>
        <a:xfrm>
          <a:off x="0" y="0"/>
          <a:ext cx="0" cy="0"/>
          <a:chOff x="0" y="0"/>
          <a:chExt cx="0" cy="0"/>
        </a:xfrm>
      </p:grpSpPr>
      <p:sp>
        <p:nvSpPr>
          <p:cNvPr id="12" name="Google Shape;12;p12"/>
          <p:cNvSpPr txBox="1">
            <a:spLocks noGrp="1"/>
          </p:cNvSpPr>
          <p:nvPr>
            <p:ph type="ctrTitle"/>
          </p:nvPr>
        </p:nvSpPr>
        <p:spPr>
          <a:xfrm>
            <a:off x="1524000" y="1122363"/>
            <a:ext cx="9144000" cy="2387600"/>
          </a:xfrm>
          <a:prstGeom prst="rect">
            <a:avLst/>
          </a:prstGeom>
          <a:noFill/>
          <a:ln>
            <a:noFill/>
          </a:ln>
        </p:spPr>
        <p:txBody>
          <a:bodyPr spcFirstLastPara="1" wrap="square" lIns="91425" tIns="45700" rIns="91425" bIns="45700" anchor="b" anchorCtr="0">
            <a:normAutofit/>
          </a:bodyPr>
          <a:lstStyle>
            <a:lvl1pPr lvl="0" algn="ctr">
              <a:lnSpc>
                <a:spcPct val="90000"/>
              </a:lnSpc>
              <a:spcBef>
                <a:spcPts val="0"/>
              </a:spcBef>
              <a:spcAft>
                <a:spcPts val="0"/>
              </a:spcAft>
              <a:buClr>
                <a:schemeClr val="dk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 name="Google Shape;13;p12"/>
          <p:cNvSpPr txBox="1">
            <a:spLocks noGrp="1"/>
          </p:cNvSpPr>
          <p:nvPr>
            <p:ph type="subTitle" idx="1"/>
          </p:nvPr>
        </p:nvSpPr>
        <p:spPr>
          <a:xfrm>
            <a:off x="1524000" y="3602038"/>
            <a:ext cx="9144000" cy="1655762"/>
          </a:xfrm>
          <a:prstGeom prst="rect">
            <a:avLst/>
          </a:prstGeom>
          <a:noFill/>
          <a:ln>
            <a:noFill/>
          </a:ln>
        </p:spPr>
        <p:txBody>
          <a:bodyPr spcFirstLastPara="1" wrap="square" lIns="91425" tIns="45700" rIns="91425" bIns="45700" anchor="t" anchorCtr="0">
            <a:normAutofit/>
          </a:bodyPr>
          <a:lstStyle>
            <a:lvl1pPr lvl="0" algn="ctr">
              <a:lnSpc>
                <a:spcPct val="90000"/>
              </a:lnSpc>
              <a:spcBef>
                <a:spcPts val="1000"/>
              </a:spcBef>
              <a:spcAft>
                <a:spcPts val="0"/>
              </a:spcAft>
              <a:buClr>
                <a:schemeClr val="dk1"/>
              </a:buClr>
              <a:buSzPts val="2400"/>
              <a:buNone/>
              <a:defRPr sz="2400"/>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4" name="Google Shape;14;p12"/>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5" name="Google Shape;15;p12"/>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6" name="Google Shape;16;p12"/>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GB"/>
              <a:t>‹#›</a:t>
            </a:fld>
            <a:endParaRP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Title and Vertical Text" type="vertTx">
  <p:cSld name="VERTICAL_TEXT">
    <p:spTree>
      <p:nvGrpSpPr>
        <p:cNvPr id="1" name="Shape 68"/>
        <p:cNvGrpSpPr/>
        <p:nvPr/>
      </p:nvGrpSpPr>
      <p:grpSpPr>
        <a:xfrm>
          <a:off x="0" y="0"/>
          <a:ext cx="0" cy="0"/>
          <a:chOff x="0" y="0"/>
          <a:chExt cx="0" cy="0"/>
        </a:xfrm>
      </p:grpSpPr>
      <p:sp>
        <p:nvSpPr>
          <p:cNvPr id="69" name="Google Shape;69;p21"/>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0" name="Google Shape;70;p21"/>
          <p:cNvSpPr txBox="1">
            <a:spLocks noGrp="1"/>
          </p:cNvSpPr>
          <p:nvPr>
            <p:ph type="body" idx="1"/>
          </p:nvPr>
        </p:nvSpPr>
        <p:spPr>
          <a:xfrm rot="5400000">
            <a:off x="3920331" y="-1256506"/>
            <a:ext cx="4351338" cy="10515600"/>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1" name="Google Shape;71;p21"/>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72" name="Google Shape;72;p21"/>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73" name="Google Shape;73;p21"/>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GB"/>
              <a:t>‹#›</a:t>
            </a:fld>
            <a:endParaRPr/>
          </a:p>
        </p:txBody>
      </p:sp>
    </p:spTree>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1_D. Arrow half">
    <p:bg>
      <p:bgPr>
        <a:gradFill>
          <a:gsLst>
            <a:gs pos="0">
              <a:srgbClr val="004E2A"/>
            </a:gs>
            <a:gs pos="100000">
              <a:srgbClr val="78B944"/>
            </a:gs>
          </a:gsLst>
          <a:lin ang="8100000" scaled="1"/>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FA2F0E7-284C-48A2-AEC6-CE6B7E8633B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a:extLst>
                          <a:ext uri="{FF2B5EF4-FFF2-40B4-BE49-F238E27FC236}">
                            <a16:creationId xmlns:a16="http://schemas.microsoft.com/office/drawing/2014/main" id="{AFA2F0E7-284C-48A2-AEC6-CE6B7E8633B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vert="horz"/>
          <a:lstStyle>
            <a:lvl1pPr>
              <a:defRPr>
                <a:latin typeface="+mj-lt"/>
                <a:ea typeface="+mj-ea"/>
                <a:cs typeface="+mj-cs"/>
                <a:sym typeface="Trebuchet MS" panose="020B0603020202020204" pitchFamily="34" charset="0"/>
              </a:defRPr>
            </a:lvl1pPr>
          </a:lstStyle>
          <a:p>
            <a:r>
              <a:rPr lang="en-US"/>
              <a:t>Click to add title</a:t>
            </a:r>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3 by Boston Consulting Group. All rights reserved.</a:t>
            </a: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pic>
        <p:nvPicPr>
          <p:cNvPr id="11" name="Graphic 10">
            <a:extLst>
              <a:ext uri="{FF2B5EF4-FFF2-40B4-BE49-F238E27FC236}">
                <a16:creationId xmlns:a16="http://schemas.microsoft.com/office/drawing/2014/main" id="{E12DB6E8-C171-4D9E-AF69-8FE169E161D0}"/>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428018" y="6271005"/>
            <a:ext cx="498632" cy="517662"/>
          </a:xfrm>
          <a:prstGeom prst="rect">
            <a:avLst/>
          </a:prstGeom>
        </p:spPr>
      </p:pic>
    </p:spTree>
    <p:extLst>
      <p:ext uri="{BB962C8B-B14F-4D97-AF65-F5344CB8AC3E}">
        <p14:creationId xmlns:p14="http://schemas.microsoft.com/office/powerpoint/2010/main" val="42073043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1_D. Green arrow half">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CEBDADB-CDD1-4644-B05C-BADB21575A56}"/>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a:extLst>
                          <a:ext uri="{FF2B5EF4-FFF2-40B4-BE49-F238E27FC236}">
                            <a16:creationId xmlns:a16="http://schemas.microsoft.com/office/drawing/2014/main" id="{5CEBDADB-CDD1-4644-B05C-BADB21575A5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entagon 8"/>
          <p:cNvSpPr/>
          <p:nvPr/>
        </p:nvSpPr>
        <p:spPr bwMode="white">
          <a:xfrm>
            <a:off x="0" y="0"/>
            <a:ext cx="6363546" cy="6858000"/>
          </a:xfrm>
          <a:prstGeom prst="homePlate">
            <a:avLst>
              <a:gd name="adj" fmla="val 12939"/>
            </a:avLst>
          </a:prstGeom>
          <a:gradFill>
            <a:gsLst>
              <a:gs pos="0">
                <a:srgbClr val="004E2A"/>
              </a:gs>
              <a:gs pos="100000">
                <a:srgbClr val="78B944"/>
              </a:gs>
            </a:gsLst>
            <a:lin ang="8100000" scaled="1"/>
          </a:gra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008C4F"/>
                </a:solidFill>
                <a:prstDash val="solid"/>
                <a:round/>
                <a:headEnd type="none" w="med" len="med"/>
                <a:tailEnd type="none" w="med" len="med"/>
              </a14:hiddenLine>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fontAlgn="base">
              <a:spcBef>
                <a:spcPct val="0"/>
              </a:spcBef>
              <a:spcAft>
                <a:spcPct val="0"/>
              </a:spcAft>
            </a:pPr>
            <a:endParaRPr lang="en-US" sz="1200" kern="0">
              <a:solidFill>
                <a:srgbClr val="FFFFFF"/>
              </a:solidFill>
              <a:latin typeface="+mn-lt"/>
              <a:ea typeface="+mn-ea"/>
              <a:cs typeface="+mn-cs"/>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vert="horz"/>
          <a:lstStyle>
            <a:lvl1pPr>
              <a:defRPr>
                <a:solidFill>
                  <a:srgbClr val="FFFFFF"/>
                </a:solidFill>
                <a:latin typeface="+mj-lt"/>
                <a:ea typeface="+mj-ea"/>
                <a:cs typeface="+mj-cs"/>
                <a:sym typeface="Trebuchet MS" panose="020B0603020202020204" pitchFamily="34" charset="0"/>
              </a:defRPr>
            </a:lvl1pPr>
          </a:lstStyle>
          <a:p>
            <a:r>
              <a:rPr lang="en-US"/>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3 by Boston Consulting Group. All rights reserved.</a:t>
            </a:r>
          </a:p>
        </p:txBody>
      </p:sp>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pic>
        <p:nvPicPr>
          <p:cNvPr id="12" name="Graphic 11">
            <a:extLst>
              <a:ext uri="{FF2B5EF4-FFF2-40B4-BE49-F238E27FC236}">
                <a16:creationId xmlns:a16="http://schemas.microsoft.com/office/drawing/2014/main" id="{F888D64E-5E13-4456-90AA-FAC596F41CE2}"/>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428018" y="6271005"/>
            <a:ext cx="498632" cy="517662"/>
          </a:xfrm>
          <a:prstGeom prst="rect">
            <a:avLst/>
          </a:prstGeom>
        </p:spPr>
      </p:pic>
    </p:spTree>
    <p:extLst>
      <p:ext uri="{BB962C8B-B14F-4D97-AF65-F5344CB8AC3E}">
        <p14:creationId xmlns:p14="http://schemas.microsoft.com/office/powerpoint/2010/main" val="9233967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1_D. Arrow two third">
    <p:bg>
      <p:bgPr>
        <a:gradFill>
          <a:gsLst>
            <a:gs pos="0">
              <a:srgbClr val="004E2A"/>
            </a:gs>
            <a:gs pos="100000">
              <a:srgbClr val="78B944"/>
            </a:gs>
          </a:gsLst>
          <a:lin ang="8100000" scaled="1"/>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5A87B63-963D-404F-88CC-3AFBACEA9A8B}"/>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a:extLst>
                          <a:ext uri="{FF2B5EF4-FFF2-40B4-BE49-F238E27FC236}">
                            <a16:creationId xmlns:a16="http://schemas.microsoft.com/office/drawing/2014/main" id="{85A87B63-963D-404F-88CC-3AFBACEA9A8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3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vert="horz"/>
          <a:lstStyle>
            <a:lvl1pPr>
              <a:defRPr>
                <a:latin typeface="+mj-lt"/>
                <a:ea typeface="+mj-ea"/>
                <a:cs typeface="+mj-cs"/>
                <a:sym typeface="Trebuchet MS" panose="020B0603020202020204" pitchFamily="34" charset="0"/>
              </a:defRPr>
            </a:lvl1pPr>
          </a:lstStyle>
          <a:p>
            <a:r>
              <a:rPr lang="en-US"/>
              <a:t>Click to add title</a:t>
            </a:r>
          </a:p>
        </p:txBody>
      </p:sp>
      <p:pic>
        <p:nvPicPr>
          <p:cNvPr id="11" name="Picture 10"/>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pic>
        <p:nvPicPr>
          <p:cNvPr id="16" name="Graphic 15">
            <a:extLst>
              <a:ext uri="{FF2B5EF4-FFF2-40B4-BE49-F238E27FC236}">
                <a16:creationId xmlns:a16="http://schemas.microsoft.com/office/drawing/2014/main" id="{24D5C639-E8F6-4C58-B15B-637B1CC12DC6}"/>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428018" y="6271005"/>
            <a:ext cx="498632" cy="517662"/>
          </a:xfrm>
          <a:prstGeom prst="rect">
            <a:avLst/>
          </a:prstGeom>
        </p:spPr>
      </p:pic>
    </p:spTree>
    <p:extLst>
      <p:ext uri="{BB962C8B-B14F-4D97-AF65-F5344CB8AC3E}">
        <p14:creationId xmlns:p14="http://schemas.microsoft.com/office/powerpoint/2010/main" val="17404196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1_D. Green arrow two thir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AC31678-2AEA-49FE-889E-2C10C57607E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a:extLst>
                          <a:ext uri="{FF2B5EF4-FFF2-40B4-BE49-F238E27FC236}">
                            <a16:creationId xmlns:a16="http://schemas.microsoft.com/office/drawing/2014/main" id="{6AC31678-2AEA-49FE-889E-2C10C57607E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rgbClr val="004E2A"/>
              </a:gs>
              <a:gs pos="100000">
                <a:srgbClr val="78B944"/>
              </a:gs>
            </a:gsLst>
            <a:lin ang="8100000" scaled="1"/>
          </a:gra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008C4F"/>
                </a:solidFill>
                <a:prstDash val="solid"/>
                <a:round/>
                <a:headEnd type="none" w="med" len="med"/>
                <a:tailEnd type="none" w="med" len="med"/>
              </a14:hiddenLine>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fontAlgn="base">
              <a:spcBef>
                <a:spcPct val="0"/>
              </a:spcBef>
              <a:spcAft>
                <a:spcPct val="0"/>
              </a:spcAft>
            </a:pPr>
            <a:endParaRPr lang="en-US" sz="1200" kern="0">
              <a:solidFill>
                <a:srgbClr val="FFFFFF"/>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vert="horz"/>
          <a:lstStyle>
            <a:lvl1pPr>
              <a:defRPr>
                <a:solidFill>
                  <a:srgbClr val="FFFFFF"/>
                </a:solidFill>
                <a:latin typeface="+mj-lt"/>
                <a:ea typeface="+mj-ea"/>
                <a:cs typeface="+mj-cs"/>
                <a:sym typeface="Trebuchet MS" panose="020B0603020202020204" pitchFamily="34" charset="0"/>
              </a:defRPr>
            </a:lvl1pPr>
          </a:lstStyle>
          <a:p>
            <a:r>
              <a:rPr lang="en-US"/>
              <a:t>Click to add title</a:t>
            </a: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3 by Boston Consulting Group.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pic>
        <p:nvPicPr>
          <p:cNvPr id="11" name="Graphic 10">
            <a:extLst>
              <a:ext uri="{FF2B5EF4-FFF2-40B4-BE49-F238E27FC236}">
                <a16:creationId xmlns:a16="http://schemas.microsoft.com/office/drawing/2014/main" id="{3D99ACF5-E947-45F9-8831-DD9C380CE8C4}"/>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428018" y="6271005"/>
            <a:ext cx="498632" cy="517662"/>
          </a:xfrm>
          <a:prstGeom prst="rect">
            <a:avLst/>
          </a:prstGeom>
        </p:spPr>
      </p:pic>
    </p:spTree>
    <p:extLst>
      <p:ext uri="{BB962C8B-B14F-4D97-AF65-F5344CB8AC3E}">
        <p14:creationId xmlns:p14="http://schemas.microsoft.com/office/powerpoint/2010/main" val="16927870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1_D. Big statement green">
    <p:bg>
      <p:bgPr>
        <a:gradFill>
          <a:gsLst>
            <a:gs pos="0">
              <a:srgbClr val="004E2A"/>
            </a:gs>
            <a:gs pos="100000">
              <a:srgbClr val="78B944"/>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A0FB19A-8E19-4B74-BE40-E3409E984DB6}"/>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AA0FB19A-8E19-4B74-BE40-E3409E984DB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3 by Boston Consulting Group. All rights reserved.</a:t>
            </a: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Trebuchet MS" panose="020B0603020202020204" pitchFamily="34" charset="0"/>
              </a:defRPr>
            </a:lvl1pPr>
          </a:lstStyle>
          <a:p>
            <a:r>
              <a:rPr lang="en-US"/>
              <a:t>Click to add big statement text</a:t>
            </a:r>
          </a:p>
        </p:txBody>
      </p:sp>
      <p:pic>
        <p:nvPicPr>
          <p:cNvPr id="12" name="Graphic 11">
            <a:extLst>
              <a:ext uri="{FF2B5EF4-FFF2-40B4-BE49-F238E27FC236}">
                <a16:creationId xmlns:a16="http://schemas.microsoft.com/office/drawing/2014/main" id="{6007A86E-8369-4F6D-B0B4-24F97DE0EB0E}"/>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428018" y="6271005"/>
            <a:ext cx="498632" cy="517662"/>
          </a:xfrm>
          <a:prstGeom prst="rect">
            <a:avLst/>
          </a:prstGeom>
        </p:spPr>
      </p:pic>
    </p:spTree>
    <p:extLst>
      <p:ext uri="{BB962C8B-B14F-4D97-AF65-F5344CB8AC3E}">
        <p14:creationId xmlns:p14="http://schemas.microsoft.com/office/powerpoint/2010/main" val="205089921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1_D. Big statement icon">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756EEAC-BE11-43F8-A316-854F8163705B}"/>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F756EEAC-BE11-43F8-A316-854F8163705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3 by Boston Consulting Group. All rights reserved.</a:t>
            </a: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j-ea"/>
                <a:cs typeface="+mj-cs"/>
                <a:sym typeface="Trebuchet MS" panose="020B0603020202020204" pitchFamily="34" charset="0"/>
              </a:defRPr>
            </a:lvl1pPr>
          </a:lstStyle>
          <a:p>
            <a:r>
              <a:rPr lang="en-US"/>
              <a:t>Click to add big statement text</a:t>
            </a:r>
          </a:p>
        </p:txBody>
      </p:sp>
      <p:pic>
        <p:nvPicPr>
          <p:cNvPr id="10" name="Graphic 9">
            <a:extLst>
              <a:ext uri="{FF2B5EF4-FFF2-40B4-BE49-F238E27FC236}">
                <a16:creationId xmlns:a16="http://schemas.microsoft.com/office/drawing/2014/main" id="{4591402A-94BB-43B9-8514-A85D86EB4DB0}"/>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428018" y="6271005"/>
            <a:ext cx="498632" cy="517662"/>
          </a:xfrm>
          <a:prstGeom prst="rect">
            <a:avLst/>
          </a:prstGeom>
        </p:spPr>
      </p:pic>
    </p:spTree>
    <p:extLst>
      <p:ext uri="{BB962C8B-B14F-4D97-AF65-F5344CB8AC3E}">
        <p14:creationId xmlns:p14="http://schemas.microsoft.com/office/powerpoint/2010/main" val="22241725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78B944"/>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ea typeface="+mn-ea"/>
              <a:cs typeface="+mn-cs"/>
              <a:sym typeface="Trebuchet MS" panose="020B0603020202020204" pitchFamily="34" charset="0"/>
            </a:endParaRPr>
          </a:p>
        </p:txBody>
      </p:sp>
      <p:pic>
        <p:nvPicPr>
          <p:cNvPr id="8" name="Graphic 7">
            <a:extLst>
              <a:ext uri="{FF2B5EF4-FFF2-40B4-BE49-F238E27FC236}">
                <a16:creationId xmlns:a16="http://schemas.microsoft.com/office/drawing/2014/main" id="{23F0CE0F-3982-4650-8CE2-26018FA20232}"/>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428018" y="6271005"/>
            <a:ext cx="498632" cy="517662"/>
          </a:xfrm>
          <a:prstGeom prst="rect">
            <a:avLst/>
          </a:prstGeom>
        </p:spPr>
      </p:pic>
    </p:spTree>
    <p:extLst>
      <p:ext uri="{BB962C8B-B14F-4D97-AF65-F5344CB8AC3E}">
        <p14:creationId xmlns:p14="http://schemas.microsoft.com/office/powerpoint/2010/main" val="20149980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bg2">
            <a:lumMod val="10000"/>
          </a:schemeClr>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069D370-81BB-474D-A8B0-856D9278A043}"/>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6" name="Object 5" hidden="1">
                        <a:extLst>
                          <a:ext uri="{FF2B5EF4-FFF2-40B4-BE49-F238E27FC236}">
                            <a16:creationId xmlns:a16="http://schemas.microsoft.com/office/drawing/2014/main" id="{2069D370-81BB-474D-A8B0-856D9278A04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2" name="Title 1"/>
          <p:cNvSpPr>
            <a:spLocks noGrp="1"/>
          </p:cNvSpPr>
          <p:nvPr>
            <p:ph type="title" hasCustomPrompt="1"/>
          </p:nvPr>
        </p:nvSpPr>
        <p:spPr>
          <a:xfrm>
            <a:off x="630000" y="622800"/>
            <a:ext cx="10933200" cy="332399"/>
          </a:xfrm>
        </p:spPr>
        <p:txBody>
          <a:bodyPr vert="horz"/>
          <a:lstStyle>
            <a:lvl1pPr>
              <a:defRPr>
                <a:solidFill>
                  <a:schemeClr val="bg1"/>
                </a:solidFill>
                <a:latin typeface="+mj-lt"/>
                <a:ea typeface="+mj-ea"/>
                <a:cs typeface="+mj-cs"/>
                <a:sym typeface="Trebuchet MS" panose="020B0603020202020204" pitchFamily="34" charset="0"/>
              </a:defRPr>
            </a:lvl1pPr>
          </a:lstStyle>
          <a:p>
            <a:r>
              <a:rPr lang="en-US"/>
              <a:t>Click to add title</a:t>
            </a:r>
          </a:p>
        </p:txBody>
      </p:sp>
      <p:pic>
        <p:nvPicPr>
          <p:cNvPr id="9" name="Graphic 8">
            <a:extLst>
              <a:ext uri="{FF2B5EF4-FFF2-40B4-BE49-F238E27FC236}">
                <a16:creationId xmlns:a16="http://schemas.microsoft.com/office/drawing/2014/main" id="{E98B4D48-1671-43D0-ACE6-5968DF0765FD}"/>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428018" y="6271005"/>
            <a:ext cx="498632" cy="517662"/>
          </a:xfrm>
          <a:prstGeom prst="rect">
            <a:avLst/>
          </a:prstGeom>
        </p:spPr>
      </p:pic>
    </p:spTree>
    <p:extLst>
      <p:ext uri="{BB962C8B-B14F-4D97-AF65-F5344CB8AC3E}">
        <p14:creationId xmlns:p14="http://schemas.microsoft.com/office/powerpoint/2010/main" val="18946580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rgbClr val="004E2A"/>
            </a:gs>
            <a:gs pos="100000">
              <a:srgbClr val="78B944"/>
            </a:gs>
          </a:gsLst>
          <a:lin ang="8100000" scaled="1"/>
        </a:gra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BAE90CB-CD60-4ADB-82D0-E80AB3201D4E}"/>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Object 1" hidden="1">
                        <a:extLst>
                          <a:ext uri="{FF2B5EF4-FFF2-40B4-BE49-F238E27FC236}">
                            <a16:creationId xmlns:a16="http://schemas.microsoft.com/office/drawing/2014/main" id="{1BAE90CB-CD60-4ADB-82D0-E80AB3201D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a:solidFill>
                  <a:schemeClr val="tx2"/>
                </a:solidFill>
                <a:latin typeface="+mn-lt"/>
                <a:ea typeface="+mn-ea"/>
                <a:cs typeface="+mn-cs"/>
                <a:sym typeface="Trebuchet MS" panose="020B0603020202020204" pitchFamily="34" charset="0"/>
              </a:rPr>
              <a:t>Table of contents</a:t>
            </a:r>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pic>
        <p:nvPicPr>
          <p:cNvPr id="11" name="Graphic 10">
            <a:extLst>
              <a:ext uri="{FF2B5EF4-FFF2-40B4-BE49-F238E27FC236}">
                <a16:creationId xmlns:a16="http://schemas.microsoft.com/office/drawing/2014/main" id="{F2C66FE6-6B4E-4EA5-A926-325C443101DE}"/>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428018" y="6271005"/>
            <a:ext cx="498632" cy="517662"/>
          </a:xfrm>
          <a:prstGeom prst="rect">
            <a:avLst/>
          </a:prstGeom>
        </p:spPr>
      </p:pic>
    </p:spTree>
    <p:extLst>
      <p:ext uri="{BB962C8B-B14F-4D97-AF65-F5344CB8AC3E}">
        <p14:creationId xmlns:p14="http://schemas.microsoft.com/office/powerpoint/2010/main" val="11849243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rgbClr val="004E2A"/>
            </a:gs>
            <a:gs pos="100000">
              <a:srgbClr val="78B944"/>
            </a:gs>
          </a:gsLst>
          <a:lin ang="8100000" scaled="1"/>
        </a:gra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5CAB5D6-6D23-408D-ABE6-0AF30409A743}"/>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Object 1" hidden="1">
                        <a:extLst>
                          <a:ext uri="{FF2B5EF4-FFF2-40B4-BE49-F238E27FC236}">
                            <a16:creationId xmlns:a16="http://schemas.microsoft.com/office/drawing/2014/main" id="{55CAB5D6-6D23-408D-ABE6-0AF30409A74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pic>
        <p:nvPicPr>
          <p:cNvPr id="7" name="Graphic 6">
            <a:extLst>
              <a:ext uri="{FF2B5EF4-FFF2-40B4-BE49-F238E27FC236}">
                <a16:creationId xmlns:a16="http://schemas.microsoft.com/office/drawing/2014/main" id="{DCAF4EE7-D716-4231-97FF-42FB659B7261}"/>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428018" y="6271005"/>
            <a:ext cx="498632" cy="517662"/>
          </a:xfrm>
          <a:prstGeom prst="rect">
            <a:avLst/>
          </a:prstGeom>
        </p:spPr>
      </p:pic>
    </p:spTree>
    <p:extLst>
      <p:ext uri="{BB962C8B-B14F-4D97-AF65-F5344CB8AC3E}">
        <p14:creationId xmlns:p14="http://schemas.microsoft.com/office/powerpoint/2010/main" val="26934056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Vertical Title and Text" type="vertTitleAndTx">
  <p:cSld name="VERTICAL_TITLE_AND_VERTICAL_TEXT">
    <p:spTree>
      <p:nvGrpSpPr>
        <p:cNvPr id="1" name="Shape 74"/>
        <p:cNvGrpSpPr/>
        <p:nvPr/>
      </p:nvGrpSpPr>
      <p:grpSpPr>
        <a:xfrm>
          <a:off x="0" y="0"/>
          <a:ext cx="0" cy="0"/>
          <a:chOff x="0" y="0"/>
          <a:chExt cx="0" cy="0"/>
        </a:xfrm>
      </p:grpSpPr>
      <p:sp>
        <p:nvSpPr>
          <p:cNvPr id="75" name="Google Shape;75;p22"/>
          <p:cNvSpPr txBox="1">
            <a:spLocks noGrp="1"/>
          </p:cNvSpPr>
          <p:nvPr>
            <p:ph type="title"/>
          </p:nvPr>
        </p:nvSpPr>
        <p:spPr>
          <a:xfrm rot="5400000">
            <a:off x="7133431" y="1956594"/>
            <a:ext cx="5811838" cy="2628900"/>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6" name="Google Shape;76;p22"/>
          <p:cNvSpPr txBox="1">
            <a:spLocks noGrp="1"/>
          </p:cNvSpPr>
          <p:nvPr>
            <p:ph type="body" idx="1"/>
          </p:nvPr>
        </p:nvSpPr>
        <p:spPr>
          <a:xfrm rot="5400000">
            <a:off x="1799431" y="-596106"/>
            <a:ext cx="5811838" cy="7734300"/>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7" name="Google Shape;77;p22"/>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78" name="Google Shape;78;p22"/>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79" name="Google Shape;79;p22"/>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GB"/>
              <a:t>‹#›</a:t>
            </a:fld>
            <a:endParaRPr/>
          </a:p>
        </p:txBody>
      </p:sp>
    </p:spTree>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F44BD1D-1FEE-4E93-9EA7-638139DFDF1E}"/>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Object 1" hidden="1">
                        <a:extLst>
                          <a:ext uri="{FF2B5EF4-FFF2-40B4-BE49-F238E27FC236}">
                            <a16:creationId xmlns:a16="http://schemas.microsoft.com/office/drawing/2014/main" id="{8F44BD1D-1FEE-4E93-9EA7-638139DFDF1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pic>
        <p:nvPicPr>
          <p:cNvPr id="8" name="Graphic 7">
            <a:extLst>
              <a:ext uri="{FF2B5EF4-FFF2-40B4-BE49-F238E27FC236}">
                <a16:creationId xmlns:a16="http://schemas.microsoft.com/office/drawing/2014/main" id="{258034EB-B3F5-40AB-91D0-9CF6F81C57CA}"/>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428018" y="6271005"/>
            <a:ext cx="498632" cy="517662"/>
          </a:xfrm>
          <a:prstGeom prst="rect">
            <a:avLst/>
          </a:prstGeom>
        </p:spPr>
      </p:pic>
    </p:spTree>
    <p:extLst>
      <p:ext uri="{BB962C8B-B14F-4D97-AF65-F5344CB8AC3E}">
        <p14:creationId xmlns:p14="http://schemas.microsoft.com/office/powerpoint/2010/main" val="8453803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D. Disclaimer">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8DDCA4E-5D3C-4418-A892-FA287E88859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Object 1" hidden="1">
                        <a:extLst>
                          <a:ext uri="{FF2B5EF4-FFF2-40B4-BE49-F238E27FC236}">
                            <a16:creationId xmlns:a16="http://schemas.microsoft.com/office/drawing/2014/main" id="{B8DDCA4E-5D3C-4418-A892-FA287E88859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8" name="Text Placeholder 3">
            <a:extLst>
              <a:ext uri="{FF2B5EF4-FFF2-40B4-BE49-F238E27FC236}">
                <a16:creationId xmlns:a16="http://schemas.microsoft.com/office/drawing/2014/main" id="{3A5EF9C0-1874-4529-BBAE-3887067CAD92}"/>
              </a:ext>
            </a:extLst>
          </p:cNvPr>
          <p:cNvSpPr>
            <a:spLocks noGrp="1"/>
          </p:cNvSpPr>
          <p:nvPr>
            <p:ph type="body" sz="quarter" idx="10"/>
          </p:nvPr>
        </p:nvSpPr>
        <p:spPr>
          <a:xfrm>
            <a:off x="5354278" y="1664256"/>
            <a:ext cx="6209072" cy="3323987"/>
          </a:xfrm>
        </p:spPr>
        <p:txBody>
          <a:bodyPr/>
          <a:lstStyle>
            <a:lvl1pPr marL="0" indent="0" algn="l" defTabSz="914400" rtl="0" eaLnBrk="1" latinLnBrk="0" hangingPunct="1">
              <a:lnSpc>
                <a:spcPct val="100000"/>
              </a:lnSpc>
              <a:defRPr lang="en-US" sz="900" b="0" kern="1200" dirty="0" smtClean="0">
                <a:solidFill>
                  <a:schemeClr val="tx1"/>
                </a:solidFill>
                <a:latin typeface="+mn-lt"/>
                <a:ea typeface="+mn-ea"/>
                <a:cs typeface="+mn-cs"/>
              </a:defRPr>
            </a:lvl1pPr>
          </a:lstStyle>
          <a:p>
            <a:pPr lvl="0"/>
            <a:r>
              <a:rPr lang="en-US"/>
              <a:t>Edit Master text styles</a:t>
            </a:r>
          </a:p>
        </p:txBody>
      </p:sp>
      <p:sp>
        <p:nvSpPr>
          <p:cNvPr id="12" name="Title 6">
            <a:extLst>
              <a:ext uri="{FF2B5EF4-FFF2-40B4-BE49-F238E27FC236}">
                <a16:creationId xmlns:a16="http://schemas.microsoft.com/office/drawing/2014/main" id="{A09AAC55-5ED6-42FF-A3D6-437EE48AD662}"/>
              </a:ext>
            </a:extLst>
          </p:cNvPr>
          <p:cNvSpPr txBox="1">
            <a:spLocks/>
          </p:cNvSpPr>
          <p:nvPr userDrawn="1"/>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a:gradFill>
                  <a:gsLst>
                    <a:gs pos="100000">
                      <a:schemeClr val="tx2"/>
                    </a:gs>
                    <a:gs pos="2000">
                      <a:schemeClr val="accent2"/>
                    </a:gs>
                  </a:gsLst>
                  <a:lin ang="2700000" scaled="0"/>
                </a:gradFill>
                <a:latin typeface="+mn-lt"/>
                <a:ea typeface="+mn-ea"/>
                <a:cs typeface="+mn-cs"/>
                <a:sym typeface="Trebuchet MS" panose="020B0603020202020204" pitchFamily="34" charset="0"/>
              </a:rPr>
              <a:t>Disclaimer</a:t>
            </a:r>
          </a:p>
        </p:txBody>
      </p:sp>
      <p:cxnSp>
        <p:nvCxnSpPr>
          <p:cNvPr id="13" name="Straight Connector 12">
            <a:extLst>
              <a:ext uri="{FF2B5EF4-FFF2-40B4-BE49-F238E27FC236}">
                <a16:creationId xmlns:a16="http://schemas.microsoft.com/office/drawing/2014/main" id="{E92E4758-D959-4961-9A41-A19A310332D0}"/>
              </a:ext>
            </a:extLst>
          </p:cNvPr>
          <p:cNvCxnSpPr/>
          <p:nvPr userDrawn="1"/>
        </p:nvCxnSpPr>
        <p:spPr>
          <a:xfrm>
            <a:off x="4596426"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2B3B4289-DAB3-4F0E-BAA6-60E41240B54B}"/>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428018" y="6271005"/>
            <a:ext cx="498632" cy="517662"/>
          </a:xfrm>
          <a:prstGeom prst="rect">
            <a:avLst/>
          </a:prstGeom>
        </p:spPr>
      </p:pic>
    </p:spTree>
    <p:extLst>
      <p:ext uri="{BB962C8B-B14F-4D97-AF65-F5344CB8AC3E}">
        <p14:creationId xmlns:p14="http://schemas.microsoft.com/office/powerpoint/2010/main" val="241210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1_D. Special gray">
    <p:bg>
      <p:bgPr>
        <a:solidFill>
          <a:schemeClr val="bg2">
            <a:lumMod val="10000"/>
          </a:schemeClr>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069D370-81BB-474D-A8B0-856D9278A043}"/>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6" name="Object 5" hidden="1">
                        <a:extLst>
                          <a:ext uri="{FF2B5EF4-FFF2-40B4-BE49-F238E27FC236}">
                            <a16:creationId xmlns:a16="http://schemas.microsoft.com/office/drawing/2014/main" id="{2069D370-81BB-474D-A8B0-856D9278A04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3 by Boston Consulting Group. All rights reserved.</a:t>
            </a:r>
          </a:p>
        </p:txBody>
      </p:sp>
      <p:sp>
        <p:nvSpPr>
          <p:cNvPr id="2" name="Title 1"/>
          <p:cNvSpPr>
            <a:spLocks noGrp="1"/>
          </p:cNvSpPr>
          <p:nvPr>
            <p:ph type="title" hasCustomPrompt="1"/>
          </p:nvPr>
        </p:nvSpPr>
        <p:spPr>
          <a:xfrm>
            <a:off x="630000" y="622800"/>
            <a:ext cx="10933200" cy="332399"/>
          </a:xfrm>
        </p:spPr>
        <p:txBody>
          <a:bodyPr vert="horz"/>
          <a:lstStyle>
            <a:lvl1pPr>
              <a:defRPr>
                <a:solidFill>
                  <a:schemeClr val="bg1"/>
                </a:solidFill>
                <a:latin typeface="+mj-lt"/>
                <a:ea typeface="+mj-ea"/>
                <a:cs typeface="+mj-cs"/>
                <a:sym typeface="Trebuchet MS" panose="020B0603020202020204" pitchFamily="34" charset="0"/>
              </a:defRPr>
            </a:lvl1pPr>
          </a:lstStyle>
          <a:p>
            <a:r>
              <a:rPr lang="en-US"/>
              <a:t>Click to add title</a:t>
            </a:r>
          </a:p>
        </p:txBody>
      </p:sp>
      <p:pic>
        <p:nvPicPr>
          <p:cNvPr id="9" name="Graphic 8">
            <a:extLst>
              <a:ext uri="{FF2B5EF4-FFF2-40B4-BE49-F238E27FC236}">
                <a16:creationId xmlns:a16="http://schemas.microsoft.com/office/drawing/2014/main" id="{E98B4D48-1671-43D0-ACE6-5968DF0765FD}"/>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428018" y="6271005"/>
            <a:ext cx="498632" cy="517662"/>
          </a:xfrm>
          <a:prstGeom prst="rect">
            <a:avLst/>
          </a:prstGeom>
        </p:spPr>
      </p:pic>
    </p:spTree>
    <p:extLst>
      <p:ext uri="{BB962C8B-B14F-4D97-AF65-F5344CB8AC3E}">
        <p14:creationId xmlns:p14="http://schemas.microsoft.com/office/powerpoint/2010/main" val="42151635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1_D. Table of contents">
    <p:bg>
      <p:bgPr>
        <a:gradFill>
          <a:gsLst>
            <a:gs pos="0">
              <a:srgbClr val="004E2A"/>
            </a:gs>
            <a:gs pos="100000">
              <a:srgbClr val="78B944"/>
            </a:gs>
          </a:gsLst>
          <a:lin ang="8100000" scaled="1"/>
        </a:gra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BAE90CB-CD60-4ADB-82D0-E80AB3201D4E}"/>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Object 1" hidden="1">
                        <a:extLst>
                          <a:ext uri="{FF2B5EF4-FFF2-40B4-BE49-F238E27FC236}">
                            <a16:creationId xmlns:a16="http://schemas.microsoft.com/office/drawing/2014/main" id="{1BAE90CB-CD60-4ADB-82D0-E80AB3201D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a:solidFill>
                  <a:schemeClr val="tx2"/>
                </a:solidFill>
                <a:latin typeface="+mn-lt"/>
                <a:ea typeface="+mn-ea"/>
                <a:cs typeface="+mn-cs"/>
                <a:sym typeface="Trebuchet MS" panose="020B0603020202020204" pitchFamily="34" charset="0"/>
              </a:rPr>
              <a:t>Table of contents</a:t>
            </a:r>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3 by Boston Consulting Group. All rights reserved.</a:t>
            </a: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pic>
        <p:nvPicPr>
          <p:cNvPr id="11" name="Graphic 10">
            <a:extLst>
              <a:ext uri="{FF2B5EF4-FFF2-40B4-BE49-F238E27FC236}">
                <a16:creationId xmlns:a16="http://schemas.microsoft.com/office/drawing/2014/main" id="{F2C66FE6-6B4E-4EA5-A926-325C443101DE}"/>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428018" y="6271005"/>
            <a:ext cx="498632" cy="517662"/>
          </a:xfrm>
          <a:prstGeom prst="rect">
            <a:avLst/>
          </a:prstGeom>
        </p:spPr>
      </p:pic>
    </p:spTree>
    <p:extLst>
      <p:ext uri="{BB962C8B-B14F-4D97-AF65-F5344CB8AC3E}">
        <p14:creationId xmlns:p14="http://schemas.microsoft.com/office/powerpoint/2010/main" val="38161393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p:cSld name="1_D. Blank green">
    <p:bg>
      <p:bgPr>
        <a:gradFill>
          <a:gsLst>
            <a:gs pos="0">
              <a:srgbClr val="004E2A"/>
            </a:gs>
            <a:gs pos="100000">
              <a:srgbClr val="78B944"/>
            </a:gs>
          </a:gsLst>
          <a:lin ang="8100000" scaled="1"/>
        </a:gra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5CAB5D6-6D23-408D-ABE6-0AF30409A743}"/>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Object 1" hidden="1">
                        <a:extLst>
                          <a:ext uri="{FF2B5EF4-FFF2-40B4-BE49-F238E27FC236}">
                            <a16:creationId xmlns:a16="http://schemas.microsoft.com/office/drawing/2014/main" id="{55CAB5D6-6D23-408D-ABE6-0AF30409A74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3 by Boston Consulting Group. All rights reserved.</a:t>
            </a: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pic>
        <p:nvPicPr>
          <p:cNvPr id="7" name="Graphic 6">
            <a:extLst>
              <a:ext uri="{FF2B5EF4-FFF2-40B4-BE49-F238E27FC236}">
                <a16:creationId xmlns:a16="http://schemas.microsoft.com/office/drawing/2014/main" id="{DCAF4EE7-D716-4231-97FF-42FB659B7261}"/>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428018" y="6271005"/>
            <a:ext cx="498632" cy="517662"/>
          </a:xfrm>
          <a:prstGeom prst="rect">
            <a:avLst/>
          </a:prstGeom>
        </p:spPr>
      </p:pic>
    </p:spTree>
    <p:extLst>
      <p:ext uri="{BB962C8B-B14F-4D97-AF65-F5344CB8AC3E}">
        <p14:creationId xmlns:p14="http://schemas.microsoft.com/office/powerpoint/2010/main" val="376737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1_D. Blan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F44BD1D-1FEE-4E93-9EA7-638139DFDF1E}"/>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Object 1" hidden="1">
                        <a:extLst>
                          <a:ext uri="{FF2B5EF4-FFF2-40B4-BE49-F238E27FC236}">
                            <a16:creationId xmlns:a16="http://schemas.microsoft.com/office/drawing/2014/main" id="{8F44BD1D-1FEE-4E93-9EA7-638139DFDF1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3 by Boston Consulting Group. All rights reserved.</a:t>
            </a:r>
          </a:p>
        </p:txBody>
      </p:sp>
      <p:pic>
        <p:nvPicPr>
          <p:cNvPr id="8" name="Graphic 7">
            <a:extLst>
              <a:ext uri="{FF2B5EF4-FFF2-40B4-BE49-F238E27FC236}">
                <a16:creationId xmlns:a16="http://schemas.microsoft.com/office/drawing/2014/main" id="{258034EB-B3F5-40AB-91D0-9CF6F81C57CA}"/>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428018" y="6271005"/>
            <a:ext cx="498632" cy="517662"/>
          </a:xfrm>
          <a:prstGeom prst="rect">
            <a:avLst/>
          </a:prstGeom>
        </p:spPr>
      </p:pic>
    </p:spTree>
    <p:extLst>
      <p:ext uri="{BB962C8B-B14F-4D97-AF65-F5344CB8AC3E}">
        <p14:creationId xmlns:p14="http://schemas.microsoft.com/office/powerpoint/2010/main" val="37255083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1_D. Disclaimer">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8DDCA4E-5D3C-4418-A892-FA287E88859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Object 1" hidden="1">
                        <a:extLst>
                          <a:ext uri="{FF2B5EF4-FFF2-40B4-BE49-F238E27FC236}">
                            <a16:creationId xmlns:a16="http://schemas.microsoft.com/office/drawing/2014/main" id="{B8DDCA4E-5D3C-4418-A892-FA287E88859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3 by Boston Consulting Group. All rights reserved.</a:t>
            </a:r>
          </a:p>
        </p:txBody>
      </p:sp>
      <p:sp>
        <p:nvSpPr>
          <p:cNvPr id="8" name="Text Placeholder 3">
            <a:extLst>
              <a:ext uri="{FF2B5EF4-FFF2-40B4-BE49-F238E27FC236}">
                <a16:creationId xmlns:a16="http://schemas.microsoft.com/office/drawing/2014/main" id="{3A5EF9C0-1874-4529-BBAE-3887067CAD92}"/>
              </a:ext>
            </a:extLst>
          </p:cNvPr>
          <p:cNvSpPr>
            <a:spLocks noGrp="1"/>
          </p:cNvSpPr>
          <p:nvPr>
            <p:ph type="body" sz="quarter" idx="10"/>
          </p:nvPr>
        </p:nvSpPr>
        <p:spPr>
          <a:xfrm>
            <a:off x="5354278" y="1664256"/>
            <a:ext cx="6209072" cy="3323987"/>
          </a:xfrm>
        </p:spPr>
        <p:txBody>
          <a:bodyPr/>
          <a:lstStyle>
            <a:lvl1pPr marL="0" indent="0" algn="l" defTabSz="914400" rtl="0" eaLnBrk="1" latinLnBrk="0" hangingPunct="1">
              <a:lnSpc>
                <a:spcPct val="100000"/>
              </a:lnSpc>
              <a:defRPr lang="en-US" sz="900" b="0" kern="1200" dirty="0" smtClean="0">
                <a:solidFill>
                  <a:schemeClr val="tx1"/>
                </a:solidFill>
                <a:latin typeface="+mn-lt"/>
                <a:ea typeface="+mn-ea"/>
                <a:cs typeface="+mn-cs"/>
              </a:defRPr>
            </a:lvl1pPr>
          </a:lstStyle>
          <a:p>
            <a:pPr lvl="0"/>
            <a:r>
              <a:rPr lang="en-US"/>
              <a:t>Edit Master text styles</a:t>
            </a:r>
          </a:p>
        </p:txBody>
      </p:sp>
      <p:sp>
        <p:nvSpPr>
          <p:cNvPr id="12" name="Title 6">
            <a:extLst>
              <a:ext uri="{FF2B5EF4-FFF2-40B4-BE49-F238E27FC236}">
                <a16:creationId xmlns:a16="http://schemas.microsoft.com/office/drawing/2014/main" id="{A09AAC55-5ED6-42FF-A3D6-437EE48AD662}"/>
              </a:ext>
            </a:extLst>
          </p:cNvPr>
          <p:cNvSpPr txBox="1">
            <a:spLocks/>
          </p:cNvSpPr>
          <p:nvPr userDrawn="1"/>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a:gradFill>
                  <a:gsLst>
                    <a:gs pos="100000">
                      <a:schemeClr val="tx2"/>
                    </a:gs>
                    <a:gs pos="2000">
                      <a:schemeClr val="accent2"/>
                    </a:gs>
                  </a:gsLst>
                  <a:lin ang="2700000" scaled="0"/>
                </a:gradFill>
                <a:latin typeface="+mn-lt"/>
                <a:ea typeface="+mn-ea"/>
                <a:cs typeface="+mn-cs"/>
                <a:sym typeface="Trebuchet MS" panose="020B0603020202020204" pitchFamily="34" charset="0"/>
              </a:rPr>
              <a:t>Disclaimer</a:t>
            </a:r>
          </a:p>
        </p:txBody>
      </p:sp>
      <p:cxnSp>
        <p:nvCxnSpPr>
          <p:cNvPr id="13" name="Straight Connector 12">
            <a:extLst>
              <a:ext uri="{FF2B5EF4-FFF2-40B4-BE49-F238E27FC236}">
                <a16:creationId xmlns:a16="http://schemas.microsoft.com/office/drawing/2014/main" id="{E92E4758-D959-4961-9A41-A19A310332D0}"/>
              </a:ext>
            </a:extLst>
          </p:cNvPr>
          <p:cNvCxnSpPr/>
          <p:nvPr userDrawn="1"/>
        </p:nvCxnSpPr>
        <p:spPr>
          <a:xfrm>
            <a:off x="4596426"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2B3B4289-DAB3-4F0E-BAA6-60E41240B54B}"/>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428018" y="6271005"/>
            <a:ext cx="498632" cy="517662"/>
          </a:xfrm>
          <a:prstGeom prst="rect">
            <a:avLst/>
          </a:prstGeom>
        </p:spPr>
      </p:pic>
    </p:spTree>
    <p:extLst>
      <p:ext uri="{BB962C8B-B14F-4D97-AF65-F5344CB8AC3E}">
        <p14:creationId xmlns:p14="http://schemas.microsoft.com/office/powerpoint/2010/main" val="19491595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grpSp>
        <p:nvGrpSpPr>
          <p:cNvPr id="7" name="Group 6">
            <a:extLst>
              <a:ext uri="{FF2B5EF4-FFF2-40B4-BE49-F238E27FC236}">
                <a16:creationId xmlns:a16="http://schemas.microsoft.com/office/drawing/2014/main" id="{7A62D01E-9E87-468C-AD27-C7158D22EB56}"/>
              </a:ext>
            </a:extLst>
          </p:cNvPr>
          <p:cNvGrpSpPr/>
          <p:nvPr userDrawn="1"/>
        </p:nvGrpSpPr>
        <p:grpSpPr>
          <a:xfrm>
            <a:off x="5986458" y="-12701"/>
            <a:ext cx="6211891" cy="6737351"/>
            <a:chOff x="5973758" y="-12700"/>
            <a:chExt cx="6211891" cy="6858000"/>
          </a:xfrm>
        </p:grpSpPr>
        <p:sp>
          <p:nvSpPr>
            <p:cNvPr id="11" name="Freeform 3">
              <a:extLst>
                <a:ext uri="{FF2B5EF4-FFF2-40B4-BE49-F238E27FC236}">
                  <a16:creationId xmlns:a16="http://schemas.microsoft.com/office/drawing/2014/main" id="{34EB357D-6B43-47A0-A553-6F9986B894CB}"/>
                </a:ext>
              </a:extLst>
            </p:cNvPr>
            <p:cNvSpPr/>
            <p:nvPr userDrawn="1"/>
          </p:nvSpPr>
          <p:spPr>
            <a:xfrm>
              <a:off x="7466628" y="0"/>
              <a:ext cx="4719021" cy="6845300"/>
            </a:xfrm>
            <a:custGeom>
              <a:avLst/>
              <a:gdLst>
                <a:gd name="connsiteX0" fmla="*/ 1123950 w 6781800"/>
                <a:gd name="connsiteY0" fmla="*/ 0 h 6838950"/>
                <a:gd name="connsiteX1" fmla="*/ 6781800 w 6781800"/>
                <a:gd name="connsiteY1" fmla="*/ 0 h 6838950"/>
                <a:gd name="connsiteX2" fmla="*/ 6781800 w 6781800"/>
                <a:gd name="connsiteY2" fmla="*/ 6838950 h 6838950"/>
                <a:gd name="connsiteX3" fmla="*/ 342900 w 6781800"/>
                <a:gd name="connsiteY3" fmla="*/ 6838950 h 6838950"/>
                <a:gd name="connsiteX4" fmla="*/ 0 w 6781800"/>
                <a:gd name="connsiteY4" fmla="*/ 4705350 h 6838950"/>
                <a:gd name="connsiteX5" fmla="*/ 419100 w 6781800"/>
                <a:gd name="connsiteY5" fmla="*/ 2152650 h 6838950"/>
                <a:gd name="connsiteX6" fmla="*/ 1123950 w 6781800"/>
                <a:gd name="connsiteY6" fmla="*/ 0 h 6838950"/>
                <a:gd name="connsiteX0" fmla="*/ 1215746 w 6873596"/>
                <a:gd name="connsiteY0" fmla="*/ 0 h 6838950"/>
                <a:gd name="connsiteX1" fmla="*/ 6873596 w 6873596"/>
                <a:gd name="connsiteY1" fmla="*/ 0 h 6838950"/>
                <a:gd name="connsiteX2" fmla="*/ 6873596 w 6873596"/>
                <a:gd name="connsiteY2" fmla="*/ 6838950 h 6838950"/>
                <a:gd name="connsiteX3" fmla="*/ 434696 w 6873596"/>
                <a:gd name="connsiteY3" fmla="*/ 6838950 h 6838950"/>
                <a:gd name="connsiteX4" fmla="*/ 91796 w 6873596"/>
                <a:gd name="connsiteY4" fmla="*/ 4705350 h 6838950"/>
                <a:gd name="connsiteX5" fmla="*/ 510896 w 6873596"/>
                <a:gd name="connsiteY5" fmla="*/ 2152650 h 6838950"/>
                <a:gd name="connsiteX6" fmla="*/ 1215746 w 6873596"/>
                <a:gd name="connsiteY6" fmla="*/ 0 h 6838950"/>
                <a:gd name="connsiteX0" fmla="*/ 1234581 w 6892431"/>
                <a:gd name="connsiteY0" fmla="*/ 0 h 6838950"/>
                <a:gd name="connsiteX1" fmla="*/ 6892431 w 6892431"/>
                <a:gd name="connsiteY1" fmla="*/ 0 h 6838950"/>
                <a:gd name="connsiteX2" fmla="*/ 6892431 w 6892431"/>
                <a:gd name="connsiteY2" fmla="*/ 6838950 h 6838950"/>
                <a:gd name="connsiteX3" fmla="*/ 453531 w 6892431"/>
                <a:gd name="connsiteY3" fmla="*/ 6838950 h 6838950"/>
                <a:gd name="connsiteX4" fmla="*/ 110631 w 6892431"/>
                <a:gd name="connsiteY4" fmla="*/ 4705350 h 6838950"/>
                <a:gd name="connsiteX5" fmla="*/ 529731 w 6892431"/>
                <a:gd name="connsiteY5" fmla="*/ 2152650 h 6838950"/>
                <a:gd name="connsiteX6" fmla="*/ 1234581 w 6892431"/>
                <a:gd name="connsiteY6" fmla="*/ 0 h 6838950"/>
                <a:gd name="connsiteX0" fmla="*/ 1254804 w 6912654"/>
                <a:gd name="connsiteY0" fmla="*/ 0 h 6838950"/>
                <a:gd name="connsiteX1" fmla="*/ 6912654 w 6912654"/>
                <a:gd name="connsiteY1" fmla="*/ 0 h 6838950"/>
                <a:gd name="connsiteX2" fmla="*/ 6912654 w 6912654"/>
                <a:gd name="connsiteY2" fmla="*/ 6838950 h 6838950"/>
                <a:gd name="connsiteX3" fmla="*/ 473754 w 6912654"/>
                <a:gd name="connsiteY3" fmla="*/ 6838950 h 6838950"/>
                <a:gd name="connsiteX4" fmla="*/ 130854 w 6912654"/>
                <a:gd name="connsiteY4" fmla="*/ 4705350 h 6838950"/>
                <a:gd name="connsiteX5" fmla="*/ 549954 w 6912654"/>
                <a:gd name="connsiteY5" fmla="*/ 2152650 h 6838950"/>
                <a:gd name="connsiteX6" fmla="*/ 1254804 w 6912654"/>
                <a:gd name="connsiteY6" fmla="*/ 0 h 6838950"/>
                <a:gd name="connsiteX0" fmla="*/ 1211631 w 6869481"/>
                <a:gd name="connsiteY0" fmla="*/ 0 h 6838950"/>
                <a:gd name="connsiteX1" fmla="*/ 6869481 w 6869481"/>
                <a:gd name="connsiteY1" fmla="*/ 0 h 6838950"/>
                <a:gd name="connsiteX2" fmla="*/ 6869481 w 6869481"/>
                <a:gd name="connsiteY2" fmla="*/ 6838950 h 6838950"/>
                <a:gd name="connsiteX3" fmla="*/ 430581 w 6869481"/>
                <a:gd name="connsiteY3" fmla="*/ 6838950 h 6838950"/>
                <a:gd name="connsiteX4" fmla="*/ 87681 w 6869481"/>
                <a:gd name="connsiteY4" fmla="*/ 4705350 h 6838950"/>
                <a:gd name="connsiteX5" fmla="*/ 506781 w 6869481"/>
                <a:gd name="connsiteY5" fmla="*/ 2152650 h 6838950"/>
                <a:gd name="connsiteX6" fmla="*/ 1211631 w 6869481"/>
                <a:gd name="connsiteY6" fmla="*/ 0 h 6838950"/>
                <a:gd name="connsiteX0" fmla="*/ 1225365 w 6883215"/>
                <a:gd name="connsiteY0" fmla="*/ 0 h 6838950"/>
                <a:gd name="connsiteX1" fmla="*/ 6883215 w 6883215"/>
                <a:gd name="connsiteY1" fmla="*/ 0 h 6838950"/>
                <a:gd name="connsiteX2" fmla="*/ 6883215 w 6883215"/>
                <a:gd name="connsiteY2" fmla="*/ 6838950 h 6838950"/>
                <a:gd name="connsiteX3" fmla="*/ 444315 w 6883215"/>
                <a:gd name="connsiteY3" fmla="*/ 6838950 h 6838950"/>
                <a:gd name="connsiteX4" fmla="*/ 101415 w 6883215"/>
                <a:gd name="connsiteY4" fmla="*/ 4705350 h 6838950"/>
                <a:gd name="connsiteX5" fmla="*/ 520515 w 6883215"/>
                <a:gd name="connsiteY5" fmla="*/ 2152650 h 6838950"/>
                <a:gd name="connsiteX6" fmla="*/ 1225365 w 6883215"/>
                <a:gd name="connsiteY6" fmla="*/ 0 h 6838950"/>
                <a:gd name="connsiteX0" fmla="*/ 1229999 w 6887849"/>
                <a:gd name="connsiteY0" fmla="*/ 0 h 6838950"/>
                <a:gd name="connsiteX1" fmla="*/ 6887849 w 6887849"/>
                <a:gd name="connsiteY1" fmla="*/ 0 h 6838950"/>
                <a:gd name="connsiteX2" fmla="*/ 6887849 w 6887849"/>
                <a:gd name="connsiteY2" fmla="*/ 6838950 h 6838950"/>
                <a:gd name="connsiteX3" fmla="*/ 448949 w 6887849"/>
                <a:gd name="connsiteY3" fmla="*/ 6838950 h 6838950"/>
                <a:gd name="connsiteX4" fmla="*/ 106049 w 6887849"/>
                <a:gd name="connsiteY4" fmla="*/ 4705350 h 6838950"/>
                <a:gd name="connsiteX5" fmla="*/ 525149 w 6887849"/>
                <a:gd name="connsiteY5" fmla="*/ 2152650 h 6838950"/>
                <a:gd name="connsiteX6" fmla="*/ 1229999 w 6887849"/>
                <a:gd name="connsiteY6" fmla="*/ 0 h 6838950"/>
                <a:gd name="connsiteX0" fmla="*/ 1238263 w 6896113"/>
                <a:gd name="connsiteY0" fmla="*/ 0 h 6838950"/>
                <a:gd name="connsiteX1" fmla="*/ 6896113 w 6896113"/>
                <a:gd name="connsiteY1" fmla="*/ 0 h 6838950"/>
                <a:gd name="connsiteX2" fmla="*/ 6896113 w 6896113"/>
                <a:gd name="connsiteY2" fmla="*/ 6838950 h 6838950"/>
                <a:gd name="connsiteX3" fmla="*/ 457213 w 6896113"/>
                <a:gd name="connsiteY3" fmla="*/ 6838950 h 6838950"/>
                <a:gd name="connsiteX4" fmla="*/ 114313 w 6896113"/>
                <a:gd name="connsiteY4" fmla="*/ 4705350 h 6838950"/>
                <a:gd name="connsiteX5" fmla="*/ 533413 w 6896113"/>
                <a:gd name="connsiteY5" fmla="*/ 2152650 h 6838950"/>
                <a:gd name="connsiteX6" fmla="*/ 1238263 w 6896113"/>
                <a:gd name="connsiteY6" fmla="*/ 0 h 6838950"/>
                <a:gd name="connsiteX0" fmla="*/ 1962216 w 6896113"/>
                <a:gd name="connsiteY0" fmla="*/ 0 h 6838950"/>
                <a:gd name="connsiteX1" fmla="*/ 6896113 w 6896113"/>
                <a:gd name="connsiteY1" fmla="*/ 0 h 6838950"/>
                <a:gd name="connsiteX2" fmla="*/ 6896113 w 6896113"/>
                <a:gd name="connsiteY2" fmla="*/ 6838950 h 6838950"/>
                <a:gd name="connsiteX3" fmla="*/ 457213 w 6896113"/>
                <a:gd name="connsiteY3" fmla="*/ 6838950 h 6838950"/>
                <a:gd name="connsiteX4" fmla="*/ 114313 w 6896113"/>
                <a:gd name="connsiteY4" fmla="*/ 4705350 h 6838950"/>
                <a:gd name="connsiteX5" fmla="*/ 533413 w 6896113"/>
                <a:gd name="connsiteY5" fmla="*/ 2152650 h 6838950"/>
                <a:gd name="connsiteX6" fmla="*/ 1962216 w 6896113"/>
                <a:gd name="connsiteY6" fmla="*/ 0 h 6838950"/>
                <a:gd name="connsiteX0" fmla="*/ 1925356 w 6859253"/>
                <a:gd name="connsiteY0" fmla="*/ 0 h 6838950"/>
                <a:gd name="connsiteX1" fmla="*/ 6859253 w 6859253"/>
                <a:gd name="connsiteY1" fmla="*/ 0 h 6838950"/>
                <a:gd name="connsiteX2" fmla="*/ 6859253 w 6859253"/>
                <a:gd name="connsiteY2" fmla="*/ 6838950 h 6838950"/>
                <a:gd name="connsiteX3" fmla="*/ 420353 w 6859253"/>
                <a:gd name="connsiteY3" fmla="*/ 6838950 h 6838950"/>
                <a:gd name="connsiteX4" fmla="*/ 77453 w 6859253"/>
                <a:gd name="connsiteY4" fmla="*/ 4705350 h 6838950"/>
                <a:gd name="connsiteX5" fmla="*/ 682182 w 6859253"/>
                <a:gd name="connsiteY5" fmla="*/ 2216091 h 6838950"/>
                <a:gd name="connsiteX6" fmla="*/ 1925356 w 6859253"/>
                <a:gd name="connsiteY6" fmla="*/ 0 h 6838950"/>
                <a:gd name="connsiteX0" fmla="*/ 1963636 w 6897533"/>
                <a:gd name="connsiteY0" fmla="*/ 0 h 6838950"/>
                <a:gd name="connsiteX1" fmla="*/ 6897533 w 6897533"/>
                <a:gd name="connsiteY1" fmla="*/ 0 h 6838950"/>
                <a:gd name="connsiteX2" fmla="*/ 6897533 w 6897533"/>
                <a:gd name="connsiteY2" fmla="*/ 6838950 h 6838950"/>
                <a:gd name="connsiteX3" fmla="*/ 458633 w 6897533"/>
                <a:gd name="connsiteY3" fmla="*/ 6838950 h 6838950"/>
                <a:gd name="connsiteX4" fmla="*/ 115733 w 6897533"/>
                <a:gd name="connsiteY4" fmla="*/ 4705350 h 6838950"/>
                <a:gd name="connsiteX5" fmla="*/ 720462 w 6897533"/>
                <a:gd name="connsiteY5" fmla="*/ 2216091 h 6838950"/>
                <a:gd name="connsiteX6" fmla="*/ 1963636 w 6897533"/>
                <a:gd name="connsiteY6" fmla="*/ 0 h 6838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897533" h="6838950">
                  <a:moveTo>
                    <a:pt x="1963636" y="0"/>
                  </a:moveTo>
                  <a:lnTo>
                    <a:pt x="6897533" y="0"/>
                  </a:lnTo>
                  <a:lnTo>
                    <a:pt x="6897533" y="6838950"/>
                  </a:lnTo>
                  <a:lnTo>
                    <a:pt x="458633" y="6838950"/>
                  </a:lnTo>
                  <a:lnTo>
                    <a:pt x="115733" y="4705350"/>
                  </a:lnTo>
                  <a:cubicBezTo>
                    <a:pt x="-102707" y="3471316"/>
                    <a:pt x="-68712" y="3864660"/>
                    <a:pt x="720462" y="2216091"/>
                  </a:cubicBezTo>
                  <a:lnTo>
                    <a:pt x="1963636" y="0"/>
                  </a:lnTo>
                  <a:close/>
                </a:path>
              </a:pathLst>
            </a:custGeom>
            <a:gradFill>
              <a:gsLst>
                <a:gs pos="0">
                  <a:srgbClr val="004E2A"/>
                </a:gs>
                <a:gs pos="100000">
                  <a:srgbClr val="78B944"/>
                </a:gs>
              </a:gsLst>
              <a:lin ang="8100000" scaled="1"/>
            </a:gradFill>
            <a:ln w="10795" cap="flat" cmpd="sng" algn="ctr">
              <a:noFill/>
              <a:prstDash val="solid"/>
            </a:ln>
            <a:effectLst/>
          </p:spPr>
          <p:txBody>
            <a:bodyPr wrap="square" rtlCol="0" anchor="t">
              <a:noAutofit/>
            </a:bodyPr>
            <a:lstStyle/>
            <a:p>
              <a:pPr marL="0" marR="0" lvl="0" indent="0" defTabSz="914400" eaLnBrk="1" fontAlgn="auto" latinLnBrk="0" hangingPunct="1">
                <a:lnSpc>
                  <a:spcPct val="90000"/>
                </a:lnSpc>
                <a:spcBef>
                  <a:spcPts val="0"/>
                </a:spcBef>
                <a:spcAft>
                  <a:spcPts val="1000"/>
                </a:spcAft>
                <a:buClrTx/>
                <a:buSzTx/>
                <a:buFontTx/>
                <a:buNone/>
                <a:tabLst/>
                <a:defRPr/>
              </a:pPr>
              <a:endParaRPr kumimoji="0" lang="en-US" sz="1200" b="0" i="0" u="none" strike="noStrike" kern="0" cap="none" spc="0" normalizeH="0" baseline="0" noProof="0">
                <a:ln>
                  <a:noFill/>
                </a:ln>
                <a:solidFill>
                  <a:prstClr val="white"/>
                </a:solidFill>
                <a:effectLst/>
                <a:uLnTx/>
                <a:uFillTx/>
                <a:latin typeface="+mn-lt"/>
                <a:ea typeface="+mn-ea"/>
                <a:cs typeface="+mn-cs"/>
                <a:sym typeface="+mn-lt"/>
              </a:endParaRPr>
            </a:p>
          </p:txBody>
        </p:sp>
        <p:grpSp>
          <p:nvGrpSpPr>
            <p:cNvPr id="12" name="Group 11">
              <a:extLst>
                <a:ext uri="{FF2B5EF4-FFF2-40B4-BE49-F238E27FC236}">
                  <a16:creationId xmlns:a16="http://schemas.microsoft.com/office/drawing/2014/main" id="{A3BFBFCE-5243-4C8D-85D7-4A604CA34687}"/>
                </a:ext>
              </a:extLst>
            </p:cNvPr>
            <p:cNvGrpSpPr/>
            <p:nvPr userDrawn="1"/>
          </p:nvGrpSpPr>
          <p:grpSpPr>
            <a:xfrm>
              <a:off x="7658563" y="0"/>
              <a:ext cx="1292932" cy="6835882"/>
              <a:chOff x="5613863" y="0"/>
              <a:chExt cx="1292932" cy="6835882"/>
            </a:xfrm>
          </p:grpSpPr>
          <p:sp>
            <p:nvSpPr>
              <p:cNvPr id="14" name="Freeform 6">
                <a:extLst>
                  <a:ext uri="{FF2B5EF4-FFF2-40B4-BE49-F238E27FC236}">
                    <a16:creationId xmlns:a16="http://schemas.microsoft.com/office/drawing/2014/main" id="{6BFAD8EC-763E-4122-ABA7-60C0B2EF0000}"/>
                  </a:ext>
                </a:extLst>
              </p:cNvPr>
              <p:cNvSpPr/>
              <p:nvPr userDrawn="1"/>
            </p:nvSpPr>
            <p:spPr>
              <a:xfrm>
                <a:off x="5746799" y="0"/>
                <a:ext cx="1159996" cy="6830163"/>
              </a:xfrm>
              <a:custGeom>
                <a:avLst/>
                <a:gdLst>
                  <a:gd name="connsiteX0" fmla="*/ 1058779 w 1058779"/>
                  <a:gd name="connsiteY0" fmla="*/ 0 h 6785811"/>
                  <a:gd name="connsiteX1" fmla="*/ 24063 w 1058779"/>
                  <a:gd name="connsiteY1" fmla="*/ 3380874 h 6785811"/>
                  <a:gd name="connsiteX2" fmla="*/ 0 w 1058779"/>
                  <a:gd name="connsiteY2" fmla="*/ 4547937 h 6785811"/>
                  <a:gd name="connsiteX3" fmla="*/ 288758 w 1058779"/>
                  <a:gd name="connsiteY3" fmla="*/ 6136105 h 6785811"/>
                  <a:gd name="connsiteX4" fmla="*/ 360947 w 1058779"/>
                  <a:gd name="connsiteY4" fmla="*/ 6785811 h 6785811"/>
                  <a:gd name="connsiteX0" fmla="*/ 1165680 w 1165680"/>
                  <a:gd name="connsiteY0" fmla="*/ 0 h 6785811"/>
                  <a:gd name="connsiteX1" fmla="*/ 130964 w 1165680"/>
                  <a:gd name="connsiteY1" fmla="*/ 3380874 h 6785811"/>
                  <a:gd name="connsiteX2" fmla="*/ 106901 w 1165680"/>
                  <a:gd name="connsiteY2" fmla="*/ 4547937 h 6785811"/>
                  <a:gd name="connsiteX3" fmla="*/ 395659 w 1165680"/>
                  <a:gd name="connsiteY3" fmla="*/ 6136105 h 6785811"/>
                  <a:gd name="connsiteX4" fmla="*/ 467848 w 1165680"/>
                  <a:gd name="connsiteY4" fmla="*/ 6785811 h 6785811"/>
                  <a:gd name="connsiteX0" fmla="*/ 1188376 w 1188376"/>
                  <a:gd name="connsiteY0" fmla="*/ 0 h 6785811"/>
                  <a:gd name="connsiteX1" fmla="*/ 153660 w 1188376"/>
                  <a:gd name="connsiteY1" fmla="*/ 3380874 h 6785811"/>
                  <a:gd name="connsiteX2" fmla="*/ 129597 w 1188376"/>
                  <a:gd name="connsiteY2" fmla="*/ 4547937 h 6785811"/>
                  <a:gd name="connsiteX3" fmla="*/ 418355 w 1188376"/>
                  <a:gd name="connsiteY3" fmla="*/ 6136105 h 6785811"/>
                  <a:gd name="connsiteX4" fmla="*/ 490544 w 1188376"/>
                  <a:gd name="connsiteY4" fmla="*/ 6785811 h 6785811"/>
                  <a:gd name="connsiteX0" fmla="*/ 1159996 w 1159996"/>
                  <a:gd name="connsiteY0" fmla="*/ 0 h 6785811"/>
                  <a:gd name="connsiteX1" fmla="*/ 125280 w 1159996"/>
                  <a:gd name="connsiteY1" fmla="*/ 3380874 h 6785811"/>
                  <a:gd name="connsiteX2" fmla="*/ 101217 w 1159996"/>
                  <a:gd name="connsiteY2" fmla="*/ 4547937 h 6785811"/>
                  <a:gd name="connsiteX3" fmla="*/ 389975 w 1159996"/>
                  <a:gd name="connsiteY3" fmla="*/ 6136105 h 6785811"/>
                  <a:gd name="connsiteX4" fmla="*/ 462164 w 1159996"/>
                  <a:gd name="connsiteY4" fmla="*/ 6785811 h 6785811"/>
                  <a:gd name="connsiteX0" fmla="*/ 1159996 w 1159996"/>
                  <a:gd name="connsiteY0" fmla="*/ 0 h 6785811"/>
                  <a:gd name="connsiteX1" fmla="*/ 125280 w 1159996"/>
                  <a:gd name="connsiteY1" fmla="*/ 3380874 h 6785811"/>
                  <a:gd name="connsiteX2" fmla="*/ 101217 w 1159996"/>
                  <a:gd name="connsiteY2" fmla="*/ 4547937 h 6785811"/>
                  <a:gd name="connsiteX3" fmla="*/ 389975 w 1159996"/>
                  <a:gd name="connsiteY3" fmla="*/ 6136105 h 6785811"/>
                  <a:gd name="connsiteX4" fmla="*/ 462164 w 1159996"/>
                  <a:gd name="connsiteY4" fmla="*/ 6785811 h 6785811"/>
                  <a:gd name="connsiteX0" fmla="*/ 1159996 w 1159996"/>
                  <a:gd name="connsiteY0" fmla="*/ 0 h 6785811"/>
                  <a:gd name="connsiteX1" fmla="*/ 125280 w 1159996"/>
                  <a:gd name="connsiteY1" fmla="*/ 3380874 h 6785811"/>
                  <a:gd name="connsiteX2" fmla="*/ 101217 w 1159996"/>
                  <a:gd name="connsiteY2" fmla="*/ 4547937 h 6785811"/>
                  <a:gd name="connsiteX3" fmla="*/ 389975 w 1159996"/>
                  <a:gd name="connsiteY3" fmla="*/ 6136105 h 6785811"/>
                  <a:gd name="connsiteX4" fmla="*/ 462164 w 1159996"/>
                  <a:gd name="connsiteY4" fmla="*/ 6785811 h 6785811"/>
                  <a:gd name="connsiteX0" fmla="*/ 1159996 w 1159996"/>
                  <a:gd name="connsiteY0" fmla="*/ 0 h 6785811"/>
                  <a:gd name="connsiteX1" fmla="*/ 125280 w 1159996"/>
                  <a:gd name="connsiteY1" fmla="*/ 3380874 h 6785811"/>
                  <a:gd name="connsiteX2" fmla="*/ 101217 w 1159996"/>
                  <a:gd name="connsiteY2" fmla="*/ 4547937 h 6785811"/>
                  <a:gd name="connsiteX3" fmla="*/ 402675 w 1159996"/>
                  <a:gd name="connsiteY3" fmla="*/ 6136105 h 6785811"/>
                  <a:gd name="connsiteX4" fmla="*/ 462164 w 1159996"/>
                  <a:gd name="connsiteY4" fmla="*/ 6785811 h 6785811"/>
                  <a:gd name="connsiteX0" fmla="*/ 1159996 w 1159996"/>
                  <a:gd name="connsiteY0" fmla="*/ 0 h 6785811"/>
                  <a:gd name="connsiteX1" fmla="*/ 125280 w 1159996"/>
                  <a:gd name="connsiteY1" fmla="*/ 3380874 h 6785811"/>
                  <a:gd name="connsiteX2" fmla="*/ 101217 w 1159996"/>
                  <a:gd name="connsiteY2" fmla="*/ 4547937 h 6785811"/>
                  <a:gd name="connsiteX3" fmla="*/ 402675 w 1159996"/>
                  <a:gd name="connsiteY3" fmla="*/ 6136105 h 6785811"/>
                  <a:gd name="connsiteX4" fmla="*/ 462164 w 1159996"/>
                  <a:gd name="connsiteY4" fmla="*/ 6785811 h 6785811"/>
                  <a:gd name="connsiteX0" fmla="*/ 1159996 w 1159996"/>
                  <a:gd name="connsiteY0" fmla="*/ 0 h 6785811"/>
                  <a:gd name="connsiteX1" fmla="*/ 125280 w 1159996"/>
                  <a:gd name="connsiteY1" fmla="*/ 3380874 h 6785811"/>
                  <a:gd name="connsiteX2" fmla="*/ 101217 w 1159996"/>
                  <a:gd name="connsiteY2" fmla="*/ 4547937 h 6785811"/>
                  <a:gd name="connsiteX3" fmla="*/ 402675 w 1159996"/>
                  <a:gd name="connsiteY3" fmla="*/ 6136105 h 6785811"/>
                  <a:gd name="connsiteX4" fmla="*/ 462164 w 1159996"/>
                  <a:gd name="connsiteY4" fmla="*/ 6785811 h 6785811"/>
                  <a:gd name="connsiteX0" fmla="*/ 1159996 w 1159996"/>
                  <a:gd name="connsiteY0" fmla="*/ 0 h 6785811"/>
                  <a:gd name="connsiteX1" fmla="*/ 125280 w 1159996"/>
                  <a:gd name="connsiteY1" fmla="*/ 3380874 h 6785811"/>
                  <a:gd name="connsiteX2" fmla="*/ 101217 w 1159996"/>
                  <a:gd name="connsiteY2" fmla="*/ 4547937 h 6785811"/>
                  <a:gd name="connsiteX3" fmla="*/ 402675 w 1159996"/>
                  <a:gd name="connsiteY3" fmla="*/ 6136105 h 6785811"/>
                  <a:gd name="connsiteX4" fmla="*/ 462164 w 1159996"/>
                  <a:gd name="connsiteY4" fmla="*/ 6785811 h 6785811"/>
                  <a:gd name="connsiteX0" fmla="*/ 1159996 w 1159996"/>
                  <a:gd name="connsiteY0" fmla="*/ 0 h 6785811"/>
                  <a:gd name="connsiteX1" fmla="*/ 125280 w 1159996"/>
                  <a:gd name="connsiteY1" fmla="*/ 3380874 h 6785811"/>
                  <a:gd name="connsiteX2" fmla="*/ 101217 w 1159996"/>
                  <a:gd name="connsiteY2" fmla="*/ 4547937 h 6785811"/>
                  <a:gd name="connsiteX3" fmla="*/ 402675 w 1159996"/>
                  <a:gd name="connsiteY3" fmla="*/ 6136105 h 6785811"/>
                  <a:gd name="connsiteX4" fmla="*/ 462164 w 1159996"/>
                  <a:gd name="connsiteY4" fmla="*/ 6785811 h 6785811"/>
                  <a:gd name="connsiteX0" fmla="*/ 1159996 w 1159996"/>
                  <a:gd name="connsiteY0" fmla="*/ 0 h 6785811"/>
                  <a:gd name="connsiteX1" fmla="*/ 125280 w 1159996"/>
                  <a:gd name="connsiteY1" fmla="*/ 3380874 h 6785811"/>
                  <a:gd name="connsiteX2" fmla="*/ 101217 w 1159996"/>
                  <a:gd name="connsiteY2" fmla="*/ 4547937 h 6785811"/>
                  <a:gd name="connsiteX3" fmla="*/ 402675 w 1159996"/>
                  <a:gd name="connsiteY3" fmla="*/ 6136105 h 6785811"/>
                  <a:gd name="connsiteX4" fmla="*/ 462164 w 1159996"/>
                  <a:gd name="connsiteY4" fmla="*/ 6785811 h 67858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59996" h="6785811">
                    <a:moveTo>
                      <a:pt x="1159996" y="0"/>
                    </a:moveTo>
                    <a:lnTo>
                      <a:pt x="125280" y="3380874"/>
                    </a:lnTo>
                    <a:cubicBezTo>
                      <a:pt x="-92291" y="3941345"/>
                      <a:pt x="23513" y="4149391"/>
                      <a:pt x="101217" y="4547937"/>
                    </a:cubicBezTo>
                    <a:lnTo>
                      <a:pt x="402675" y="6136105"/>
                    </a:lnTo>
                    <a:cubicBezTo>
                      <a:pt x="547388" y="6828924"/>
                      <a:pt x="469851" y="6708942"/>
                      <a:pt x="462164" y="6785811"/>
                    </a:cubicBezTo>
                  </a:path>
                </a:pathLst>
              </a:custGeom>
              <a:noFill/>
              <a:ln w="9525" cap="rnd" cmpd="sng" algn="ctr">
                <a:solidFill>
                  <a:sysClr val="window" lastClr="FFFFFF"/>
                </a:solidFill>
                <a:prstDash val="solid"/>
                <a:round/>
                <a:headEnd type="none" w="med" len="med"/>
                <a:tailEnd type="none" w="med" len="me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mn-lt"/>
                  <a:ea typeface="+mn-ea"/>
                  <a:cs typeface="+mn-cs"/>
                  <a:sym typeface="+mn-lt"/>
                </a:endParaRPr>
              </a:p>
            </p:txBody>
          </p:sp>
          <p:sp>
            <p:nvSpPr>
              <p:cNvPr id="16" name="Freeform 7">
                <a:extLst>
                  <a:ext uri="{FF2B5EF4-FFF2-40B4-BE49-F238E27FC236}">
                    <a16:creationId xmlns:a16="http://schemas.microsoft.com/office/drawing/2014/main" id="{A20A9DF1-ED63-49C7-931A-133FEAD47043}"/>
                  </a:ext>
                </a:extLst>
              </p:cNvPr>
              <p:cNvSpPr/>
              <p:nvPr userDrawn="1"/>
            </p:nvSpPr>
            <p:spPr>
              <a:xfrm>
                <a:off x="5613863" y="12111"/>
                <a:ext cx="911931" cy="6823771"/>
              </a:xfrm>
              <a:custGeom>
                <a:avLst/>
                <a:gdLst>
                  <a:gd name="connsiteX0" fmla="*/ 1058779 w 1058779"/>
                  <a:gd name="connsiteY0" fmla="*/ 0 h 6785811"/>
                  <a:gd name="connsiteX1" fmla="*/ 24063 w 1058779"/>
                  <a:gd name="connsiteY1" fmla="*/ 3380874 h 6785811"/>
                  <a:gd name="connsiteX2" fmla="*/ 0 w 1058779"/>
                  <a:gd name="connsiteY2" fmla="*/ 4547937 h 6785811"/>
                  <a:gd name="connsiteX3" fmla="*/ 288758 w 1058779"/>
                  <a:gd name="connsiteY3" fmla="*/ 6136105 h 6785811"/>
                  <a:gd name="connsiteX4" fmla="*/ 360947 w 1058779"/>
                  <a:gd name="connsiteY4" fmla="*/ 6785811 h 6785811"/>
                  <a:gd name="connsiteX0" fmla="*/ 1165680 w 1165680"/>
                  <a:gd name="connsiteY0" fmla="*/ 0 h 6785811"/>
                  <a:gd name="connsiteX1" fmla="*/ 130964 w 1165680"/>
                  <a:gd name="connsiteY1" fmla="*/ 3380874 h 6785811"/>
                  <a:gd name="connsiteX2" fmla="*/ 106901 w 1165680"/>
                  <a:gd name="connsiteY2" fmla="*/ 4547937 h 6785811"/>
                  <a:gd name="connsiteX3" fmla="*/ 395659 w 1165680"/>
                  <a:gd name="connsiteY3" fmla="*/ 6136105 h 6785811"/>
                  <a:gd name="connsiteX4" fmla="*/ 467848 w 1165680"/>
                  <a:gd name="connsiteY4" fmla="*/ 6785811 h 6785811"/>
                  <a:gd name="connsiteX0" fmla="*/ 1188376 w 1188376"/>
                  <a:gd name="connsiteY0" fmla="*/ 0 h 6785811"/>
                  <a:gd name="connsiteX1" fmla="*/ 153660 w 1188376"/>
                  <a:gd name="connsiteY1" fmla="*/ 3380874 h 6785811"/>
                  <a:gd name="connsiteX2" fmla="*/ 129597 w 1188376"/>
                  <a:gd name="connsiteY2" fmla="*/ 4547937 h 6785811"/>
                  <a:gd name="connsiteX3" fmla="*/ 418355 w 1188376"/>
                  <a:gd name="connsiteY3" fmla="*/ 6136105 h 6785811"/>
                  <a:gd name="connsiteX4" fmla="*/ 490544 w 1188376"/>
                  <a:gd name="connsiteY4" fmla="*/ 6785811 h 6785811"/>
                  <a:gd name="connsiteX0" fmla="*/ 1159996 w 1159996"/>
                  <a:gd name="connsiteY0" fmla="*/ 0 h 6785811"/>
                  <a:gd name="connsiteX1" fmla="*/ 125280 w 1159996"/>
                  <a:gd name="connsiteY1" fmla="*/ 3380874 h 6785811"/>
                  <a:gd name="connsiteX2" fmla="*/ 101217 w 1159996"/>
                  <a:gd name="connsiteY2" fmla="*/ 4547937 h 6785811"/>
                  <a:gd name="connsiteX3" fmla="*/ 389975 w 1159996"/>
                  <a:gd name="connsiteY3" fmla="*/ 6136105 h 6785811"/>
                  <a:gd name="connsiteX4" fmla="*/ 462164 w 1159996"/>
                  <a:gd name="connsiteY4" fmla="*/ 6785811 h 6785811"/>
                  <a:gd name="connsiteX0" fmla="*/ 931396 w 931396"/>
                  <a:gd name="connsiteY0" fmla="*/ 0 h 6785811"/>
                  <a:gd name="connsiteX1" fmla="*/ 125280 w 931396"/>
                  <a:gd name="connsiteY1" fmla="*/ 3380874 h 6785811"/>
                  <a:gd name="connsiteX2" fmla="*/ 101217 w 931396"/>
                  <a:gd name="connsiteY2" fmla="*/ 4547937 h 6785811"/>
                  <a:gd name="connsiteX3" fmla="*/ 389975 w 931396"/>
                  <a:gd name="connsiteY3" fmla="*/ 6136105 h 6785811"/>
                  <a:gd name="connsiteX4" fmla="*/ 462164 w 931396"/>
                  <a:gd name="connsiteY4" fmla="*/ 6785811 h 6785811"/>
                  <a:gd name="connsiteX0" fmla="*/ 931396 w 931396"/>
                  <a:gd name="connsiteY0" fmla="*/ 0 h 6779461"/>
                  <a:gd name="connsiteX1" fmla="*/ 125280 w 931396"/>
                  <a:gd name="connsiteY1" fmla="*/ 3380874 h 6779461"/>
                  <a:gd name="connsiteX2" fmla="*/ 101217 w 931396"/>
                  <a:gd name="connsiteY2" fmla="*/ 4547937 h 6779461"/>
                  <a:gd name="connsiteX3" fmla="*/ 389975 w 931396"/>
                  <a:gd name="connsiteY3" fmla="*/ 6136105 h 6779461"/>
                  <a:gd name="connsiteX4" fmla="*/ 538364 w 931396"/>
                  <a:gd name="connsiteY4" fmla="*/ 6779461 h 6779461"/>
                  <a:gd name="connsiteX0" fmla="*/ 931396 w 931396"/>
                  <a:gd name="connsiteY0" fmla="*/ 0 h 6779461"/>
                  <a:gd name="connsiteX1" fmla="*/ 125280 w 931396"/>
                  <a:gd name="connsiteY1" fmla="*/ 3380874 h 6779461"/>
                  <a:gd name="connsiteX2" fmla="*/ 101217 w 931396"/>
                  <a:gd name="connsiteY2" fmla="*/ 4547937 h 6779461"/>
                  <a:gd name="connsiteX3" fmla="*/ 504275 w 931396"/>
                  <a:gd name="connsiteY3" fmla="*/ 6136105 h 6779461"/>
                  <a:gd name="connsiteX4" fmla="*/ 538364 w 931396"/>
                  <a:gd name="connsiteY4" fmla="*/ 6779461 h 6779461"/>
                  <a:gd name="connsiteX0" fmla="*/ 931396 w 931396"/>
                  <a:gd name="connsiteY0" fmla="*/ 0 h 6779461"/>
                  <a:gd name="connsiteX1" fmla="*/ 125280 w 931396"/>
                  <a:gd name="connsiteY1" fmla="*/ 3380874 h 6779461"/>
                  <a:gd name="connsiteX2" fmla="*/ 101217 w 931396"/>
                  <a:gd name="connsiteY2" fmla="*/ 4547937 h 6779461"/>
                  <a:gd name="connsiteX3" fmla="*/ 504275 w 931396"/>
                  <a:gd name="connsiteY3" fmla="*/ 6136105 h 6779461"/>
                  <a:gd name="connsiteX4" fmla="*/ 538364 w 931396"/>
                  <a:gd name="connsiteY4" fmla="*/ 6779461 h 6779461"/>
                  <a:gd name="connsiteX0" fmla="*/ 931396 w 931396"/>
                  <a:gd name="connsiteY0" fmla="*/ 0 h 6779461"/>
                  <a:gd name="connsiteX1" fmla="*/ 125280 w 931396"/>
                  <a:gd name="connsiteY1" fmla="*/ 3380874 h 6779461"/>
                  <a:gd name="connsiteX2" fmla="*/ 101217 w 931396"/>
                  <a:gd name="connsiteY2" fmla="*/ 4547937 h 6779461"/>
                  <a:gd name="connsiteX3" fmla="*/ 504275 w 931396"/>
                  <a:gd name="connsiteY3" fmla="*/ 6136105 h 6779461"/>
                  <a:gd name="connsiteX4" fmla="*/ 538364 w 931396"/>
                  <a:gd name="connsiteY4" fmla="*/ 6779461 h 6779461"/>
                  <a:gd name="connsiteX0" fmla="*/ 931396 w 931396"/>
                  <a:gd name="connsiteY0" fmla="*/ 0 h 6779461"/>
                  <a:gd name="connsiteX1" fmla="*/ 125280 w 931396"/>
                  <a:gd name="connsiteY1" fmla="*/ 3380874 h 6779461"/>
                  <a:gd name="connsiteX2" fmla="*/ 101217 w 931396"/>
                  <a:gd name="connsiteY2" fmla="*/ 4547937 h 6779461"/>
                  <a:gd name="connsiteX3" fmla="*/ 504275 w 931396"/>
                  <a:gd name="connsiteY3" fmla="*/ 6136105 h 6779461"/>
                  <a:gd name="connsiteX4" fmla="*/ 538364 w 931396"/>
                  <a:gd name="connsiteY4" fmla="*/ 6779461 h 6779461"/>
                  <a:gd name="connsiteX0" fmla="*/ 931396 w 931396"/>
                  <a:gd name="connsiteY0" fmla="*/ 0 h 6779461"/>
                  <a:gd name="connsiteX1" fmla="*/ 125280 w 931396"/>
                  <a:gd name="connsiteY1" fmla="*/ 3380874 h 6779461"/>
                  <a:gd name="connsiteX2" fmla="*/ 101217 w 931396"/>
                  <a:gd name="connsiteY2" fmla="*/ 4547937 h 6779461"/>
                  <a:gd name="connsiteX3" fmla="*/ 504275 w 931396"/>
                  <a:gd name="connsiteY3" fmla="*/ 6136105 h 6779461"/>
                  <a:gd name="connsiteX4" fmla="*/ 538364 w 931396"/>
                  <a:gd name="connsiteY4" fmla="*/ 6779461 h 6779461"/>
                  <a:gd name="connsiteX0" fmla="*/ 931396 w 931396"/>
                  <a:gd name="connsiteY0" fmla="*/ 0 h 6779461"/>
                  <a:gd name="connsiteX1" fmla="*/ 125280 w 931396"/>
                  <a:gd name="connsiteY1" fmla="*/ 3380874 h 6779461"/>
                  <a:gd name="connsiteX2" fmla="*/ 101217 w 931396"/>
                  <a:gd name="connsiteY2" fmla="*/ 4547937 h 6779461"/>
                  <a:gd name="connsiteX3" fmla="*/ 491575 w 931396"/>
                  <a:gd name="connsiteY3" fmla="*/ 6136105 h 6779461"/>
                  <a:gd name="connsiteX4" fmla="*/ 538364 w 931396"/>
                  <a:gd name="connsiteY4" fmla="*/ 6779461 h 6779461"/>
                  <a:gd name="connsiteX0" fmla="*/ 940867 w 940867"/>
                  <a:gd name="connsiteY0" fmla="*/ 0 h 6779461"/>
                  <a:gd name="connsiteX1" fmla="*/ 119511 w 940867"/>
                  <a:gd name="connsiteY1" fmla="*/ 3358014 h 6779461"/>
                  <a:gd name="connsiteX2" fmla="*/ 110688 w 940867"/>
                  <a:gd name="connsiteY2" fmla="*/ 4547937 h 6779461"/>
                  <a:gd name="connsiteX3" fmla="*/ 501046 w 940867"/>
                  <a:gd name="connsiteY3" fmla="*/ 6136105 h 6779461"/>
                  <a:gd name="connsiteX4" fmla="*/ 547835 w 940867"/>
                  <a:gd name="connsiteY4" fmla="*/ 6779461 h 6779461"/>
                  <a:gd name="connsiteX0" fmla="*/ 911931 w 911931"/>
                  <a:gd name="connsiteY0" fmla="*/ 0 h 6779461"/>
                  <a:gd name="connsiteX1" fmla="*/ 90575 w 911931"/>
                  <a:gd name="connsiteY1" fmla="*/ 3358014 h 6779461"/>
                  <a:gd name="connsiteX2" fmla="*/ 81752 w 911931"/>
                  <a:gd name="connsiteY2" fmla="*/ 4547937 h 6779461"/>
                  <a:gd name="connsiteX3" fmla="*/ 472110 w 911931"/>
                  <a:gd name="connsiteY3" fmla="*/ 6136105 h 6779461"/>
                  <a:gd name="connsiteX4" fmla="*/ 518899 w 911931"/>
                  <a:gd name="connsiteY4" fmla="*/ 6779461 h 6779461"/>
                  <a:gd name="connsiteX0" fmla="*/ 911931 w 911931"/>
                  <a:gd name="connsiteY0" fmla="*/ 0 h 6779461"/>
                  <a:gd name="connsiteX1" fmla="*/ 90575 w 911931"/>
                  <a:gd name="connsiteY1" fmla="*/ 3358014 h 6779461"/>
                  <a:gd name="connsiteX2" fmla="*/ 81752 w 911931"/>
                  <a:gd name="connsiteY2" fmla="*/ 4547937 h 6779461"/>
                  <a:gd name="connsiteX3" fmla="*/ 472110 w 911931"/>
                  <a:gd name="connsiteY3" fmla="*/ 6136105 h 6779461"/>
                  <a:gd name="connsiteX4" fmla="*/ 518899 w 911931"/>
                  <a:gd name="connsiteY4" fmla="*/ 6779461 h 67794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1931" h="6779461">
                    <a:moveTo>
                      <a:pt x="911931" y="0"/>
                    </a:moveTo>
                    <a:cubicBezTo>
                      <a:pt x="638146" y="1119338"/>
                      <a:pt x="387220" y="2238676"/>
                      <a:pt x="90575" y="3358014"/>
                    </a:cubicBezTo>
                    <a:cubicBezTo>
                      <a:pt x="-58416" y="4002305"/>
                      <a:pt x="4048" y="4149391"/>
                      <a:pt x="81752" y="4547937"/>
                    </a:cubicBezTo>
                    <a:lnTo>
                      <a:pt x="472110" y="6136105"/>
                    </a:lnTo>
                    <a:cubicBezTo>
                      <a:pt x="616823" y="6725207"/>
                      <a:pt x="539286" y="6749159"/>
                      <a:pt x="518899" y="6779461"/>
                    </a:cubicBezTo>
                  </a:path>
                </a:pathLst>
              </a:custGeom>
              <a:noFill/>
              <a:ln w="9525" cap="rnd" cmpd="sng" algn="ctr">
                <a:solidFill>
                  <a:sysClr val="window" lastClr="FFFFFF"/>
                </a:solidFill>
                <a:prstDash val="solid"/>
                <a:round/>
                <a:headEnd type="none" w="med" len="med"/>
                <a:tailEnd type="none" w="med" len="me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mn-lt"/>
                  <a:ea typeface="+mn-ea"/>
                  <a:cs typeface="+mn-cs"/>
                  <a:sym typeface="+mn-lt"/>
                </a:endParaRPr>
              </a:p>
            </p:txBody>
          </p:sp>
          <p:sp>
            <p:nvSpPr>
              <p:cNvPr id="17" name="Freeform 8">
                <a:extLst>
                  <a:ext uri="{FF2B5EF4-FFF2-40B4-BE49-F238E27FC236}">
                    <a16:creationId xmlns:a16="http://schemas.microsoft.com/office/drawing/2014/main" id="{055598D3-EF93-4F1D-B4EE-7D0EBAD6B0C7}"/>
                  </a:ext>
                </a:extLst>
              </p:cNvPr>
              <p:cNvSpPr/>
              <p:nvPr userDrawn="1"/>
            </p:nvSpPr>
            <p:spPr>
              <a:xfrm>
                <a:off x="5720080" y="1625998"/>
                <a:ext cx="568102" cy="5031391"/>
              </a:xfrm>
              <a:custGeom>
                <a:avLst/>
                <a:gdLst>
                  <a:gd name="connsiteX0" fmla="*/ 281940 w 510540"/>
                  <a:gd name="connsiteY0" fmla="*/ 0 h 4998720"/>
                  <a:gd name="connsiteX1" fmla="*/ 304800 w 510540"/>
                  <a:gd name="connsiteY1" fmla="*/ 998220 h 4998720"/>
                  <a:gd name="connsiteX2" fmla="*/ 510540 w 510540"/>
                  <a:gd name="connsiteY2" fmla="*/ 2727960 h 4998720"/>
                  <a:gd name="connsiteX3" fmla="*/ 464820 w 510540"/>
                  <a:gd name="connsiteY3" fmla="*/ 3848100 h 4998720"/>
                  <a:gd name="connsiteX4" fmla="*/ 0 w 510540"/>
                  <a:gd name="connsiteY4" fmla="*/ 4998720 h 4998720"/>
                  <a:gd name="connsiteX0" fmla="*/ 281940 w 585809"/>
                  <a:gd name="connsiteY0" fmla="*/ 0 h 4998720"/>
                  <a:gd name="connsiteX1" fmla="*/ 304800 w 585809"/>
                  <a:gd name="connsiteY1" fmla="*/ 998220 h 4998720"/>
                  <a:gd name="connsiteX2" fmla="*/ 510540 w 585809"/>
                  <a:gd name="connsiteY2" fmla="*/ 2727960 h 4998720"/>
                  <a:gd name="connsiteX3" fmla="*/ 464820 w 585809"/>
                  <a:gd name="connsiteY3" fmla="*/ 3848100 h 4998720"/>
                  <a:gd name="connsiteX4" fmla="*/ 0 w 585809"/>
                  <a:gd name="connsiteY4" fmla="*/ 4998720 h 4998720"/>
                  <a:gd name="connsiteX0" fmla="*/ 281940 w 612461"/>
                  <a:gd name="connsiteY0" fmla="*/ 0 h 4998720"/>
                  <a:gd name="connsiteX1" fmla="*/ 304800 w 612461"/>
                  <a:gd name="connsiteY1" fmla="*/ 998220 h 4998720"/>
                  <a:gd name="connsiteX2" fmla="*/ 510540 w 612461"/>
                  <a:gd name="connsiteY2" fmla="*/ 2727960 h 4998720"/>
                  <a:gd name="connsiteX3" fmla="*/ 464820 w 612461"/>
                  <a:gd name="connsiteY3" fmla="*/ 3848100 h 4998720"/>
                  <a:gd name="connsiteX4" fmla="*/ 0 w 612461"/>
                  <a:gd name="connsiteY4" fmla="*/ 4998720 h 4998720"/>
                  <a:gd name="connsiteX0" fmla="*/ 281940 w 581999"/>
                  <a:gd name="connsiteY0" fmla="*/ 0 h 4998720"/>
                  <a:gd name="connsiteX1" fmla="*/ 304800 w 581999"/>
                  <a:gd name="connsiteY1" fmla="*/ 998220 h 4998720"/>
                  <a:gd name="connsiteX2" fmla="*/ 510540 w 581999"/>
                  <a:gd name="connsiteY2" fmla="*/ 2727960 h 4998720"/>
                  <a:gd name="connsiteX3" fmla="*/ 464820 w 581999"/>
                  <a:gd name="connsiteY3" fmla="*/ 3848100 h 4998720"/>
                  <a:gd name="connsiteX4" fmla="*/ 0 w 581999"/>
                  <a:gd name="connsiteY4" fmla="*/ 4998720 h 4998720"/>
                  <a:gd name="connsiteX0" fmla="*/ 281940 w 568102"/>
                  <a:gd name="connsiteY0" fmla="*/ 0 h 4998720"/>
                  <a:gd name="connsiteX1" fmla="*/ 304800 w 568102"/>
                  <a:gd name="connsiteY1" fmla="*/ 998220 h 4998720"/>
                  <a:gd name="connsiteX2" fmla="*/ 510540 w 568102"/>
                  <a:gd name="connsiteY2" fmla="*/ 2727960 h 4998720"/>
                  <a:gd name="connsiteX3" fmla="*/ 464820 w 568102"/>
                  <a:gd name="connsiteY3" fmla="*/ 3848100 h 4998720"/>
                  <a:gd name="connsiteX4" fmla="*/ 0 w 568102"/>
                  <a:gd name="connsiteY4" fmla="*/ 4998720 h 4998720"/>
                  <a:gd name="connsiteX0" fmla="*/ 281940 w 568102"/>
                  <a:gd name="connsiteY0" fmla="*/ 0 h 4998720"/>
                  <a:gd name="connsiteX1" fmla="*/ 304800 w 568102"/>
                  <a:gd name="connsiteY1" fmla="*/ 998220 h 4998720"/>
                  <a:gd name="connsiteX2" fmla="*/ 510540 w 568102"/>
                  <a:gd name="connsiteY2" fmla="*/ 2727960 h 4998720"/>
                  <a:gd name="connsiteX3" fmla="*/ 464820 w 568102"/>
                  <a:gd name="connsiteY3" fmla="*/ 3848100 h 4998720"/>
                  <a:gd name="connsiteX4" fmla="*/ 0 w 568102"/>
                  <a:gd name="connsiteY4" fmla="*/ 4998720 h 4998720"/>
                  <a:gd name="connsiteX0" fmla="*/ 281940 w 568102"/>
                  <a:gd name="connsiteY0" fmla="*/ 0 h 4998720"/>
                  <a:gd name="connsiteX1" fmla="*/ 304800 w 568102"/>
                  <a:gd name="connsiteY1" fmla="*/ 998220 h 4998720"/>
                  <a:gd name="connsiteX2" fmla="*/ 510540 w 568102"/>
                  <a:gd name="connsiteY2" fmla="*/ 2727960 h 4998720"/>
                  <a:gd name="connsiteX3" fmla="*/ 464820 w 568102"/>
                  <a:gd name="connsiteY3" fmla="*/ 3848100 h 4998720"/>
                  <a:gd name="connsiteX4" fmla="*/ 0 w 568102"/>
                  <a:gd name="connsiteY4" fmla="*/ 4998720 h 49987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8102" h="4998720">
                    <a:moveTo>
                      <a:pt x="281940" y="0"/>
                    </a:moveTo>
                    <a:cubicBezTo>
                      <a:pt x="251460" y="302260"/>
                      <a:pt x="198120" y="299720"/>
                      <a:pt x="304800" y="998220"/>
                    </a:cubicBezTo>
                    <a:lnTo>
                      <a:pt x="510540" y="2727960"/>
                    </a:lnTo>
                    <a:cubicBezTo>
                      <a:pt x="586740" y="3505200"/>
                      <a:pt x="601980" y="3474720"/>
                      <a:pt x="464820" y="3848100"/>
                    </a:cubicBezTo>
                    <a:lnTo>
                      <a:pt x="0" y="4998720"/>
                    </a:lnTo>
                  </a:path>
                </a:pathLst>
              </a:custGeom>
              <a:noFill/>
              <a:ln w="9525" cap="rnd" cmpd="sng" algn="ctr">
                <a:solidFill>
                  <a:sysClr val="window" lastClr="FFFFFF"/>
                </a:solidFill>
                <a:prstDash val="solid"/>
                <a:round/>
                <a:headEnd type="none" w="med" len="med"/>
                <a:tailEnd type="none" w="med" len="me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mn-lt"/>
                  <a:ea typeface="+mn-ea"/>
                  <a:cs typeface="+mn-cs"/>
                  <a:sym typeface="+mn-lt"/>
                </a:endParaRPr>
              </a:p>
            </p:txBody>
          </p:sp>
          <p:sp>
            <p:nvSpPr>
              <p:cNvPr id="18" name="Freeform 9">
                <a:extLst>
                  <a:ext uri="{FF2B5EF4-FFF2-40B4-BE49-F238E27FC236}">
                    <a16:creationId xmlns:a16="http://schemas.microsoft.com/office/drawing/2014/main" id="{38215FC7-C33D-4BEC-879F-0802930AD9E7}"/>
                  </a:ext>
                </a:extLst>
              </p:cNvPr>
              <p:cNvSpPr/>
              <p:nvPr userDrawn="1"/>
            </p:nvSpPr>
            <p:spPr>
              <a:xfrm>
                <a:off x="5706951" y="1756385"/>
                <a:ext cx="522382" cy="4839646"/>
              </a:xfrm>
              <a:custGeom>
                <a:avLst/>
                <a:gdLst>
                  <a:gd name="connsiteX0" fmla="*/ 281940 w 510540"/>
                  <a:gd name="connsiteY0" fmla="*/ 0 h 4998720"/>
                  <a:gd name="connsiteX1" fmla="*/ 304800 w 510540"/>
                  <a:gd name="connsiteY1" fmla="*/ 998220 h 4998720"/>
                  <a:gd name="connsiteX2" fmla="*/ 510540 w 510540"/>
                  <a:gd name="connsiteY2" fmla="*/ 2727960 h 4998720"/>
                  <a:gd name="connsiteX3" fmla="*/ 464820 w 510540"/>
                  <a:gd name="connsiteY3" fmla="*/ 3848100 h 4998720"/>
                  <a:gd name="connsiteX4" fmla="*/ 0 w 510540"/>
                  <a:gd name="connsiteY4" fmla="*/ 4998720 h 4998720"/>
                  <a:gd name="connsiteX0" fmla="*/ 281940 w 585809"/>
                  <a:gd name="connsiteY0" fmla="*/ 0 h 4998720"/>
                  <a:gd name="connsiteX1" fmla="*/ 304800 w 585809"/>
                  <a:gd name="connsiteY1" fmla="*/ 998220 h 4998720"/>
                  <a:gd name="connsiteX2" fmla="*/ 510540 w 585809"/>
                  <a:gd name="connsiteY2" fmla="*/ 2727960 h 4998720"/>
                  <a:gd name="connsiteX3" fmla="*/ 464820 w 585809"/>
                  <a:gd name="connsiteY3" fmla="*/ 3848100 h 4998720"/>
                  <a:gd name="connsiteX4" fmla="*/ 0 w 585809"/>
                  <a:gd name="connsiteY4" fmla="*/ 4998720 h 4998720"/>
                  <a:gd name="connsiteX0" fmla="*/ 281940 w 612461"/>
                  <a:gd name="connsiteY0" fmla="*/ 0 h 4998720"/>
                  <a:gd name="connsiteX1" fmla="*/ 304800 w 612461"/>
                  <a:gd name="connsiteY1" fmla="*/ 998220 h 4998720"/>
                  <a:gd name="connsiteX2" fmla="*/ 510540 w 612461"/>
                  <a:gd name="connsiteY2" fmla="*/ 2727960 h 4998720"/>
                  <a:gd name="connsiteX3" fmla="*/ 464820 w 612461"/>
                  <a:gd name="connsiteY3" fmla="*/ 3848100 h 4998720"/>
                  <a:gd name="connsiteX4" fmla="*/ 0 w 612461"/>
                  <a:gd name="connsiteY4" fmla="*/ 4998720 h 4998720"/>
                  <a:gd name="connsiteX0" fmla="*/ 281940 w 581999"/>
                  <a:gd name="connsiteY0" fmla="*/ 0 h 4998720"/>
                  <a:gd name="connsiteX1" fmla="*/ 304800 w 581999"/>
                  <a:gd name="connsiteY1" fmla="*/ 998220 h 4998720"/>
                  <a:gd name="connsiteX2" fmla="*/ 510540 w 581999"/>
                  <a:gd name="connsiteY2" fmla="*/ 2727960 h 4998720"/>
                  <a:gd name="connsiteX3" fmla="*/ 464820 w 581999"/>
                  <a:gd name="connsiteY3" fmla="*/ 3848100 h 4998720"/>
                  <a:gd name="connsiteX4" fmla="*/ 0 w 581999"/>
                  <a:gd name="connsiteY4" fmla="*/ 4998720 h 4998720"/>
                  <a:gd name="connsiteX0" fmla="*/ 281940 w 568102"/>
                  <a:gd name="connsiteY0" fmla="*/ 0 h 4998720"/>
                  <a:gd name="connsiteX1" fmla="*/ 304800 w 568102"/>
                  <a:gd name="connsiteY1" fmla="*/ 998220 h 4998720"/>
                  <a:gd name="connsiteX2" fmla="*/ 510540 w 568102"/>
                  <a:gd name="connsiteY2" fmla="*/ 2727960 h 4998720"/>
                  <a:gd name="connsiteX3" fmla="*/ 464820 w 568102"/>
                  <a:gd name="connsiteY3" fmla="*/ 3848100 h 4998720"/>
                  <a:gd name="connsiteX4" fmla="*/ 0 w 568102"/>
                  <a:gd name="connsiteY4" fmla="*/ 4998720 h 4998720"/>
                  <a:gd name="connsiteX0" fmla="*/ 281940 w 568102"/>
                  <a:gd name="connsiteY0" fmla="*/ 0 h 4998720"/>
                  <a:gd name="connsiteX1" fmla="*/ 304800 w 568102"/>
                  <a:gd name="connsiteY1" fmla="*/ 998220 h 4998720"/>
                  <a:gd name="connsiteX2" fmla="*/ 510540 w 568102"/>
                  <a:gd name="connsiteY2" fmla="*/ 2727960 h 4998720"/>
                  <a:gd name="connsiteX3" fmla="*/ 464820 w 568102"/>
                  <a:gd name="connsiteY3" fmla="*/ 3848100 h 4998720"/>
                  <a:gd name="connsiteX4" fmla="*/ 0 w 568102"/>
                  <a:gd name="connsiteY4" fmla="*/ 4998720 h 4998720"/>
                  <a:gd name="connsiteX0" fmla="*/ 281940 w 568102"/>
                  <a:gd name="connsiteY0" fmla="*/ 0 h 4998720"/>
                  <a:gd name="connsiteX1" fmla="*/ 304800 w 568102"/>
                  <a:gd name="connsiteY1" fmla="*/ 998220 h 4998720"/>
                  <a:gd name="connsiteX2" fmla="*/ 510540 w 568102"/>
                  <a:gd name="connsiteY2" fmla="*/ 2727960 h 4998720"/>
                  <a:gd name="connsiteX3" fmla="*/ 464820 w 568102"/>
                  <a:gd name="connsiteY3" fmla="*/ 3848100 h 4998720"/>
                  <a:gd name="connsiteX4" fmla="*/ 0 w 568102"/>
                  <a:gd name="connsiteY4" fmla="*/ 4998720 h 4998720"/>
                  <a:gd name="connsiteX0" fmla="*/ 236220 w 522382"/>
                  <a:gd name="connsiteY0" fmla="*/ 0 h 4943875"/>
                  <a:gd name="connsiteX1" fmla="*/ 259080 w 522382"/>
                  <a:gd name="connsiteY1" fmla="*/ 998220 h 4943875"/>
                  <a:gd name="connsiteX2" fmla="*/ 464820 w 522382"/>
                  <a:gd name="connsiteY2" fmla="*/ 2727960 h 4943875"/>
                  <a:gd name="connsiteX3" fmla="*/ 419100 w 522382"/>
                  <a:gd name="connsiteY3" fmla="*/ 3848100 h 4943875"/>
                  <a:gd name="connsiteX4" fmla="*/ 0 w 522382"/>
                  <a:gd name="connsiteY4" fmla="*/ 4943875 h 4943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382" h="4943875">
                    <a:moveTo>
                      <a:pt x="236220" y="0"/>
                    </a:moveTo>
                    <a:cubicBezTo>
                      <a:pt x="205740" y="302260"/>
                      <a:pt x="152400" y="299720"/>
                      <a:pt x="259080" y="998220"/>
                    </a:cubicBezTo>
                    <a:lnTo>
                      <a:pt x="464820" y="2727960"/>
                    </a:lnTo>
                    <a:cubicBezTo>
                      <a:pt x="541020" y="3505200"/>
                      <a:pt x="556260" y="3474720"/>
                      <a:pt x="419100" y="3848100"/>
                    </a:cubicBezTo>
                    <a:lnTo>
                      <a:pt x="0" y="4943875"/>
                    </a:lnTo>
                  </a:path>
                </a:pathLst>
              </a:custGeom>
              <a:noFill/>
              <a:ln w="9525" cap="rnd" cmpd="sng" algn="ctr">
                <a:solidFill>
                  <a:sysClr val="window" lastClr="FFFFFF"/>
                </a:solidFill>
                <a:prstDash val="solid"/>
                <a:round/>
                <a:headEnd type="none" w="med" len="med"/>
                <a:tailEnd type="none" w="med" len="me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mn-lt"/>
                  <a:ea typeface="+mn-ea"/>
                  <a:cs typeface="+mn-cs"/>
                  <a:sym typeface="+mn-lt"/>
                </a:endParaRPr>
              </a:p>
            </p:txBody>
          </p:sp>
        </p:grpSp>
        <p:sp>
          <p:nvSpPr>
            <p:cNvPr id="13" name="Freeform 5">
              <a:extLst>
                <a:ext uri="{FF2B5EF4-FFF2-40B4-BE49-F238E27FC236}">
                  <a16:creationId xmlns:a16="http://schemas.microsoft.com/office/drawing/2014/main" id="{DAF0FA26-15F1-4E67-AB37-60716047787E}"/>
                </a:ext>
              </a:extLst>
            </p:cNvPr>
            <p:cNvSpPr/>
            <p:nvPr userDrawn="1"/>
          </p:nvSpPr>
          <p:spPr>
            <a:xfrm>
              <a:off x="5973758" y="-12700"/>
              <a:ext cx="2357442" cy="6858000"/>
            </a:xfrm>
            <a:custGeom>
              <a:avLst/>
              <a:gdLst>
                <a:gd name="connsiteX0" fmla="*/ 1651000 w 2247900"/>
                <a:gd name="connsiteY0" fmla="*/ 6819900 h 6819900"/>
                <a:gd name="connsiteX1" fmla="*/ 381000 w 2247900"/>
                <a:gd name="connsiteY1" fmla="*/ 6819900 h 6819900"/>
                <a:gd name="connsiteX2" fmla="*/ 0 w 2247900"/>
                <a:gd name="connsiteY2" fmla="*/ 4724400 h 6819900"/>
                <a:gd name="connsiteX3" fmla="*/ 762000 w 2247900"/>
                <a:gd name="connsiteY3" fmla="*/ 1968500 h 6819900"/>
                <a:gd name="connsiteX4" fmla="*/ 1727200 w 2247900"/>
                <a:gd name="connsiteY4" fmla="*/ 0 h 6819900"/>
                <a:gd name="connsiteX5" fmla="*/ 2247900 w 2247900"/>
                <a:gd name="connsiteY5" fmla="*/ 0 h 6819900"/>
                <a:gd name="connsiteX6" fmla="*/ 1524000 w 2247900"/>
                <a:gd name="connsiteY6" fmla="*/ 1968500 h 6819900"/>
                <a:gd name="connsiteX7" fmla="*/ 1016000 w 2247900"/>
                <a:gd name="connsiteY7" fmla="*/ 4521200 h 6819900"/>
                <a:gd name="connsiteX8" fmla="*/ 1651000 w 2247900"/>
                <a:gd name="connsiteY8" fmla="*/ 6819900 h 6819900"/>
                <a:gd name="connsiteX0" fmla="*/ 1651000 w 2247900"/>
                <a:gd name="connsiteY0" fmla="*/ 6819900 h 6819900"/>
                <a:gd name="connsiteX1" fmla="*/ 381000 w 2247900"/>
                <a:gd name="connsiteY1" fmla="*/ 6819900 h 6819900"/>
                <a:gd name="connsiteX2" fmla="*/ 0 w 2247900"/>
                <a:gd name="connsiteY2" fmla="*/ 4724400 h 6819900"/>
                <a:gd name="connsiteX3" fmla="*/ 762000 w 2247900"/>
                <a:gd name="connsiteY3" fmla="*/ 1968500 h 6819900"/>
                <a:gd name="connsiteX4" fmla="*/ 1727200 w 2247900"/>
                <a:gd name="connsiteY4" fmla="*/ 0 h 6819900"/>
                <a:gd name="connsiteX5" fmla="*/ 2247900 w 2247900"/>
                <a:gd name="connsiteY5" fmla="*/ 0 h 6819900"/>
                <a:gd name="connsiteX6" fmla="*/ 1524000 w 2247900"/>
                <a:gd name="connsiteY6" fmla="*/ 1968500 h 6819900"/>
                <a:gd name="connsiteX7" fmla="*/ 1168400 w 2247900"/>
                <a:gd name="connsiteY7" fmla="*/ 4711700 h 6819900"/>
                <a:gd name="connsiteX8" fmla="*/ 1651000 w 2247900"/>
                <a:gd name="connsiteY8" fmla="*/ 6819900 h 6819900"/>
                <a:gd name="connsiteX0" fmla="*/ 1651000 w 2247900"/>
                <a:gd name="connsiteY0" fmla="*/ 6819900 h 6819900"/>
                <a:gd name="connsiteX1" fmla="*/ 381000 w 2247900"/>
                <a:gd name="connsiteY1" fmla="*/ 6819900 h 6819900"/>
                <a:gd name="connsiteX2" fmla="*/ 0 w 2247900"/>
                <a:gd name="connsiteY2" fmla="*/ 4724400 h 6819900"/>
                <a:gd name="connsiteX3" fmla="*/ 762000 w 2247900"/>
                <a:gd name="connsiteY3" fmla="*/ 1968500 h 6819900"/>
                <a:gd name="connsiteX4" fmla="*/ 1727200 w 2247900"/>
                <a:gd name="connsiteY4" fmla="*/ 0 h 6819900"/>
                <a:gd name="connsiteX5" fmla="*/ 2247900 w 2247900"/>
                <a:gd name="connsiteY5" fmla="*/ 0 h 6819900"/>
                <a:gd name="connsiteX6" fmla="*/ 1524000 w 2247900"/>
                <a:gd name="connsiteY6" fmla="*/ 1968500 h 6819900"/>
                <a:gd name="connsiteX7" fmla="*/ 1168400 w 2247900"/>
                <a:gd name="connsiteY7" fmla="*/ 4711700 h 6819900"/>
                <a:gd name="connsiteX8" fmla="*/ 1651000 w 2247900"/>
                <a:gd name="connsiteY8" fmla="*/ 6819900 h 6819900"/>
                <a:gd name="connsiteX0" fmla="*/ 1651000 w 2247900"/>
                <a:gd name="connsiteY0" fmla="*/ 6819900 h 6819900"/>
                <a:gd name="connsiteX1" fmla="*/ 381000 w 2247900"/>
                <a:gd name="connsiteY1" fmla="*/ 6819900 h 6819900"/>
                <a:gd name="connsiteX2" fmla="*/ 0 w 2247900"/>
                <a:gd name="connsiteY2" fmla="*/ 4724400 h 6819900"/>
                <a:gd name="connsiteX3" fmla="*/ 762000 w 2247900"/>
                <a:gd name="connsiteY3" fmla="*/ 1968500 h 6819900"/>
                <a:gd name="connsiteX4" fmla="*/ 1727200 w 2247900"/>
                <a:gd name="connsiteY4" fmla="*/ 0 h 6819900"/>
                <a:gd name="connsiteX5" fmla="*/ 2247900 w 2247900"/>
                <a:gd name="connsiteY5" fmla="*/ 0 h 6819900"/>
                <a:gd name="connsiteX6" fmla="*/ 1524000 w 2247900"/>
                <a:gd name="connsiteY6" fmla="*/ 1968500 h 6819900"/>
                <a:gd name="connsiteX7" fmla="*/ 1244600 w 2247900"/>
                <a:gd name="connsiteY7" fmla="*/ 4724400 h 6819900"/>
                <a:gd name="connsiteX8" fmla="*/ 1651000 w 2247900"/>
                <a:gd name="connsiteY8" fmla="*/ 6819900 h 6819900"/>
                <a:gd name="connsiteX0" fmla="*/ 1651000 w 2247900"/>
                <a:gd name="connsiteY0" fmla="*/ 6819900 h 6819900"/>
                <a:gd name="connsiteX1" fmla="*/ 381000 w 2247900"/>
                <a:gd name="connsiteY1" fmla="*/ 6819900 h 6819900"/>
                <a:gd name="connsiteX2" fmla="*/ 0 w 2247900"/>
                <a:gd name="connsiteY2" fmla="*/ 4724400 h 6819900"/>
                <a:gd name="connsiteX3" fmla="*/ 762000 w 2247900"/>
                <a:gd name="connsiteY3" fmla="*/ 1968500 h 6819900"/>
                <a:gd name="connsiteX4" fmla="*/ 1727200 w 2247900"/>
                <a:gd name="connsiteY4" fmla="*/ 0 h 6819900"/>
                <a:gd name="connsiteX5" fmla="*/ 2247900 w 2247900"/>
                <a:gd name="connsiteY5" fmla="*/ 0 h 6819900"/>
                <a:gd name="connsiteX6" fmla="*/ 1524000 w 2247900"/>
                <a:gd name="connsiteY6" fmla="*/ 1968500 h 6819900"/>
                <a:gd name="connsiteX7" fmla="*/ 1244600 w 2247900"/>
                <a:gd name="connsiteY7" fmla="*/ 4724400 h 6819900"/>
                <a:gd name="connsiteX8" fmla="*/ 1651000 w 2247900"/>
                <a:gd name="connsiteY8" fmla="*/ 6819900 h 6819900"/>
                <a:gd name="connsiteX0" fmla="*/ 1651000 w 2247900"/>
                <a:gd name="connsiteY0" fmla="*/ 6819900 h 6819900"/>
                <a:gd name="connsiteX1" fmla="*/ 381000 w 2247900"/>
                <a:gd name="connsiteY1" fmla="*/ 6819900 h 6819900"/>
                <a:gd name="connsiteX2" fmla="*/ 0 w 2247900"/>
                <a:gd name="connsiteY2" fmla="*/ 4724400 h 6819900"/>
                <a:gd name="connsiteX3" fmla="*/ 762000 w 2247900"/>
                <a:gd name="connsiteY3" fmla="*/ 1968500 h 6819900"/>
                <a:gd name="connsiteX4" fmla="*/ 1727200 w 2247900"/>
                <a:gd name="connsiteY4" fmla="*/ 0 h 6819900"/>
                <a:gd name="connsiteX5" fmla="*/ 2247900 w 2247900"/>
                <a:gd name="connsiteY5" fmla="*/ 0 h 6819900"/>
                <a:gd name="connsiteX6" fmla="*/ 1524000 w 2247900"/>
                <a:gd name="connsiteY6" fmla="*/ 1968500 h 6819900"/>
                <a:gd name="connsiteX7" fmla="*/ 1244600 w 2247900"/>
                <a:gd name="connsiteY7" fmla="*/ 4724400 h 6819900"/>
                <a:gd name="connsiteX8" fmla="*/ 1651000 w 2247900"/>
                <a:gd name="connsiteY8" fmla="*/ 6819900 h 6819900"/>
                <a:gd name="connsiteX0" fmla="*/ 1651000 w 2247900"/>
                <a:gd name="connsiteY0" fmla="*/ 6819900 h 6819900"/>
                <a:gd name="connsiteX1" fmla="*/ 381000 w 2247900"/>
                <a:gd name="connsiteY1" fmla="*/ 6819900 h 6819900"/>
                <a:gd name="connsiteX2" fmla="*/ 0 w 2247900"/>
                <a:gd name="connsiteY2" fmla="*/ 4724400 h 6819900"/>
                <a:gd name="connsiteX3" fmla="*/ 762000 w 2247900"/>
                <a:gd name="connsiteY3" fmla="*/ 1968500 h 6819900"/>
                <a:gd name="connsiteX4" fmla="*/ 1727200 w 2247900"/>
                <a:gd name="connsiteY4" fmla="*/ 0 h 6819900"/>
                <a:gd name="connsiteX5" fmla="*/ 2247900 w 2247900"/>
                <a:gd name="connsiteY5" fmla="*/ 0 h 6819900"/>
                <a:gd name="connsiteX6" fmla="*/ 1524000 w 2247900"/>
                <a:gd name="connsiteY6" fmla="*/ 1968500 h 6819900"/>
                <a:gd name="connsiteX7" fmla="*/ 1308100 w 2247900"/>
                <a:gd name="connsiteY7" fmla="*/ 4699000 h 6819900"/>
                <a:gd name="connsiteX8" fmla="*/ 1651000 w 2247900"/>
                <a:gd name="connsiteY8" fmla="*/ 6819900 h 6819900"/>
                <a:gd name="connsiteX0" fmla="*/ 1651000 w 2247900"/>
                <a:gd name="connsiteY0" fmla="*/ 6819900 h 6819900"/>
                <a:gd name="connsiteX1" fmla="*/ 381000 w 2247900"/>
                <a:gd name="connsiteY1" fmla="*/ 6819900 h 6819900"/>
                <a:gd name="connsiteX2" fmla="*/ 0 w 2247900"/>
                <a:gd name="connsiteY2" fmla="*/ 4724400 h 6819900"/>
                <a:gd name="connsiteX3" fmla="*/ 762000 w 2247900"/>
                <a:gd name="connsiteY3" fmla="*/ 1968500 h 6819900"/>
                <a:gd name="connsiteX4" fmla="*/ 1727200 w 2247900"/>
                <a:gd name="connsiteY4" fmla="*/ 0 h 6819900"/>
                <a:gd name="connsiteX5" fmla="*/ 2247900 w 2247900"/>
                <a:gd name="connsiteY5" fmla="*/ 0 h 6819900"/>
                <a:gd name="connsiteX6" fmla="*/ 1638300 w 2247900"/>
                <a:gd name="connsiteY6" fmla="*/ 2032000 h 6819900"/>
                <a:gd name="connsiteX7" fmla="*/ 1308100 w 2247900"/>
                <a:gd name="connsiteY7" fmla="*/ 4699000 h 6819900"/>
                <a:gd name="connsiteX8" fmla="*/ 1651000 w 2247900"/>
                <a:gd name="connsiteY8" fmla="*/ 6819900 h 6819900"/>
                <a:gd name="connsiteX0" fmla="*/ 1651000 w 2247900"/>
                <a:gd name="connsiteY0" fmla="*/ 6819900 h 6819900"/>
                <a:gd name="connsiteX1" fmla="*/ 381000 w 2247900"/>
                <a:gd name="connsiteY1" fmla="*/ 6819900 h 6819900"/>
                <a:gd name="connsiteX2" fmla="*/ 0 w 2247900"/>
                <a:gd name="connsiteY2" fmla="*/ 4724400 h 6819900"/>
                <a:gd name="connsiteX3" fmla="*/ 762000 w 2247900"/>
                <a:gd name="connsiteY3" fmla="*/ 1968500 h 6819900"/>
                <a:gd name="connsiteX4" fmla="*/ 1727200 w 2247900"/>
                <a:gd name="connsiteY4" fmla="*/ 0 h 6819900"/>
                <a:gd name="connsiteX5" fmla="*/ 2247900 w 2247900"/>
                <a:gd name="connsiteY5" fmla="*/ 0 h 6819900"/>
                <a:gd name="connsiteX6" fmla="*/ 1638300 w 2247900"/>
                <a:gd name="connsiteY6" fmla="*/ 2032000 h 6819900"/>
                <a:gd name="connsiteX7" fmla="*/ 1308100 w 2247900"/>
                <a:gd name="connsiteY7" fmla="*/ 4699000 h 6819900"/>
                <a:gd name="connsiteX8" fmla="*/ 1651000 w 2247900"/>
                <a:gd name="connsiteY8" fmla="*/ 6819900 h 6819900"/>
                <a:gd name="connsiteX0" fmla="*/ 1651000 w 2247900"/>
                <a:gd name="connsiteY0" fmla="*/ 6819900 h 6819900"/>
                <a:gd name="connsiteX1" fmla="*/ 381000 w 2247900"/>
                <a:gd name="connsiteY1" fmla="*/ 6819900 h 6819900"/>
                <a:gd name="connsiteX2" fmla="*/ 0 w 2247900"/>
                <a:gd name="connsiteY2" fmla="*/ 4724400 h 6819900"/>
                <a:gd name="connsiteX3" fmla="*/ 762000 w 2247900"/>
                <a:gd name="connsiteY3" fmla="*/ 1968500 h 6819900"/>
                <a:gd name="connsiteX4" fmla="*/ 1727200 w 2247900"/>
                <a:gd name="connsiteY4" fmla="*/ 0 h 6819900"/>
                <a:gd name="connsiteX5" fmla="*/ 2247900 w 2247900"/>
                <a:gd name="connsiteY5" fmla="*/ 0 h 6819900"/>
                <a:gd name="connsiteX6" fmla="*/ 1638300 w 2247900"/>
                <a:gd name="connsiteY6" fmla="*/ 2032000 h 6819900"/>
                <a:gd name="connsiteX7" fmla="*/ 1308100 w 2247900"/>
                <a:gd name="connsiteY7" fmla="*/ 4699000 h 6819900"/>
                <a:gd name="connsiteX8" fmla="*/ 1651000 w 2247900"/>
                <a:gd name="connsiteY8" fmla="*/ 6819900 h 6819900"/>
                <a:gd name="connsiteX0" fmla="*/ 1651000 w 2247900"/>
                <a:gd name="connsiteY0" fmla="*/ 6819900 h 6819900"/>
                <a:gd name="connsiteX1" fmla="*/ 381000 w 2247900"/>
                <a:gd name="connsiteY1" fmla="*/ 6819900 h 6819900"/>
                <a:gd name="connsiteX2" fmla="*/ 0 w 2247900"/>
                <a:gd name="connsiteY2" fmla="*/ 4724400 h 6819900"/>
                <a:gd name="connsiteX3" fmla="*/ 762000 w 2247900"/>
                <a:gd name="connsiteY3" fmla="*/ 1968500 h 6819900"/>
                <a:gd name="connsiteX4" fmla="*/ 1727200 w 2247900"/>
                <a:gd name="connsiteY4" fmla="*/ 0 h 6819900"/>
                <a:gd name="connsiteX5" fmla="*/ 2247900 w 2247900"/>
                <a:gd name="connsiteY5" fmla="*/ 0 h 6819900"/>
                <a:gd name="connsiteX6" fmla="*/ 1638300 w 2247900"/>
                <a:gd name="connsiteY6" fmla="*/ 2032000 h 6819900"/>
                <a:gd name="connsiteX7" fmla="*/ 1308100 w 2247900"/>
                <a:gd name="connsiteY7" fmla="*/ 4699000 h 6819900"/>
                <a:gd name="connsiteX8" fmla="*/ 1651000 w 2247900"/>
                <a:gd name="connsiteY8" fmla="*/ 6819900 h 6819900"/>
                <a:gd name="connsiteX0" fmla="*/ 1651000 w 2286000"/>
                <a:gd name="connsiteY0" fmla="*/ 6832600 h 6832600"/>
                <a:gd name="connsiteX1" fmla="*/ 381000 w 2286000"/>
                <a:gd name="connsiteY1" fmla="*/ 6832600 h 6832600"/>
                <a:gd name="connsiteX2" fmla="*/ 0 w 2286000"/>
                <a:gd name="connsiteY2" fmla="*/ 4737100 h 6832600"/>
                <a:gd name="connsiteX3" fmla="*/ 762000 w 2286000"/>
                <a:gd name="connsiteY3" fmla="*/ 1981200 h 6832600"/>
                <a:gd name="connsiteX4" fmla="*/ 1727200 w 2286000"/>
                <a:gd name="connsiteY4" fmla="*/ 12700 h 6832600"/>
                <a:gd name="connsiteX5" fmla="*/ 2286000 w 2286000"/>
                <a:gd name="connsiteY5" fmla="*/ 0 h 6832600"/>
                <a:gd name="connsiteX6" fmla="*/ 1638300 w 2286000"/>
                <a:gd name="connsiteY6" fmla="*/ 2044700 h 6832600"/>
                <a:gd name="connsiteX7" fmla="*/ 1308100 w 2286000"/>
                <a:gd name="connsiteY7" fmla="*/ 4711700 h 6832600"/>
                <a:gd name="connsiteX8" fmla="*/ 1651000 w 2286000"/>
                <a:gd name="connsiteY8" fmla="*/ 6832600 h 6832600"/>
                <a:gd name="connsiteX0" fmla="*/ 1651000 w 2286000"/>
                <a:gd name="connsiteY0" fmla="*/ 6832600 h 6832600"/>
                <a:gd name="connsiteX1" fmla="*/ 381000 w 2286000"/>
                <a:gd name="connsiteY1" fmla="*/ 6832600 h 6832600"/>
                <a:gd name="connsiteX2" fmla="*/ 0 w 2286000"/>
                <a:gd name="connsiteY2" fmla="*/ 4737100 h 6832600"/>
                <a:gd name="connsiteX3" fmla="*/ 863600 w 2286000"/>
                <a:gd name="connsiteY3" fmla="*/ 1993900 h 6832600"/>
                <a:gd name="connsiteX4" fmla="*/ 1727200 w 2286000"/>
                <a:gd name="connsiteY4" fmla="*/ 12700 h 6832600"/>
                <a:gd name="connsiteX5" fmla="*/ 2286000 w 2286000"/>
                <a:gd name="connsiteY5" fmla="*/ 0 h 6832600"/>
                <a:gd name="connsiteX6" fmla="*/ 1638300 w 2286000"/>
                <a:gd name="connsiteY6" fmla="*/ 2044700 h 6832600"/>
                <a:gd name="connsiteX7" fmla="*/ 1308100 w 2286000"/>
                <a:gd name="connsiteY7" fmla="*/ 4711700 h 6832600"/>
                <a:gd name="connsiteX8" fmla="*/ 1651000 w 2286000"/>
                <a:gd name="connsiteY8" fmla="*/ 6832600 h 6832600"/>
                <a:gd name="connsiteX0" fmla="*/ 1651000 w 2286000"/>
                <a:gd name="connsiteY0" fmla="*/ 6832600 h 6832600"/>
                <a:gd name="connsiteX1" fmla="*/ 381000 w 2286000"/>
                <a:gd name="connsiteY1" fmla="*/ 6832600 h 6832600"/>
                <a:gd name="connsiteX2" fmla="*/ 0 w 2286000"/>
                <a:gd name="connsiteY2" fmla="*/ 4737100 h 6832600"/>
                <a:gd name="connsiteX3" fmla="*/ 863600 w 2286000"/>
                <a:gd name="connsiteY3" fmla="*/ 1993900 h 6832600"/>
                <a:gd name="connsiteX4" fmla="*/ 1727200 w 2286000"/>
                <a:gd name="connsiteY4" fmla="*/ 12700 h 6832600"/>
                <a:gd name="connsiteX5" fmla="*/ 2286000 w 2286000"/>
                <a:gd name="connsiteY5" fmla="*/ 0 h 6832600"/>
                <a:gd name="connsiteX6" fmla="*/ 1638300 w 2286000"/>
                <a:gd name="connsiteY6" fmla="*/ 2044700 h 6832600"/>
                <a:gd name="connsiteX7" fmla="*/ 1308100 w 2286000"/>
                <a:gd name="connsiteY7" fmla="*/ 4711700 h 6832600"/>
                <a:gd name="connsiteX8" fmla="*/ 1651000 w 2286000"/>
                <a:gd name="connsiteY8" fmla="*/ 6832600 h 6832600"/>
                <a:gd name="connsiteX0" fmla="*/ 1651000 w 2286000"/>
                <a:gd name="connsiteY0" fmla="*/ 6832600 h 6832600"/>
                <a:gd name="connsiteX1" fmla="*/ 381000 w 2286000"/>
                <a:gd name="connsiteY1" fmla="*/ 6832600 h 6832600"/>
                <a:gd name="connsiteX2" fmla="*/ 0 w 2286000"/>
                <a:gd name="connsiteY2" fmla="*/ 4737100 h 6832600"/>
                <a:gd name="connsiteX3" fmla="*/ 863600 w 2286000"/>
                <a:gd name="connsiteY3" fmla="*/ 1993900 h 6832600"/>
                <a:gd name="connsiteX4" fmla="*/ 1600200 w 2286000"/>
                <a:gd name="connsiteY4" fmla="*/ 12700 h 6832600"/>
                <a:gd name="connsiteX5" fmla="*/ 2286000 w 2286000"/>
                <a:gd name="connsiteY5" fmla="*/ 0 h 6832600"/>
                <a:gd name="connsiteX6" fmla="*/ 1638300 w 2286000"/>
                <a:gd name="connsiteY6" fmla="*/ 2044700 h 6832600"/>
                <a:gd name="connsiteX7" fmla="*/ 1308100 w 2286000"/>
                <a:gd name="connsiteY7" fmla="*/ 4711700 h 6832600"/>
                <a:gd name="connsiteX8" fmla="*/ 1651000 w 2286000"/>
                <a:gd name="connsiteY8" fmla="*/ 6832600 h 6832600"/>
                <a:gd name="connsiteX0" fmla="*/ 1727976 w 2362976"/>
                <a:gd name="connsiteY0" fmla="*/ 6832600 h 6832600"/>
                <a:gd name="connsiteX1" fmla="*/ 457976 w 2362976"/>
                <a:gd name="connsiteY1" fmla="*/ 6832600 h 6832600"/>
                <a:gd name="connsiteX2" fmla="*/ 76976 w 2362976"/>
                <a:gd name="connsiteY2" fmla="*/ 4737100 h 6832600"/>
                <a:gd name="connsiteX3" fmla="*/ 940576 w 2362976"/>
                <a:gd name="connsiteY3" fmla="*/ 1993900 h 6832600"/>
                <a:gd name="connsiteX4" fmla="*/ 1677176 w 2362976"/>
                <a:gd name="connsiteY4" fmla="*/ 12700 h 6832600"/>
                <a:gd name="connsiteX5" fmla="*/ 2362976 w 2362976"/>
                <a:gd name="connsiteY5" fmla="*/ 0 h 6832600"/>
                <a:gd name="connsiteX6" fmla="*/ 1715276 w 2362976"/>
                <a:gd name="connsiteY6" fmla="*/ 2044700 h 6832600"/>
                <a:gd name="connsiteX7" fmla="*/ 1385076 w 2362976"/>
                <a:gd name="connsiteY7" fmla="*/ 4711700 h 6832600"/>
                <a:gd name="connsiteX8" fmla="*/ 1727976 w 2362976"/>
                <a:gd name="connsiteY8" fmla="*/ 6832600 h 6832600"/>
                <a:gd name="connsiteX0" fmla="*/ 1745560 w 2380560"/>
                <a:gd name="connsiteY0" fmla="*/ 6832600 h 6832600"/>
                <a:gd name="connsiteX1" fmla="*/ 475560 w 2380560"/>
                <a:gd name="connsiteY1" fmla="*/ 6832600 h 6832600"/>
                <a:gd name="connsiteX2" fmla="*/ 94560 w 2380560"/>
                <a:gd name="connsiteY2" fmla="*/ 4737100 h 6832600"/>
                <a:gd name="connsiteX3" fmla="*/ 958160 w 2380560"/>
                <a:gd name="connsiteY3" fmla="*/ 1993900 h 6832600"/>
                <a:gd name="connsiteX4" fmla="*/ 1694760 w 2380560"/>
                <a:gd name="connsiteY4" fmla="*/ 12700 h 6832600"/>
                <a:gd name="connsiteX5" fmla="*/ 2380560 w 2380560"/>
                <a:gd name="connsiteY5" fmla="*/ 0 h 6832600"/>
                <a:gd name="connsiteX6" fmla="*/ 1732860 w 2380560"/>
                <a:gd name="connsiteY6" fmla="*/ 2044700 h 6832600"/>
                <a:gd name="connsiteX7" fmla="*/ 1402660 w 2380560"/>
                <a:gd name="connsiteY7" fmla="*/ 4711700 h 6832600"/>
                <a:gd name="connsiteX8" fmla="*/ 1745560 w 2380560"/>
                <a:gd name="connsiteY8" fmla="*/ 6832600 h 6832600"/>
                <a:gd name="connsiteX0" fmla="*/ 1676931 w 2311931"/>
                <a:gd name="connsiteY0" fmla="*/ 6832600 h 6832600"/>
                <a:gd name="connsiteX1" fmla="*/ 406931 w 2311931"/>
                <a:gd name="connsiteY1" fmla="*/ 6832600 h 6832600"/>
                <a:gd name="connsiteX2" fmla="*/ 25931 w 2311931"/>
                <a:gd name="connsiteY2" fmla="*/ 4737100 h 6832600"/>
                <a:gd name="connsiteX3" fmla="*/ 889531 w 2311931"/>
                <a:gd name="connsiteY3" fmla="*/ 1993900 h 6832600"/>
                <a:gd name="connsiteX4" fmla="*/ 1626131 w 2311931"/>
                <a:gd name="connsiteY4" fmla="*/ 12700 h 6832600"/>
                <a:gd name="connsiteX5" fmla="*/ 2311931 w 2311931"/>
                <a:gd name="connsiteY5" fmla="*/ 0 h 6832600"/>
                <a:gd name="connsiteX6" fmla="*/ 1664231 w 2311931"/>
                <a:gd name="connsiteY6" fmla="*/ 2044700 h 6832600"/>
                <a:gd name="connsiteX7" fmla="*/ 1334031 w 2311931"/>
                <a:gd name="connsiteY7" fmla="*/ 4711700 h 6832600"/>
                <a:gd name="connsiteX8" fmla="*/ 1676931 w 2311931"/>
                <a:gd name="connsiteY8" fmla="*/ 6832600 h 6832600"/>
                <a:gd name="connsiteX0" fmla="*/ 1713441 w 2348441"/>
                <a:gd name="connsiteY0" fmla="*/ 6832600 h 6832600"/>
                <a:gd name="connsiteX1" fmla="*/ 443441 w 2348441"/>
                <a:gd name="connsiteY1" fmla="*/ 6832600 h 6832600"/>
                <a:gd name="connsiteX2" fmla="*/ 62441 w 2348441"/>
                <a:gd name="connsiteY2" fmla="*/ 4737100 h 6832600"/>
                <a:gd name="connsiteX3" fmla="*/ 926041 w 2348441"/>
                <a:gd name="connsiteY3" fmla="*/ 1993900 h 6832600"/>
                <a:gd name="connsiteX4" fmla="*/ 1662641 w 2348441"/>
                <a:gd name="connsiteY4" fmla="*/ 12700 h 6832600"/>
                <a:gd name="connsiteX5" fmla="*/ 2348441 w 2348441"/>
                <a:gd name="connsiteY5" fmla="*/ 0 h 6832600"/>
                <a:gd name="connsiteX6" fmla="*/ 1700741 w 2348441"/>
                <a:gd name="connsiteY6" fmla="*/ 2044700 h 6832600"/>
                <a:gd name="connsiteX7" fmla="*/ 1370541 w 2348441"/>
                <a:gd name="connsiteY7" fmla="*/ 4711700 h 6832600"/>
                <a:gd name="connsiteX8" fmla="*/ 1713441 w 2348441"/>
                <a:gd name="connsiteY8" fmla="*/ 6832600 h 6832600"/>
                <a:gd name="connsiteX0" fmla="*/ 1756980 w 2391980"/>
                <a:gd name="connsiteY0" fmla="*/ 6832600 h 6832600"/>
                <a:gd name="connsiteX1" fmla="*/ 486980 w 2391980"/>
                <a:gd name="connsiteY1" fmla="*/ 6832600 h 6832600"/>
                <a:gd name="connsiteX2" fmla="*/ 105980 w 2391980"/>
                <a:gd name="connsiteY2" fmla="*/ 4737100 h 6832600"/>
                <a:gd name="connsiteX3" fmla="*/ 969580 w 2391980"/>
                <a:gd name="connsiteY3" fmla="*/ 1993900 h 6832600"/>
                <a:gd name="connsiteX4" fmla="*/ 1706180 w 2391980"/>
                <a:gd name="connsiteY4" fmla="*/ 12700 h 6832600"/>
                <a:gd name="connsiteX5" fmla="*/ 2391980 w 2391980"/>
                <a:gd name="connsiteY5" fmla="*/ 0 h 6832600"/>
                <a:gd name="connsiteX6" fmla="*/ 1744280 w 2391980"/>
                <a:gd name="connsiteY6" fmla="*/ 2044700 h 6832600"/>
                <a:gd name="connsiteX7" fmla="*/ 1414080 w 2391980"/>
                <a:gd name="connsiteY7" fmla="*/ 4711700 h 6832600"/>
                <a:gd name="connsiteX8" fmla="*/ 1756980 w 2391980"/>
                <a:gd name="connsiteY8" fmla="*/ 6832600 h 6832600"/>
                <a:gd name="connsiteX0" fmla="*/ 1766447 w 2401447"/>
                <a:gd name="connsiteY0" fmla="*/ 6832600 h 6832600"/>
                <a:gd name="connsiteX1" fmla="*/ 496447 w 2401447"/>
                <a:gd name="connsiteY1" fmla="*/ 6832600 h 6832600"/>
                <a:gd name="connsiteX2" fmla="*/ 115447 w 2401447"/>
                <a:gd name="connsiteY2" fmla="*/ 4737100 h 6832600"/>
                <a:gd name="connsiteX3" fmla="*/ 928247 w 2401447"/>
                <a:gd name="connsiteY3" fmla="*/ 1993900 h 6832600"/>
                <a:gd name="connsiteX4" fmla="*/ 1715647 w 2401447"/>
                <a:gd name="connsiteY4" fmla="*/ 12700 h 6832600"/>
                <a:gd name="connsiteX5" fmla="*/ 2401447 w 2401447"/>
                <a:gd name="connsiteY5" fmla="*/ 0 h 6832600"/>
                <a:gd name="connsiteX6" fmla="*/ 1753747 w 2401447"/>
                <a:gd name="connsiteY6" fmla="*/ 2044700 h 6832600"/>
                <a:gd name="connsiteX7" fmla="*/ 1423547 w 2401447"/>
                <a:gd name="connsiteY7" fmla="*/ 4711700 h 6832600"/>
                <a:gd name="connsiteX8" fmla="*/ 1766447 w 2401447"/>
                <a:gd name="connsiteY8" fmla="*/ 6832600 h 6832600"/>
                <a:gd name="connsiteX0" fmla="*/ 1715508 w 2350508"/>
                <a:gd name="connsiteY0" fmla="*/ 6832600 h 6832600"/>
                <a:gd name="connsiteX1" fmla="*/ 445508 w 2350508"/>
                <a:gd name="connsiteY1" fmla="*/ 6832600 h 6832600"/>
                <a:gd name="connsiteX2" fmla="*/ 64508 w 2350508"/>
                <a:gd name="connsiteY2" fmla="*/ 4737100 h 6832600"/>
                <a:gd name="connsiteX3" fmla="*/ 877308 w 2350508"/>
                <a:gd name="connsiteY3" fmla="*/ 1993900 h 6832600"/>
                <a:gd name="connsiteX4" fmla="*/ 1664708 w 2350508"/>
                <a:gd name="connsiteY4" fmla="*/ 12700 h 6832600"/>
                <a:gd name="connsiteX5" fmla="*/ 2350508 w 2350508"/>
                <a:gd name="connsiteY5" fmla="*/ 0 h 6832600"/>
                <a:gd name="connsiteX6" fmla="*/ 1702808 w 2350508"/>
                <a:gd name="connsiteY6" fmla="*/ 2044700 h 6832600"/>
                <a:gd name="connsiteX7" fmla="*/ 1372608 w 2350508"/>
                <a:gd name="connsiteY7" fmla="*/ 4711700 h 6832600"/>
                <a:gd name="connsiteX8" fmla="*/ 1715508 w 2350508"/>
                <a:gd name="connsiteY8" fmla="*/ 6832600 h 6832600"/>
                <a:gd name="connsiteX0" fmla="*/ 1698933 w 2333933"/>
                <a:gd name="connsiteY0" fmla="*/ 6832600 h 6832600"/>
                <a:gd name="connsiteX1" fmla="*/ 428933 w 2333933"/>
                <a:gd name="connsiteY1" fmla="*/ 6832600 h 6832600"/>
                <a:gd name="connsiteX2" fmla="*/ 47933 w 2333933"/>
                <a:gd name="connsiteY2" fmla="*/ 4737100 h 6832600"/>
                <a:gd name="connsiteX3" fmla="*/ 860733 w 2333933"/>
                <a:gd name="connsiteY3" fmla="*/ 1993900 h 6832600"/>
                <a:gd name="connsiteX4" fmla="*/ 1648133 w 2333933"/>
                <a:gd name="connsiteY4" fmla="*/ 12700 h 6832600"/>
                <a:gd name="connsiteX5" fmla="*/ 2333933 w 2333933"/>
                <a:gd name="connsiteY5" fmla="*/ 0 h 6832600"/>
                <a:gd name="connsiteX6" fmla="*/ 1686233 w 2333933"/>
                <a:gd name="connsiteY6" fmla="*/ 2044700 h 6832600"/>
                <a:gd name="connsiteX7" fmla="*/ 1356033 w 2333933"/>
                <a:gd name="connsiteY7" fmla="*/ 4711700 h 6832600"/>
                <a:gd name="connsiteX8" fmla="*/ 1698933 w 2333933"/>
                <a:gd name="connsiteY8" fmla="*/ 6832600 h 6832600"/>
                <a:gd name="connsiteX0" fmla="*/ 1702652 w 2337652"/>
                <a:gd name="connsiteY0" fmla="*/ 6832600 h 6832600"/>
                <a:gd name="connsiteX1" fmla="*/ 432652 w 2337652"/>
                <a:gd name="connsiteY1" fmla="*/ 6832600 h 6832600"/>
                <a:gd name="connsiteX2" fmla="*/ 51652 w 2337652"/>
                <a:gd name="connsiteY2" fmla="*/ 4737100 h 6832600"/>
                <a:gd name="connsiteX3" fmla="*/ 788252 w 2337652"/>
                <a:gd name="connsiteY3" fmla="*/ 1968500 h 6832600"/>
                <a:gd name="connsiteX4" fmla="*/ 1651852 w 2337652"/>
                <a:gd name="connsiteY4" fmla="*/ 12700 h 6832600"/>
                <a:gd name="connsiteX5" fmla="*/ 2337652 w 2337652"/>
                <a:gd name="connsiteY5" fmla="*/ 0 h 6832600"/>
                <a:gd name="connsiteX6" fmla="*/ 1689952 w 2337652"/>
                <a:gd name="connsiteY6" fmla="*/ 2044700 h 6832600"/>
                <a:gd name="connsiteX7" fmla="*/ 1359752 w 2337652"/>
                <a:gd name="connsiteY7" fmla="*/ 4711700 h 6832600"/>
                <a:gd name="connsiteX8" fmla="*/ 1702652 w 2337652"/>
                <a:gd name="connsiteY8" fmla="*/ 6832600 h 6832600"/>
                <a:gd name="connsiteX0" fmla="*/ 1737855 w 2372855"/>
                <a:gd name="connsiteY0" fmla="*/ 6832600 h 6832600"/>
                <a:gd name="connsiteX1" fmla="*/ 467855 w 2372855"/>
                <a:gd name="connsiteY1" fmla="*/ 6832600 h 6832600"/>
                <a:gd name="connsiteX2" fmla="*/ 86855 w 2372855"/>
                <a:gd name="connsiteY2" fmla="*/ 4737100 h 6832600"/>
                <a:gd name="connsiteX3" fmla="*/ 823455 w 2372855"/>
                <a:gd name="connsiteY3" fmla="*/ 1968500 h 6832600"/>
                <a:gd name="connsiteX4" fmla="*/ 1687055 w 2372855"/>
                <a:gd name="connsiteY4" fmla="*/ 12700 h 6832600"/>
                <a:gd name="connsiteX5" fmla="*/ 2372855 w 2372855"/>
                <a:gd name="connsiteY5" fmla="*/ 0 h 6832600"/>
                <a:gd name="connsiteX6" fmla="*/ 1725155 w 2372855"/>
                <a:gd name="connsiteY6" fmla="*/ 2044700 h 6832600"/>
                <a:gd name="connsiteX7" fmla="*/ 1394955 w 2372855"/>
                <a:gd name="connsiteY7" fmla="*/ 4711700 h 6832600"/>
                <a:gd name="connsiteX8" fmla="*/ 1737855 w 2372855"/>
                <a:gd name="connsiteY8" fmla="*/ 6832600 h 6832600"/>
                <a:gd name="connsiteX0" fmla="*/ 1722442 w 2357442"/>
                <a:gd name="connsiteY0" fmla="*/ 6832600 h 6832600"/>
                <a:gd name="connsiteX1" fmla="*/ 452442 w 2357442"/>
                <a:gd name="connsiteY1" fmla="*/ 6832600 h 6832600"/>
                <a:gd name="connsiteX2" fmla="*/ 71442 w 2357442"/>
                <a:gd name="connsiteY2" fmla="*/ 4737100 h 6832600"/>
                <a:gd name="connsiteX3" fmla="*/ 808042 w 2357442"/>
                <a:gd name="connsiteY3" fmla="*/ 1968500 h 6832600"/>
                <a:gd name="connsiteX4" fmla="*/ 1671642 w 2357442"/>
                <a:gd name="connsiteY4" fmla="*/ 12700 h 6832600"/>
                <a:gd name="connsiteX5" fmla="*/ 2357442 w 2357442"/>
                <a:gd name="connsiteY5" fmla="*/ 0 h 6832600"/>
                <a:gd name="connsiteX6" fmla="*/ 1709742 w 2357442"/>
                <a:gd name="connsiteY6" fmla="*/ 2044700 h 6832600"/>
                <a:gd name="connsiteX7" fmla="*/ 1379542 w 2357442"/>
                <a:gd name="connsiteY7" fmla="*/ 4711700 h 6832600"/>
                <a:gd name="connsiteX8" fmla="*/ 1722442 w 2357442"/>
                <a:gd name="connsiteY8" fmla="*/ 6832600 h 6832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57442" h="6832600">
                  <a:moveTo>
                    <a:pt x="1722442" y="6832600"/>
                  </a:moveTo>
                  <a:lnTo>
                    <a:pt x="452442" y="6832600"/>
                  </a:lnTo>
                  <a:lnTo>
                    <a:pt x="71442" y="4737100"/>
                  </a:lnTo>
                  <a:cubicBezTo>
                    <a:pt x="-148691" y="3708400"/>
                    <a:pt x="151875" y="3352800"/>
                    <a:pt x="808042" y="1968500"/>
                  </a:cubicBezTo>
                  <a:cubicBezTo>
                    <a:pt x="1070509" y="1282700"/>
                    <a:pt x="1383775" y="673100"/>
                    <a:pt x="1671642" y="12700"/>
                  </a:cubicBezTo>
                  <a:lnTo>
                    <a:pt x="2357442" y="0"/>
                  </a:lnTo>
                  <a:lnTo>
                    <a:pt x="1709742" y="2044700"/>
                  </a:lnTo>
                  <a:cubicBezTo>
                    <a:pt x="1273709" y="3416300"/>
                    <a:pt x="1142475" y="3619500"/>
                    <a:pt x="1379542" y="4711700"/>
                  </a:cubicBezTo>
                  <a:lnTo>
                    <a:pt x="1722442" y="6832600"/>
                  </a:lnTo>
                  <a:close/>
                </a:path>
              </a:pathLst>
            </a:custGeom>
            <a:gradFill>
              <a:gsLst>
                <a:gs pos="0">
                  <a:srgbClr val="478D39"/>
                </a:gs>
                <a:gs pos="100000">
                  <a:srgbClr val="78B944"/>
                </a:gs>
              </a:gsLst>
              <a:lin ang="8100000" scaled="1"/>
            </a:gradFill>
            <a:ln w="10795" cap="flat" cmpd="sng" algn="ctr">
              <a:noFill/>
              <a:prstDash val="solid"/>
            </a:ln>
            <a:effectLst/>
          </p:spPr>
          <p:txBody>
            <a:bodyPr wrap="square" rtlCol="0" anchor="t">
              <a:noAutofit/>
            </a:bodyPr>
            <a:lstStyle/>
            <a:p>
              <a:pPr marL="0" marR="0" lvl="0" indent="0" defTabSz="914400" eaLnBrk="1" fontAlgn="auto" latinLnBrk="0" hangingPunct="1">
                <a:lnSpc>
                  <a:spcPct val="90000"/>
                </a:lnSpc>
                <a:spcBef>
                  <a:spcPts val="0"/>
                </a:spcBef>
                <a:spcAft>
                  <a:spcPts val="1000"/>
                </a:spcAft>
                <a:buClrTx/>
                <a:buSzTx/>
                <a:buFontTx/>
                <a:buNone/>
                <a:tabLst/>
                <a:defRPr/>
              </a:pPr>
              <a:r>
                <a:rPr kumimoji="0" lang="en-US" sz="1200" b="0" i="0" u="none" strike="noStrike" kern="0" cap="none" spc="0" normalizeH="0" baseline="0" noProof="0">
                  <a:ln>
                    <a:noFill/>
                  </a:ln>
                  <a:solidFill>
                    <a:prstClr val="white"/>
                  </a:solidFill>
                  <a:effectLst/>
                  <a:uLnTx/>
                  <a:uFillTx/>
                  <a:latin typeface="+mn-lt"/>
                  <a:ea typeface="+mn-ea"/>
                  <a:cs typeface="+mn-cs"/>
                  <a:sym typeface="+mn-lt"/>
                </a:rPr>
                <a:t>g</a:t>
              </a:r>
            </a:p>
          </p:txBody>
        </p:sp>
      </p:grpSp>
      <p:grpSp>
        <p:nvGrpSpPr>
          <p:cNvPr id="19" name="Group 18">
            <a:extLst>
              <a:ext uri="{FF2B5EF4-FFF2-40B4-BE49-F238E27FC236}">
                <a16:creationId xmlns:a16="http://schemas.microsoft.com/office/drawing/2014/main" id="{6C6F4E66-7624-4D61-804C-546F113DF76B}"/>
              </a:ext>
            </a:extLst>
          </p:cNvPr>
          <p:cNvGrpSpPr/>
          <p:nvPr userDrawn="1"/>
        </p:nvGrpSpPr>
        <p:grpSpPr>
          <a:xfrm>
            <a:off x="0" y="6768738"/>
            <a:ext cx="12198348" cy="91440"/>
            <a:chOff x="0" y="6768738"/>
            <a:chExt cx="12198348" cy="91440"/>
          </a:xfrm>
        </p:grpSpPr>
        <p:sp>
          <p:nvSpPr>
            <p:cNvPr id="20" name="Rectangle 19">
              <a:extLst>
                <a:ext uri="{FF2B5EF4-FFF2-40B4-BE49-F238E27FC236}">
                  <a16:creationId xmlns:a16="http://schemas.microsoft.com/office/drawing/2014/main" id="{5E7141FC-60B7-4CBE-A0E8-864578D1D5CF}"/>
                </a:ext>
              </a:extLst>
            </p:cNvPr>
            <p:cNvSpPr/>
            <p:nvPr userDrawn="1"/>
          </p:nvSpPr>
          <p:spPr>
            <a:xfrm>
              <a:off x="0" y="6814458"/>
              <a:ext cx="12198348" cy="45720"/>
            </a:xfrm>
            <a:prstGeom prst="rect">
              <a:avLst/>
            </a:prstGeom>
            <a:solidFill>
              <a:srgbClr val="B8D6AB"/>
            </a:solidFill>
            <a:ln w="9525" cap="rnd"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mn-lt"/>
                <a:ea typeface="+mn-ea"/>
                <a:cs typeface="+mn-cs"/>
                <a:sym typeface="+mn-lt"/>
              </a:endParaRPr>
            </a:p>
          </p:txBody>
        </p:sp>
        <p:sp>
          <p:nvSpPr>
            <p:cNvPr id="21" name="Rectangle 20">
              <a:extLst>
                <a:ext uri="{FF2B5EF4-FFF2-40B4-BE49-F238E27FC236}">
                  <a16:creationId xmlns:a16="http://schemas.microsoft.com/office/drawing/2014/main" id="{A03D1672-E07E-436F-86E0-6C73B797BF08}"/>
                </a:ext>
              </a:extLst>
            </p:cNvPr>
            <p:cNvSpPr/>
            <p:nvPr userDrawn="1"/>
          </p:nvSpPr>
          <p:spPr>
            <a:xfrm>
              <a:off x="0" y="6768738"/>
              <a:ext cx="12198348" cy="45720"/>
            </a:xfrm>
            <a:prstGeom prst="rect">
              <a:avLst/>
            </a:prstGeom>
            <a:solidFill>
              <a:srgbClr val="64A35A"/>
            </a:solidFill>
            <a:ln w="9525" cap="rnd"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mn-lt"/>
                <a:ea typeface="+mn-ea"/>
                <a:cs typeface="+mn-cs"/>
                <a:sym typeface="+mn-lt"/>
              </a:endParaRPr>
            </a:p>
          </p:txBody>
        </p:sp>
      </p:grpSp>
      <p:sp>
        <p:nvSpPr>
          <p:cNvPr id="22" name="TextBox 21">
            <a:extLst>
              <a:ext uri="{FF2B5EF4-FFF2-40B4-BE49-F238E27FC236}">
                <a16:creationId xmlns:a16="http://schemas.microsoft.com/office/drawing/2014/main" id="{72DBE127-8606-48E4-B2B5-CD5E85F8B55B}"/>
              </a:ext>
            </a:extLst>
          </p:cNvPr>
          <p:cNvSpPr txBox="1"/>
          <p:nvPr userDrawn="1"/>
        </p:nvSpPr>
        <p:spPr>
          <a:xfrm>
            <a:off x="630000" y="6369978"/>
            <a:ext cx="1878250" cy="170067"/>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04E2A"/>
                </a:solidFill>
                <a:effectLst/>
                <a:uLnTx/>
                <a:uFillTx/>
                <a:latin typeface="+mn-lt"/>
                <a:ea typeface="+mn-ea"/>
                <a:cs typeface="+mn-cs"/>
                <a:sym typeface="+mn-lt"/>
              </a:rPr>
              <a:t>www.vietcombank.com.vn</a:t>
            </a:r>
          </a:p>
        </p:txBody>
      </p:sp>
      <p:grpSp>
        <p:nvGrpSpPr>
          <p:cNvPr id="23" name="Group 22">
            <a:extLst>
              <a:ext uri="{FF2B5EF4-FFF2-40B4-BE49-F238E27FC236}">
                <a16:creationId xmlns:a16="http://schemas.microsoft.com/office/drawing/2014/main" id="{3269D2D0-1E3E-4CBF-982F-9C564E980661}"/>
              </a:ext>
            </a:extLst>
          </p:cNvPr>
          <p:cNvGrpSpPr/>
          <p:nvPr userDrawn="1"/>
        </p:nvGrpSpPr>
        <p:grpSpPr>
          <a:xfrm>
            <a:off x="630000" y="622800"/>
            <a:ext cx="4462732" cy="1884094"/>
            <a:chOff x="630000" y="622800"/>
            <a:chExt cx="1954766" cy="825271"/>
          </a:xfrm>
        </p:grpSpPr>
        <p:pic>
          <p:nvPicPr>
            <p:cNvPr id="24" name="Picture 54" descr="Image result for Vietcombank">
              <a:extLst>
                <a:ext uri="{FF2B5EF4-FFF2-40B4-BE49-F238E27FC236}">
                  <a16:creationId xmlns:a16="http://schemas.microsoft.com/office/drawing/2014/main" id="{F0A25D9E-10C9-4CD1-9EFE-5A9BF39C739A}"/>
                </a:ext>
              </a:extLst>
            </p:cNvPr>
            <p:cNvPicPr>
              <a:picLocks noChangeAspect="1" noChangeArrowheads="1"/>
            </p:cNvPicPr>
            <p:nvPr userDrawn="1"/>
          </p:nvPicPr>
          <p:blipFill>
            <a:blip r:embed="rId5" cstate="print">
              <a:extLst>
                <a:ext uri="{28A0092B-C50C-407E-A947-70E740481C1C}">
                  <a14:useLocalDpi xmlns:a14="http://schemas.microsoft.com/office/drawing/2010/main"/>
                </a:ext>
              </a:extLst>
            </a:blip>
            <a:srcRect/>
            <a:stretch>
              <a:fillRect/>
            </a:stretch>
          </p:blipFill>
          <p:spPr bwMode="auto">
            <a:xfrm>
              <a:off x="630000" y="622800"/>
              <a:ext cx="1954766" cy="666248"/>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65" descr="Related image">
              <a:extLst>
                <a:ext uri="{FF2B5EF4-FFF2-40B4-BE49-F238E27FC236}">
                  <a16:creationId xmlns:a16="http://schemas.microsoft.com/office/drawing/2014/main" id="{E9D9DC16-A593-4F4D-B969-3E2C593FC843}"/>
                </a:ext>
              </a:extLst>
            </p:cNvPr>
            <p:cNvPicPr>
              <a:picLocks noChangeAspect="1" noChangeArrowheads="1"/>
            </p:cNvPicPr>
            <p:nvPr userDrawn="1"/>
          </p:nvPicPr>
          <p:blipFill rotWithShape="1">
            <a:blip r:embed="rId6" cstate="print">
              <a:extLst>
                <a:ext uri="{28A0092B-C50C-407E-A947-70E740481C1C}">
                  <a14:useLocalDpi xmlns:a14="http://schemas.microsoft.com/office/drawing/2010/main"/>
                </a:ext>
              </a:extLst>
            </a:blip>
            <a:srcRect/>
            <a:stretch/>
          </p:blipFill>
          <p:spPr bwMode="auto">
            <a:xfrm>
              <a:off x="1269283" y="1317896"/>
              <a:ext cx="1315483" cy="130175"/>
            </a:xfrm>
            <a:prstGeom prst="rect">
              <a:avLst/>
            </a:prstGeom>
            <a:noFill/>
            <a:extLst>
              <a:ext uri="{909E8E84-426E-40DD-AFC4-6F175D3DCCD1}">
                <a14:hiddenFill xmlns:a14="http://schemas.microsoft.com/office/drawing/2010/main">
                  <a:solidFill>
                    <a:srgbClr val="FFFFFF"/>
                  </a:solidFill>
                </a14:hiddenFill>
              </a:ext>
            </a:extLst>
          </p:spPr>
        </p:pic>
      </p:grpSp>
      <p:sp>
        <p:nvSpPr>
          <p:cNvPr id="26" name="TextBox 25">
            <a:extLst>
              <a:ext uri="{FF2B5EF4-FFF2-40B4-BE49-F238E27FC236}">
                <a16:creationId xmlns:a16="http://schemas.microsoft.com/office/drawing/2014/main" id="{89795525-08EB-4DD8-B6B8-6E48C4E9B040}"/>
              </a:ext>
            </a:extLst>
          </p:cNvPr>
          <p:cNvSpPr txBox="1"/>
          <p:nvPr userDrawn="1"/>
        </p:nvSpPr>
        <p:spPr>
          <a:xfrm>
            <a:off x="630000" y="3411995"/>
            <a:ext cx="4462732" cy="1751480"/>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5400" b="0" i="0" u="none" strike="noStrike" kern="0" cap="none" spc="0" normalizeH="0" baseline="0" noProof="0">
                <a:ln>
                  <a:noFill/>
                </a:ln>
                <a:solidFill>
                  <a:srgbClr val="000000"/>
                </a:solidFill>
                <a:effectLst/>
                <a:uLnTx/>
                <a:uFillTx/>
                <a:latin typeface="+mn-lt"/>
                <a:ea typeface="+mn-ea"/>
                <a:cs typeface="+mn-cs"/>
                <a:sym typeface="+mn-lt"/>
              </a:rPr>
              <a:t>Thank You</a:t>
            </a:r>
          </a:p>
        </p:txBody>
      </p:sp>
      <p:grpSp>
        <p:nvGrpSpPr>
          <p:cNvPr id="27" name="Group 26">
            <a:extLst>
              <a:ext uri="{FF2B5EF4-FFF2-40B4-BE49-F238E27FC236}">
                <a16:creationId xmlns:a16="http://schemas.microsoft.com/office/drawing/2014/main" id="{EE13EFA4-0AD2-4B41-A61F-B828D9A6D5EC}"/>
              </a:ext>
            </a:extLst>
          </p:cNvPr>
          <p:cNvGrpSpPr/>
          <p:nvPr userDrawn="1"/>
        </p:nvGrpSpPr>
        <p:grpSpPr>
          <a:xfrm>
            <a:off x="1508704" y="2918575"/>
            <a:ext cx="2705323" cy="914400"/>
            <a:chOff x="1911810" y="2918575"/>
            <a:chExt cx="2705323" cy="914400"/>
          </a:xfrm>
        </p:grpSpPr>
        <p:pic>
          <p:nvPicPr>
            <p:cNvPr id="28" name="Picture 27" descr="Diagram&#10;&#10;Description automatically generated">
              <a:extLst>
                <a:ext uri="{FF2B5EF4-FFF2-40B4-BE49-F238E27FC236}">
                  <a16:creationId xmlns:a16="http://schemas.microsoft.com/office/drawing/2014/main" id="{E76D2D72-5625-4FA8-B05C-5DB4EF230C16}"/>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l="41793" t="2693" r="39762" b="65918"/>
            <a:stretch/>
          </p:blipFill>
          <p:spPr>
            <a:xfrm>
              <a:off x="1911810" y="2918575"/>
              <a:ext cx="955245" cy="914400"/>
            </a:xfrm>
            <a:prstGeom prst="rect">
              <a:avLst/>
            </a:prstGeom>
          </p:spPr>
        </p:pic>
        <p:sp>
          <p:nvSpPr>
            <p:cNvPr id="29" name="Freeform 5">
              <a:extLst>
                <a:ext uri="{FF2B5EF4-FFF2-40B4-BE49-F238E27FC236}">
                  <a16:creationId xmlns:a16="http://schemas.microsoft.com/office/drawing/2014/main" id="{974D8FFF-D95F-4F56-B7DD-2DCBCF56830C}"/>
                </a:ext>
              </a:extLst>
            </p:cNvPr>
            <p:cNvSpPr>
              <a:spLocks noChangeAspect="1" noEditPoints="1"/>
            </p:cNvSpPr>
            <p:nvPr/>
          </p:nvSpPr>
          <p:spPr bwMode="auto">
            <a:xfrm>
              <a:off x="3285327" y="3101455"/>
              <a:ext cx="1331806" cy="548640"/>
            </a:xfrm>
            <a:custGeom>
              <a:avLst/>
              <a:gdLst>
                <a:gd name="T0" fmla="*/ 395 w 395"/>
                <a:gd name="T1" fmla="*/ 73 h 160"/>
                <a:gd name="T2" fmla="*/ 363 w 395"/>
                <a:gd name="T3" fmla="*/ 67 h 160"/>
                <a:gd name="T4" fmla="*/ 323 w 395"/>
                <a:gd name="T5" fmla="*/ 81 h 160"/>
                <a:gd name="T6" fmla="*/ 361 w 395"/>
                <a:gd name="T7" fmla="*/ 96 h 160"/>
                <a:gd name="T8" fmla="*/ 318 w 395"/>
                <a:gd name="T9" fmla="*/ 130 h 160"/>
                <a:gd name="T10" fmla="*/ 270 w 395"/>
                <a:gd name="T11" fmla="*/ 80 h 160"/>
                <a:gd name="T12" fmla="*/ 318 w 395"/>
                <a:gd name="T13" fmla="*/ 31 h 160"/>
                <a:gd name="T14" fmla="*/ 349 w 395"/>
                <a:gd name="T15" fmla="*/ 41 h 160"/>
                <a:gd name="T16" fmla="*/ 365 w 395"/>
                <a:gd name="T17" fmla="*/ 14 h 160"/>
                <a:gd name="T18" fmla="*/ 319 w 395"/>
                <a:gd name="T19" fmla="*/ 0 h 160"/>
                <a:gd name="T20" fmla="*/ 261 w 395"/>
                <a:gd name="T21" fmla="*/ 23 h 160"/>
                <a:gd name="T22" fmla="*/ 219 w 395"/>
                <a:gd name="T23" fmla="*/ 115 h 160"/>
                <a:gd name="T24" fmla="*/ 184 w 395"/>
                <a:gd name="T25" fmla="*/ 129 h 160"/>
                <a:gd name="T26" fmla="*/ 134 w 395"/>
                <a:gd name="T27" fmla="*/ 80 h 160"/>
                <a:gd name="T28" fmla="*/ 184 w 395"/>
                <a:gd name="T29" fmla="*/ 30 h 160"/>
                <a:gd name="T30" fmla="*/ 214 w 395"/>
                <a:gd name="T31" fmla="*/ 40 h 160"/>
                <a:gd name="T32" fmla="*/ 231 w 395"/>
                <a:gd name="T33" fmla="*/ 14 h 160"/>
                <a:gd name="T34" fmla="*/ 184 w 395"/>
                <a:gd name="T35" fmla="*/ 0 h 160"/>
                <a:gd name="T36" fmla="*/ 118 w 395"/>
                <a:gd name="T37" fmla="*/ 33 h 160"/>
                <a:gd name="T38" fmla="*/ 72 w 395"/>
                <a:gd name="T39" fmla="*/ 3 h 160"/>
                <a:gd name="T40" fmla="*/ 0 w 395"/>
                <a:gd name="T41" fmla="*/ 3 h 160"/>
                <a:gd name="T42" fmla="*/ 0 w 395"/>
                <a:gd name="T43" fmla="*/ 157 h 160"/>
                <a:gd name="T44" fmla="*/ 105 w 395"/>
                <a:gd name="T45" fmla="*/ 150 h 160"/>
                <a:gd name="T46" fmla="*/ 149 w 395"/>
                <a:gd name="T47" fmla="*/ 153 h 160"/>
                <a:gd name="T48" fmla="*/ 222 w 395"/>
                <a:gd name="T49" fmla="*/ 151 h 160"/>
                <a:gd name="T50" fmla="*/ 278 w 395"/>
                <a:gd name="T51" fmla="*/ 151 h 160"/>
                <a:gd name="T52" fmla="*/ 373 w 395"/>
                <a:gd name="T53" fmla="*/ 137 h 160"/>
                <a:gd name="T54" fmla="*/ 33 w 395"/>
                <a:gd name="T55" fmla="*/ 65 h 160"/>
                <a:gd name="T56" fmla="*/ 71 w 395"/>
                <a:gd name="T57" fmla="*/ 32 h 160"/>
                <a:gd name="T58" fmla="*/ 88 w 395"/>
                <a:gd name="T59" fmla="*/ 48 h 160"/>
                <a:gd name="T60" fmla="*/ 71 w 395"/>
                <a:gd name="T61" fmla="*/ 65 h 160"/>
                <a:gd name="T62" fmla="*/ 33 w 395"/>
                <a:gd name="T63" fmla="*/ 65 h 160"/>
                <a:gd name="T64" fmla="*/ 33 w 395"/>
                <a:gd name="T65" fmla="*/ 93 h 160"/>
                <a:gd name="T66" fmla="*/ 92 w 395"/>
                <a:gd name="T67" fmla="*/ 98 h 160"/>
                <a:gd name="T68" fmla="*/ 92 w 395"/>
                <a:gd name="T69" fmla="*/ 123 h 160"/>
                <a:gd name="T70" fmla="*/ 56 w 395"/>
                <a:gd name="T71" fmla="*/ 128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95" h="160">
                  <a:moveTo>
                    <a:pt x="395" y="80"/>
                  </a:moveTo>
                  <a:cubicBezTo>
                    <a:pt x="395" y="78"/>
                    <a:pt x="395" y="75"/>
                    <a:pt x="395" y="73"/>
                  </a:cubicBezTo>
                  <a:cubicBezTo>
                    <a:pt x="395" y="71"/>
                    <a:pt x="395" y="69"/>
                    <a:pt x="394" y="67"/>
                  </a:cubicBezTo>
                  <a:cubicBezTo>
                    <a:pt x="363" y="67"/>
                    <a:pt x="363" y="67"/>
                    <a:pt x="363" y="67"/>
                  </a:cubicBezTo>
                  <a:cubicBezTo>
                    <a:pt x="332" y="67"/>
                    <a:pt x="332" y="67"/>
                    <a:pt x="332" y="67"/>
                  </a:cubicBezTo>
                  <a:cubicBezTo>
                    <a:pt x="323" y="81"/>
                    <a:pt x="323" y="81"/>
                    <a:pt x="323" y="81"/>
                  </a:cubicBezTo>
                  <a:cubicBezTo>
                    <a:pt x="313" y="96"/>
                    <a:pt x="313" y="96"/>
                    <a:pt x="313" y="96"/>
                  </a:cubicBezTo>
                  <a:cubicBezTo>
                    <a:pt x="361" y="96"/>
                    <a:pt x="361" y="96"/>
                    <a:pt x="361" y="96"/>
                  </a:cubicBezTo>
                  <a:cubicBezTo>
                    <a:pt x="358" y="106"/>
                    <a:pt x="353" y="114"/>
                    <a:pt x="346" y="120"/>
                  </a:cubicBezTo>
                  <a:cubicBezTo>
                    <a:pt x="338" y="126"/>
                    <a:pt x="329" y="130"/>
                    <a:pt x="318" y="130"/>
                  </a:cubicBezTo>
                  <a:cubicBezTo>
                    <a:pt x="305" y="130"/>
                    <a:pt x="292" y="124"/>
                    <a:pt x="284" y="115"/>
                  </a:cubicBezTo>
                  <a:cubicBezTo>
                    <a:pt x="275" y="106"/>
                    <a:pt x="270" y="93"/>
                    <a:pt x="270" y="80"/>
                  </a:cubicBezTo>
                  <a:cubicBezTo>
                    <a:pt x="270" y="66"/>
                    <a:pt x="275" y="54"/>
                    <a:pt x="284" y="45"/>
                  </a:cubicBezTo>
                  <a:cubicBezTo>
                    <a:pt x="293" y="36"/>
                    <a:pt x="305" y="31"/>
                    <a:pt x="318" y="31"/>
                  </a:cubicBezTo>
                  <a:cubicBezTo>
                    <a:pt x="324" y="31"/>
                    <a:pt x="330" y="32"/>
                    <a:pt x="335" y="33"/>
                  </a:cubicBezTo>
                  <a:cubicBezTo>
                    <a:pt x="340" y="35"/>
                    <a:pt x="345" y="37"/>
                    <a:pt x="349" y="41"/>
                  </a:cubicBezTo>
                  <a:cubicBezTo>
                    <a:pt x="357" y="27"/>
                    <a:pt x="357" y="27"/>
                    <a:pt x="357" y="27"/>
                  </a:cubicBezTo>
                  <a:cubicBezTo>
                    <a:pt x="365" y="14"/>
                    <a:pt x="365" y="14"/>
                    <a:pt x="365" y="14"/>
                  </a:cubicBezTo>
                  <a:cubicBezTo>
                    <a:pt x="359" y="10"/>
                    <a:pt x="352" y="6"/>
                    <a:pt x="344" y="4"/>
                  </a:cubicBezTo>
                  <a:cubicBezTo>
                    <a:pt x="336" y="1"/>
                    <a:pt x="328" y="0"/>
                    <a:pt x="319" y="0"/>
                  </a:cubicBezTo>
                  <a:cubicBezTo>
                    <a:pt x="307" y="0"/>
                    <a:pt x="296" y="2"/>
                    <a:pt x="286" y="6"/>
                  </a:cubicBezTo>
                  <a:cubicBezTo>
                    <a:pt x="277" y="10"/>
                    <a:pt x="268" y="16"/>
                    <a:pt x="261" y="23"/>
                  </a:cubicBezTo>
                  <a:cubicBezTo>
                    <a:pt x="244" y="40"/>
                    <a:pt x="239" y="57"/>
                    <a:pt x="236" y="73"/>
                  </a:cubicBezTo>
                  <a:cubicBezTo>
                    <a:pt x="232" y="89"/>
                    <a:pt x="230" y="103"/>
                    <a:pt x="219" y="115"/>
                  </a:cubicBezTo>
                  <a:cubicBezTo>
                    <a:pt x="214" y="119"/>
                    <a:pt x="209" y="123"/>
                    <a:pt x="203" y="126"/>
                  </a:cubicBezTo>
                  <a:cubicBezTo>
                    <a:pt x="197" y="128"/>
                    <a:pt x="191" y="129"/>
                    <a:pt x="184" y="129"/>
                  </a:cubicBezTo>
                  <a:cubicBezTo>
                    <a:pt x="170" y="129"/>
                    <a:pt x="158" y="124"/>
                    <a:pt x="149" y="115"/>
                  </a:cubicBezTo>
                  <a:cubicBezTo>
                    <a:pt x="140" y="106"/>
                    <a:pt x="134" y="93"/>
                    <a:pt x="134" y="80"/>
                  </a:cubicBezTo>
                  <a:cubicBezTo>
                    <a:pt x="134" y="67"/>
                    <a:pt x="140" y="54"/>
                    <a:pt x="149" y="45"/>
                  </a:cubicBezTo>
                  <a:cubicBezTo>
                    <a:pt x="158" y="36"/>
                    <a:pt x="170" y="31"/>
                    <a:pt x="184" y="30"/>
                  </a:cubicBezTo>
                  <a:cubicBezTo>
                    <a:pt x="190" y="31"/>
                    <a:pt x="195" y="31"/>
                    <a:pt x="200" y="33"/>
                  </a:cubicBezTo>
                  <a:cubicBezTo>
                    <a:pt x="205" y="35"/>
                    <a:pt x="210" y="37"/>
                    <a:pt x="214" y="40"/>
                  </a:cubicBezTo>
                  <a:cubicBezTo>
                    <a:pt x="222" y="27"/>
                    <a:pt x="222" y="27"/>
                    <a:pt x="222" y="27"/>
                  </a:cubicBezTo>
                  <a:cubicBezTo>
                    <a:pt x="231" y="14"/>
                    <a:pt x="231" y="14"/>
                    <a:pt x="231" y="14"/>
                  </a:cubicBezTo>
                  <a:cubicBezTo>
                    <a:pt x="224" y="9"/>
                    <a:pt x="217" y="6"/>
                    <a:pt x="209" y="3"/>
                  </a:cubicBezTo>
                  <a:cubicBezTo>
                    <a:pt x="202" y="1"/>
                    <a:pt x="193" y="0"/>
                    <a:pt x="184" y="0"/>
                  </a:cubicBezTo>
                  <a:cubicBezTo>
                    <a:pt x="170" y="0"/>
                    <a:pt x="157" y="3"/>
                    <a:pt x="146" y="9"/>
                  </a:cubicBezTo>
                  <a:cubicBezTo>
                    <a:pt x="135" y="15"/>
                    <a:pt x="125" y="23"/>
                    <a:pt x="118" y="33"/>
                  </a:cubicBezTo>
                  <a:cubicBezTo>
                    <a:pt x="115" y="25"/>
                    <a:pt x="109" y="17"/>
                    <a:pt x="101" y="12"/>
                  </a:cubicBezTo>
                  <a:cubicBezTo>
                    <a:pt x="93" y="6"/>
                    <a:pt x="83" y="3"/>
                    <a:pt x="72" y="3"/>
                  </a:cubicBezTo>
                  <a:cubicBezTo>
                    <a:pt x="36" y="3"/>
                    <a:pt x="36" y="3"/>
                    <a:pt x="36" y="3"/>
                  </a:cubicBezTo>
                  <a:cubicBezTo>
                    <a:pt x="0" y="3"/>
                    <a:pt x="0" y="3"/>
                    <a:pt x="0" y="3"/>
                  </a:cubicBezTo>
                  <a:cubicBezTo>
                    <a:pt x="0" y="80"/>
                    <a:pt x="0" y="80"/>
                    <a:pt x="0" y="80"/>
                  </a:cubicBezTo>
                  <a:cubicBezTo>
                    <a:pt x="0" y="157"/>
                    <a:pt x="0" y="157"/>
                    <a:pt x="0" y="157"/>
                  </a:cubicBezTo>
                  <a:cubicBezTo>
                    <a:pt x="79" y="157"/>
                    <a:pt x="79" y="157"/>
                    <a:pt x="79" y="157"/>
                  </a:cubicBezTo>
                  <a:cubicBezTo>
                    <a:pt x="89" y="157"/>
                    <a:pt x="98" y="154"/>
                    <a:pt x="105" y="150"/>
                  </a:cubicBezTo>
                  <a:cubicBezTo>
                    <a:pt x="113" y="146"/>
                    <a:pt x="119" y="140"/>
                    <a:pt x="123" y="133"/>
                  </a:cubicBezTo>
                  <a:cubicBezTo>
                    <a:pt x="130" y="142"/>
                    <a:pt x="139" y="148"/>
                    <a:pt x="149" y="153"/>
                  </a:cubicBezTo>
                  <a:cubicBezTo>
                    <a:pt x="159" y="157"/>
                    <a:pt x="171" y="160"/>
                    <a:pt x="183" y="160"/>
                  </a:cubicBezTo>
                  <a:cubicBezTo>
                    <a:pt x="197" y="160"/>
                    <a:pt x="210" y="157"/>
                    <a:pt x="222" y="151"/>
                  </a:cubicBezTo>
                  <a:cubicBezTo>
                    <a:pt x="233" y="145"/>
                    <a:pt x="243" y="136"/>
                    <a:pt x="250" y="126"/>
                  </a:cubicBezTo>
                  <a:cubicBezTo>
                    <a:pt x="257" y="136"/>
                    <a:pt x="267" y="145"/>
                    <a:pt x="278" y="151"/>
                  </a:cubicBezTo>
                  <a:cubicBezTo>
                    <a:pt x="290" y="157"/>
                    <a:pt x="303" y="160"/>
                    <a:pt x="317" y="160"/>
                  </a:cubicBezTo>
                  <a:cubicBezTo>
                    <a:pt x="339" y="160"/>
                    <a:pt x="359" y="151"/>
                    <a:pt x="373" y="137"/>
                  </a:cubicBezTo>
                  <a:cubicBezTo>
                    <a:pt x="387" y="122"/>
                    <a:pt x="395" y="102"/>
                    <a:pt x="395" y="80"/>
                  </a:cubicBezTo>
                  <a:close/>
                  <a:moveTo>
                    <a:pt x="33" y="65"/>
                  </a:moveTo>
                  <a:cubicBezTo>
                    <a:pt x="33" y="32"/>
                    <a:pt x="33" y="32"/>
                    <a:pt x="33" y="32"/>
                  </a:cubicBezTo>
                  <a:cubicBezTo>
                    <a:pt x="71" y="32"/>
                    <a:pt x="71" y="32"/>
                    <a:pt x="71" y="32"/>
                  </a:cubicBezTo>
                  <a:cubicBezTo>
                    <a:pt x="76" y="32"/>
                    <a:pt x="80" y="34"/>
                    <a:pt x="83" y="36"/>
                  </a:cubicBezTo>
                  <a:cubicBezTo>
                    <a:pt x="86" y="39"/>
                    <a:pt x="88" y="44"/>
                    <a:pt x="88" y="48"/>
                  </a:cubicBezTo>
                  <a:cubicBezTo>
                    <a:pt x="88" y="53"/>
                    <a:pt x="86" y="57"/>
                    <a:pt x="83" y="60"/>
                  </a:cubicBezTo>
                  <a:cubicBezTo>
                    <a:pt x="80" y="64"/>
                    <a:pt x="76" y="65"/>
                    <a:pt x="71" y="65"/>
                  </a:cubicBezTo>
                  <a:cubicBezTo>
                    <a:pt x="52" y="65"/>
                    <a:pt x="52" y="65"/>
                    <a:pt x="52" y="65"/>
                  </a:cubicBezTo>
                  <a:cubicBezTo>
                    <a:pt x="33" y="65"/>
                    <a:pt x="33" y="65"/>
                    <a:pt x="33" y="65"/>
                  </a:cubicBezTo>
                  <a:close/>
                  <a:moveTo>
                    <a:pt x="33" y="128"/>
                  </a:moveTo>
                  <a:cubicBezTo>
                    <a:pt x="33" y="93"/>
                    <a:pt x="33" y="93"/>
                    <a:pt x="33" y="93"/>
                  </a:cubicBezTo>
                  <a:cubicBezTo>
                    <a:pt x="79" y="93"/>
                    <a:pt x="79" y="93"/>
                    <a:pt x="79" y="93"/>
                  </a:cubicBezTo>
                  <a:cubicBezTo>
                    <a:pt x="84" y="93"/>
                    <a:pt x="88" y="95"/>
                    <a:pt x="92" y="98"/>
                  </a:cubicBezTo>
                  <a:cubicBezTo>
                    <a:pt x="95" y="101"/>
                    <a:pt x="97" y="106"/>
                    <a:pt x="97" y="111"/>
                  </a:cubicBezTo>
                  <a:cubicBezTo>
                    <a:pt x="97" y="116"/>
                    <a:pt x="95" y="120"/>
                    <a:pt x="92" y="123"/>
                  </a:cubicBezTo>
                  <a:cubicBezTo>
                    <a:pt x="88" y="126"/>
                    <a:pt x="84" y="128"/>
                    <a:pt x="79" y="128"/>
                  </a:cubicBezTo>
                  <a:cubicBezTo>
                    <a:pt x="56" y="128"/>
                    <a:pt x="56" y="128"/>
                    <a:pt x="56" y="128"/>
                  </a:cubicBezTo>
                  <a:cubicBezTo>
                    <a:pt x="33" y="128"/>
                    <a:pt x="33" y="128"/>
                    <a:pt x="33" y="128"/>
                  </a:cubicBezTo>
                  <a:close/>
                </a:path>
              </a:pathLst>
            </a:custGeom>
            <a:solidFill>
              <a:srgbClr val="177B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grpSp>
    </p:spTree>
    <p:extLst>
      <p:ext uri="{BB962C8B-B14F-4D97-AF65-F5344CB8AC3E}">
        <p14:creationId xmlns:p14="http://schemas.microsoft.com/office/powerpoint/2010/main" val="10346327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7C7655A-D839-4B5E-898C-2B3B91216BCE}"/>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Object 1" hidden="1">
                        <a:extLst>
                          <a:ext uri="{FF2B5EF4-FFF2-40B4-BE49-F238E27FC236}">
                            <a16:creationId xmlns:a16="http://schemas.microsoft.com/office/drawing/2014/main" id="{C7C7655A-D839-4B5E-898C-2B3B91216BC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pic>
        <p:nvPicPr>
          <p:cNvPr id="51" name="Graphic 50">
            <a:extLst>
              <a:ext uri="{FF2B5EF4-FFF2-40B4-BE49-F238E27FC236}">
                <a16:creationId xmlns:a16="http://schemas.microsoft.com/office/drawing/2014/main" id="{335430C2-F6F2-4782-8DF3-64E7EEC18470}"/>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428018" y="6271005"/>
            <a:ext cx="498632" cy="517662"/>
          </a:xfrm>
          <a:prstGeom prst="rect">
            <a:avLst/>
          </a:prstGeom>
        </p:spPr>
      </p:pic>
      <p:grpSp>
        <p:nvGrpSpPr>
          <p:cNvPr id="55" name="Group 54">
            <a:extLst>
              <a:ext uri="{FF2B5EF4-FFF2-40B4-BE49-F238E27FC236}">
                <a16:creationId xmlns:a16="http://schemas.microsoft.com/office/drawing/2014/main" id="{C59ED4D9-5892-48A3-87C8-ED3738752250}"/>
              </a:ext>
            </a:extLst>
          </p:cNvPr>
          <p:cNvGrpSpPr/>
          <p:nvPr userDrawn="1"/>
        </p:nvGrpSpPr>
        <p:grpSpPr>
          <a:xfrm>
            <a:off x="-600" y="-1"/>
            <a:ext cx="12193800" cy="6858001"/>
            <a:chOff x="-600" y="-1"/>
            <a:chExt cx="12193800" cy="6858001"/>
          </a:xfrm>
        </p:grpSpPr>
        <p:sp>
          <p:nvSpPr>
            <p:cNvPr id="100" name="Freeform: Shape 99">
              <a:extLst>
                <a:ext uri="{FF2B5EF4-FFF2-40B4-BE49-F238E27FC236}">
                  <a16:creationId xmlns:a16="http://schemas.microsoft.com/office/drawing/2014/main" id="{877E1C63-0C60-4ADD-8452-A10F46D46ACF}"/>
                </a:ext>
              </a:extLst>
            </p:cNvPr>
            <p:cNvSpPr/>
            <p:nvPr/>
          </p:nvSpPr>
          <p:spPr>
            <a:xfrm>
              <a:off x="0" y="-1"/>
              <a:ext cx="12193200" cy="6858000"/>
            </a:xfrm>
            <a:custGeom>
              <a:avLst/>
              <a:gdLst>
                <a:gd name="connsiteX0" fmla="*/ 630001 w 12193200"/>
                <a:gd name="connsiteY0" fmla="*/ 622800 h 6858000"/>
                <a:gd name="connsiteX1" fmla="*/ 630001 w 12193200"/>
                <a:gd name="connsiteY1" fmla="*/ 5806362 h 6858000"/>
                <a:gd name="connsiteX2" fmla="*/ 629400 w 12193200"/>
                <a:gd name="connsiteY2" fmla="*/ 5806362 h 6858000"/>
                <a:gd name="connsiteX3" fmla="*/ 629400 w 12193200"/>
                <a:gd name="connsiteY3" fmla="*/ 6720762 h 6858000"/>
                <a:gd name="connsiteX4" fmla="*/ 11562600 w 12193200"/>
                <a:gd name="connsiteY4" fmla="*/ 6720762 h 6858000"/>
                <a:gd name="connsiteX5" fmla="*/ 11562600 w 12193200"/>
                <a:gd name="connsiteY5" fmla="*/ 5806362 h 6858000"/>
                <a:gd name="connsiteX6" fmla="*/ 11562000 w 12193200"/>
                <a:gd name="connsiteY6" fmla="*/ 5806362 h 6858000"/>
                <a:gd name="connsiteX7" fmla="*/ 11562000 w 12193200"/>
                <a:gd name="connsiteY7" fmla="*/ 622800 h 6858000"/>
                <a:gd name="connsiteX8" fmla="*/ 0 w 12193200"/>
                <a:gd name="connsiteY8" fmla="*/ 0 h 6858000"/>
                <a:gd name="connsiteX9" fmla="*/ 12193200 w 12193200"/>
                <a:gd name="connsiteY9" fmla="*/ 0 h 6858000"/>
                <a:gd name="connsiteX10" fmla="*/ 12193200 w 12193200"/>
                <a:gd name="connsiteY10" fmla="*/ 622800 h 6858000"/>
                <a:gd name="connsiteX11" fmla="*/ 12192000 w 12193200"/>
                <a:gd name="connsiteY11" fmla="*/ 622800 h 6858000"/>
                <a:gd name="connsiteX12" fmla="*/ 12192000 w 12193200"/>
                <a:gd name="connsiteY12" fmla="*/ 6160597 h 6858000"/>
                <a:gd name="connsiteX13" fmla="*/ 12193200 w 12193200"/>
                <a:gd name="connsiteY13" fmla="*/ 6160597 h 6858000"/>
                <a:gd name="connsiteX14" fmla="*/ 12193200 w 12193200"/>
                <a:gd name="connsiteY14" fmla="*/ 6858000 h 6858000"/>
                <a:gd name="connsiteX15" fmla="*/ 12192000 w 12193200"/>
                <a:gd name="connsiteY15" fmla="*/ 6858000 h 6858000"/>
                <a:gd name="connsiteX16" fmla="*/ 11562000 w 12193200"/>
                <a:gd name="connsiteY16" fmla="*/ 6858000 h 6858000"/>
                <a:gd name="connsiteX17" fmla="*/ 630001 w 12193200"/>
                <a:gd name="connsiteY17" fmla="*/ 6858000 h 6858000"/>
                <a:gd name="connsiteX18" fmla="*/ 1 w 12193200"/>
                <a:gd name="connsiteY18" fmla="*/ 6858000 h 6858000"/>
                <a:gd name="connsiteX19" fmla="*/ 1 w 12193200"/>
                <a:gd name="connsiteY19" fmla="*/ 6160597 h 6858000"/>
                <a:gd name="connsiteX20" fmla="*/ 1 w 12193200"/>
                <a:gd name="connsiteY20" fmla="*/ 622800 h 6858000"/>
                <a:gd name="connsiteX21" fmla="*/ 0 w 12193200"/>
                <a:gd name="connsiteY21"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2193200" h="6858000">
                  <a:moveTo>
                    <a:pt x="630001" y="622800"/>
                  </a:moveTo>
                  <a:lnTo>
                    <a:pt x="630001" y="5806362"/>
                  </a:lnTo>
                  <a:lnTo>
                    <a:pt x="629400" y="5806362"/>
                  </a:lnTo>
                  <a:lnTo>
                    <a:pt x="629400" y="6720762"/>
                  </a:lnTo>
                  <a:lnTo>
                    <a:pt x="11562600" y="6720762"/>
                  </a:lnTo>
                  <a:lnTo>
                    <a:pt x="11562600" y="5806362"/>
                  </a:lnTo>
                  <a:lnTo>
                    <a:pt x="11562000" y="5806362"/>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E71C57">
                <a:alpha val="5000"/>
              </a:srgbClr>
            </a:solidFill>
            <a:ln>
              <a:noFill/>
            </a:ln>
          </p:spPr>
          <p:txBody>
            <a:bodyPr vert="horz" wrap="square" lIns="91440" tIns="45720" rIns="91440" bIns="45720" numCol="1" anchor="t" anchorCtr="0" compatLnSpc="1">
              <a:prstTxWarp prst="textNoShape">
                <a:avLst/>
              </a:prstTxWarp>
              <a:noAutofit/>
            </a:bodyPr>
            <a:lstStyle/>
            <a:p>
              <a:endParaRPr lang="en-US">
                <a:solidFill>
                  <a:schemeClr val="tx1"/>
                </a:solidFill>
              </a:endParaRPr>
            </a:p>
          </p:txBody>
        </p:sp>
        <p:grpSp>
          <p:nvGrpSpPr>
            <p:cNvPr id="101" name="Baselines / anchors">
              <a:extLst>
                <a:ext uri="{FF2B5EF4-FFF2-40B4-BE49-F238E27FC236}">
                  <a16:creationId xmlns:a16="http://schemas.microsoft.com/office/drawing/2014/main" id="{5E16D025-A968-4B58-9BCE-190A3636242B}"/>
                </a:ext>
              </a:extLst>
            </p:cNvPr>
            <p:cNvGrpSpPr/>
            <p:nvPr/>
          </p:nvGrpSpPr>
          <p:grpSpPr>
            <a:xfrm>
              <a:off x="-600" y="622800"/>
              <a:ext cx="12193200" cy="5536800"/>
              <a:chOff x="12623800" y="622800"/>
              <a:chExt cx="11176000" cy="5536800"/>
            </a:xfrm>
          </p:grpSpPr>
          <p:cxnSp>
            <p:nvCxnSpPr>
              <p:cNvPr id="125" name="Straight Connector 124">
                <a:extLst>
                  <a:ext uri="{FF2B5EF4-FFF2-40B4-BE49-F238E27FC236}">
                    <a16:creationId xmlns:a16="http://schemas.microsoft.com/office/drawing/2014/main" id="{44609F7D-6876-4CD5-B4D1-1D3E422B9F44}"/>
                  </a:ext>
                </a:extLst>
              </p:cNvPr>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4F768D15-D966-45C0-8C7C-BC8B10063EC4}"/>
                  </a:ext>
                </a:extLst>
              </p:cNvPr>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85236C8B-C155-4F95-92A1-6670FDECD9B9}"/>
                  </a:ext>
                </a:extLst>
              </p:cNvPr>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5DFB2291-FD80-487F-8BB5-6F220CB2D610}"/>
                  </a:ext>
                </a:extLst>
              </p:cNvPr>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CE1499DA-B624-4732-AD74-86D55FB55467}"/>
                  </a:ext>
                </a:extLst>
              </p:cNvPr>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85ECE8B8-65FD-47E4-AB5C-6B8A53579216}"/>
                  </a:ext>
                </a:extLst>
              </p:cNvPr>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4F499CAF-C260-461E-8872-3B2E9D0D04F7}"/>
                  </a:ext>
                </a:extLst>
              </p:cNvPr>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944F1F1C-E800-436C-9D22-EFAAAF0CC959}"/>
                  </a:ext>
                </a:extLst>
              </p:cNvPr>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6117A33E-19C7-4598-8A4A-EB304637DD76}"/>
                  </a:ext>
                </a:extLst>
              </p:cNvPr>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D2AD95C6-F9B1-4160-9864-CB323AA9F6DC}"/>
                  </a:ext>
                </a:extLst>
              </p:cNvPr>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3C657E7E-B6CF-46F3-91E8-AC8123C12519}"/>
                  </a:ext>
                </a:extLst>
              </p:cNvPr>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427CCB1B-F557-4A09-83B6-CB3BC50652A3}"/>
                  </a:ext>
                </a:extLst>
              </p:cNvPr>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76812E42-1559-4A01-B4B7-22EE35D99451}"/>
                  </a:ext>
                </a:extLst>
              </p:cNvPr>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9797A88D-F72A-4FB6-89EE-46D9C0C7BFED}"/>
                  </a:ext>
                </a:extLst>
              </p:cNvPr>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CBB25275-FDF6-4A11-9C40-047CDBA36AC1}"/>
                  </a:ext>
                </a:extLst>
              </p:cNvPr>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69ADCA59-2B53-400B-B98E-7CE004E3F79A}"/>
                  </a:ext>
                </a:extLst>
              </p:cNvPr>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C651687D-EA64-442B-A7D7-19D35811584A}"/>
                  </a:ext>
                </a:extLst>
              </p:cNvPr>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A8915780-CE88-4009-83C6-AE62EF8F7F95}"/>
                  </a:ext>
                </a:extLst>
              </p:cNvPr>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4C375BE9-6910-442C-8E8D-7084C48A294D}"/>
                  </a:ext>
                </a:extLst>
              </p:cNvPr>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594D8C3D-FB00-4BC8-AF07-EAF8669868AB}"/>
                  </a:ext>
                </a:extLst>
              </p:cNvPr>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02" name="Gutter space">
              <a:extLst>
                <a:ext uri="{FF2B5EF4-FFF2-40B4-BE49-F238E27FC236}">
                  <a16:creationId xmlns:a16="http://schemas.microsoft.com/office/drawing/2014/main" id="{7F67D595-7112-4904-85AC-D6D057C2622C}"/>
                </a:ext>
              </a:extLst>
            </p:cNvPr>
            <p:cNvGrpSpPr/>
            <p:nvPr/>
          </p:nvGrpSpPr>
          <p:grpSpPr>
            <a:xfrm>
              <a:off x="1277000" y="623550"/>
              <a:ext cx="9638000" cy="5537047"/>
              <a:chOff x="1277000" y="623550"/>
              <a:chExt cx="9638000" cy="5537047"/>
            </a:xfrm>
          </p:grpSpPr>
          <p:sp>
            <p:nvSpPr>
              <p:cNvPr id="114" name="Rectangle 34">
                <a:extLst>
                  <a:ext uri="{FF2B5EF4-FFF2-40B4-BE49-F238E27FC236}">
                    <a16:creationId xmlns:a16="http://schemas.microsoft.com/office/drawing/2014/main" id="{15686FB2-4004-44BE-94E4-CE343120E82E}"/>
                  </a:ext>
                </a:extLst>
              </p:cNvPr>
              <p:cNvSpPr>
                <a:spLocks noChangeArrowheads="1"/>
              </p:cNvSpPr>
              <p:nvPr/>
            </p:nvSpPr>
            <p:spPr bwMode="auto">
              <a:xfrm>
                <a:off x="6887000" y="623550"/>
                <a:ext cx="288000" cy="5537047"/>
              </a:xfrm>
              <a:prstGeom prst="rect">
                <a:avLst/>
              </a:prstGeom>
              <a:solidFill>
                <a:srgbClr val="B1B3B3">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5" name="Rectangle 35">
                <a:extLst>
                  <a:ext uri="{FF2B5EF4-FFF2-40B4-BE49-F238E27FC236}">
                    <a16:creationId xmlns:a16="http://schemas.microsoft.com/office/drawing/2014/main" id="{F446E450-B4AF-4554-A927-56876A5293D0}"/>
                  </a:ext>
                </a:extLst>
              </p:cNvPr>
              <p:cNvSpPr>
                <a:spLocks noChangeArrowheads="1"/>
              </p:cNvSpPr>
              <p:nvPr/>
            </p:nvSpPr>
            <p:spPr bwMode="auto">
              <a:xfrm>
                <a:off x="8757000" y="623550"/>
                <a:ext cx="288000" cy="5537047"/>
              </a:xfrm>
              <a:prstGeom prst="rect">
                <a:avLst/>
              </a:prstGeom>
              <a:solidFill>
                <a:srgbClr val="B1B3B3">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6" name="Rectangle 36">
                <a:extLst>
                  <a:ext uri="{FF2B5EF4-FFF2-40B4-BE49-F238E27FC236}">
                    <a16:creationId xmlns:a16="http://schemas.microsoft.com/office/drawing/2014/main" id="{9918DF24-4935-4A92-8A51-707E78296596}"/>
                  </a:ext>
                </a:extLst>
              </p:cNvPr>
              <p:cNvSpPr>
                <a:spLocks noChangeArrowheads="1"/>
              </p:cNvSpPr>
              <p:nvPr/>
            </p:nvSpPr>
            <p:spPr bwMode="auto">
              <a:xfrm>
                <a:off x="7822000" y="623550"/>
                <a:ext cx="288000" cy="5537047"/>
              </a:xfrm>
              <a:prstGeom prst="rect">
                <a:avLst/>
              </a:prstGeom>
              <a:solidFill>
                <a:srgbClr val="B1B3B3">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 name="Rectangle 37">
                <a:extLst>
                  <a:ext uri="{FF2B5EF4-FFF2-40B4-BE49-F238E27FC236}">
                    <a16:creationId xmlns:a16="http://schemas.microsoft.com/office/drawing/2014/main" id="{8E8560ED-FD2E-408F-9601-04EDE73A90FB}"/>
                  </a:ext>
                </a:extLst>
              </p:cNvPr>
              <p:cNvSpPr>
                <a:spLocks noChangeArrowheads="1"/>
              </p:cNvSpPr>
              <p:nvPr/>
            </p:nvSpPr>
            <p:spPr bwMode="auto">
              <a:xfrm>
                <a:off x="9692000" y="623550"/>
                <a:ext cx="288000" cy="5537047"/>
              </a:xfrm>
              <a:prstGeom prst="rect">
                <a:avLst/>
              </a:prstGeom>
              <a:solidFill>
                <a:srgbClr val="B1B3B3">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 name="Rectangle 38">
                <a:extLst>
                  <a:ext uri="{FF2B5EF4-FFF2-40B4-BE49-F238E27FC236}">
                    <a16:creationId xmlns:a16="http://schemas.microsoft.com/office/drawing/2014/main" id="{A4BDBE77-EBDC-4AA6-B0CC-1E22DD0F8A4F}"/>
                  </a:ext>
                </a:extLst>
              </p:cNvPr>
              <p:cNvSpPr>
                <a:spLocks noChangeArrowheads="1"/>
              </p:cNvSpPr>
              <p:nvPr/>
            </p:nvSpPr>
            <p:spPr bwMode="auto">
              <a:xfrm>
                <a:off x="10627000" y="623550"/>
                <a:ext cx="288000" cy="5537047"/>
              </a:xfrm>
              <a:prstGeom prst="rect">
                <a:avLst/>
              </a:prstGeom>
              <a:solidFill>
                <a:srgbClr val="B1B3B3">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 name="Rectangle 39">
                <a:extLst>
                  <a:ext uri="{FF2B5EF4-FFF2-40B4-BE49-F238E27FC236}">
                    <a16:creationId xmlns:a16="http://schemas.microsoft.com/office/drawing/2014/main" id="{EF47F329-CC6B-4CD6-B732-8B19ACCE4B36}"/>
                  </a:ext>
                </a:extLst>
              </p:cNvPr>
              <p:cNvSpPr>
                <a:spLocks noChangeArrowheads="1"/>
              </p:cNvSpPr>
              <p:nvPr/>
            </p:nvSpPr>
            <p:spPr bwMode="auto">
              <a:xfrm>
                <a:off x="5952000" y="623550"/>
                <a:ext cx="288000" cy="5537047"/>
              </a:xfrm>
              <a:prstGeom prst="rect">
                <a:avLst/>
              </a:prstGeom>
              <a:solidFill>
                <a:srgbClr val="B1B3B3">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 name="Rectangle 40">
                <a:extLst>
                  <a:ext uri="{FF2B5EF4-FFF2-40B4-BE49-F238E27FC236}">
                    <a16:creationId xmlns:a16="http://schemas.microsoft.com/office/drawing/2014/main" id="{BCDFB7D2-68BC-419E-8A18-EC305F086004}"/>
                  </a:ext>
                </a:extLst>
              </p:cNvPr>
              <p:cNvSpPr>
                <a:spLocks noChangeArrowheads="1"/>
              </p:cNvSpPr>
              <p:nvPr/>
            </p:nvSpPr>
            <p:spPr bwMode="auto">
              <a:xfrm>
                <a:off x="1277000" y="623550"/>
                <a:ext cx="288000" cy="5537047"/>
              </a:xfrm>
              <a:prstGeom prst="rect">
                <a:avLst/>
              </a:prstGeom>
              <a:solidFill>
                <a:srgbClr val="B1B3B3">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 name="Rectangle 41">
                <a:extLst>
                  <a:ext uri="{FF2B5EF4-FFF2-40B4-BE49-F238E27FC236}">
                    <a16:creationId xmlns:a16="http://schemas.microsoft.com/office/drawing/2014/main" id="{68269321-ACF8-4492-A0E6-7232D0ECFFE6}"/>
                  </a:ext>
                </a:extLst>
              </p:cNvPr>
              <p:cNvSpPr>
                <a:spLocks noChangeArrowheads="1"/>
              </p:cNvSpPr>
              <p:nvPr/>
            </p:nvSpPr>
            <p:spPr bwMode="auto">
              <a:xfrm>
                <a:off x="2212000" y="623550"/>
                <a:ext cx="288000" cy="5537047"/>
              </a:xfrm>
              <a:prstGeom prst="rect">
                <a:avLst/>
              </a:prstGeom>
              <a:solidFill>
                <a:srgbClr val="B1B3B3">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 name="Rectangle 42">
                <a:extLst>
                  <a:ext uri="{FF2B5EF4-FFF2-40B4-BE49-F238E27FC236}">
                    <a16:creationId xmlns:a16="http://schemas.microsoft.com/office/drawing/2014/main" id="{51D14E85-1CA8-4C7E-B50F-284013D38CE6}"/>
                  </a:ext>
                </a:extLst>
              </p:cNvPr>
              <p:cNvSpPr>
                <a:spLocks noChangeArrowheads="1"/>
              </p:cNvSpPr>
              <p:nvPr/>
            </p:nvSpPr>
            <p:spPr bwMode="auto">
              <a:xfrm>
                <a:off x="3147000" y="623550"/>
                <a:ext cx="288000" cy="5537047"/>
              </a:xfrm>
              <a:prstGeom prst="rect">
                <a:avLst/>
              </a:prstGeom>
              <a:solidFill>
                <a:srgbClr val="B1B3B3">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 name="Rectangle 43">
                <a:extLst>
                  <a:ext uri="{FF2B5EF4-FFF2-40B4-BE49-F238E27FC236}">
                    <a16:creationId xmlns:a16="http://schemas.microsoft.com/office/drawing/2014/main" id="{1FA38029-D16D-49DF-BEDB-8EA6212C647D}"/>
                  </a:ext>
                </a:extLst>
              </p:cNvPr>
              <p:cNvSpPr>
                <a:spLocks noChangeArrowheads="1"/>
              </p:cNvSpPr>
              <p:nvPr/>
            </p:nvSpPr>
            <p:spPr bwMode="auto">
              <a:xfrm>
                <a:off x="4082000" y="623550"/>
                <a:ext cx="288000" cy="5537047"/>
              </a:xfrm>
              <a:prstGeom prst="rect">
                <a:avLst/>
              </a:prstGeom>
              <a:solidFill>
                <a:srgbClr val="B1B3B3">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 name="Rectangle 44">
                <a:extLst>
                  <a:ext uri="{FF2B5EF4-FFF2-40B4-BE49-F238E27FC236}">
                    <a16:creationId xmlns:a16="http://schemas.microsoft.com/office/drawing/2014/main" id="{1CD47AA2-9948-407C-BEB0-895F9ED116E1}"/>
                  </a:ext>
                </a:extLst>
              </p:cNvPr>
              <p:cNvSpPr>
                <a:spLocks noChangeArrowheads="1"/>
              </p:cNvSpPr>
              <p:nvPr/>
            </p:nvSpPr>
            <p:spPr bwMode="auto">
              <a:xfrm>
                <a:off x="5017000" y="623550"/>
                <a:ext cx="288000" cy="5537047"/>
              </a:xfrm>
              <a:prstGeom prst="rect">
                <a:avLst/>
              </a:prstGeom>
              <a:solidFill>
                <a:srgbClr val="B1B3B3">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03" name="Slide edges">
              <a:extLst>
                <a:ext uri="{FF2B5EF4-FFF2-40B4-BE49-F238E27FC236}">
                  <a16:creationId xmlns:a16="http://schemas.microsoft.com/office/drawing/2014/main" id="{73C8EAE7-7E34-4CD2-BA59-7171DD39E062}"/>
                </a:ext>
              </a:extLst>
            </p:cNvPr>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rgbClr val="B1B3B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ea typeface="+mn-ea"/>
                <a:cs typeface="+mn-cs"/>
              </a:endParaRPr>
            </a:p>
          </p:txBody>
        </p:sp>
        <p:sp>
          <p:nvSpPr>
            <p:cNvPr id="104" name="Footnote measure">
              <a:extLst>
                <a:ext uri="{FF2B5EF4-FFF2-40B4-BE49-F238E27FC236}">
                  <a16:creationId xmlns:a16="http://schemas.microsoft.com/office/drawing/2014/main" id="{762D1CD6-7EDE-497E-B5CB-4F485B32B300}"/>
                </a:ext>
              </a:extLst>
            </p:cNvPr>
            <p:cNvSpPr>
              <a:spLocks noChangeArrowheads="1"/>
            </p:cNvSpPr>
            <p:nvPr/>
          </p:nvSpPr>
          <p:spPr bwMode="auto">
            <a:xfrm>
              <a:off x="629400" y="6159600"/>
              <a:ext cx="10933200" cy="561161"/>
            </a:xfrm>
            <a:prstGeom prst="rect">
              <a:avLst/>
            </a:prstGeom>
            <a:solidFill>
              <a:srgbClr val="D4DF33">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 name="Whitespace measure">
              <a:extLst>
                <a:ext uri="{FF2B5EF4-FFF2-40B4-BE49-F238E27FC236}">
                  <a16:creationId xmlns:a16="http://schemas.microsoft.com/office/drawing/2014/main" id="{35EA0EBC-9D3F-45AE-B9A2-AA7233857798}"/>
                </a:ext>
              </a:extLst>
            </p:cNvPr>
            <p:cNvSpPr>
              <a:spLocks noChangeArrowheads="1"/>
            </p:cNvSpPr>
            <p:nvPr/>
          </p:nvSpPr>
          <p:spPr bwMode="auto">
            <a:xfrm>
              <a:off x="629400" y="1497600"/>
              <a:ext cx="10932229" cy="583200"/>
            </a:xfrm>
            <a:prstGeom prst="rect">
              <a:avLst/>
            </a:prstGeom>
            <a:solidFill>
              <a:srgbClr val="D4DF33">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06" name="Five column measure">
              <a:extLst>
                <a:ext uri="{FF2B5EF4-FFF2-40B4-BE49-F238E27FC236}">
                  <a16:creationId xmlns:a16="http://schemas.microsoft.com/office/drawing/2014/main" id="{0A270041-FD13-4CAD-B3FD-F108299741C6}"/>
                </a:ext>
              </a:extLst>
            </p:cNvPr>
            <p:cNvGrpSpPr/>
            <p:nvPr/>
          </p:nvGrpSpPr>
          <p:grpSpPr>
            <a:xfrm>
              <a:off x="629400" y="5975122"/>
              <a:ext cx="10933200" cy="79536"/>
              <a:chOff x="629400" y="5975122"/>
              <a:chExt cx="10933200" cy="79536"/>
            </a:xfrm>
          </p:grpSpPr>
          <p:sp>
            <p:nvSpPr>
              <p:cNvPr id="109" name="Rectangle 5">
                <a:extLst>
                  <a:ext uri="{FF2B5EF4-FFF2-40B4-BE49-F238E27FC236}">
                    <a16:creationId xmlns:a16="http://schemas.microsoft.com/office/drawing/2014/main" id="{4245C682-BBB1-4839-94C2-1EC1DC81E19C}"/>
                  </a:ext>
                </a:extLst>
              </p:cNvPr>
              <p:cNvSpPr>
                <a:spLocks noChangeArrowheads="1"/>
              </p:cNvSpPr>
              <p:nvPr/>
            </p:nvSpPr>
            <p:spPr bwMode="auto">
              <a:xfrm>
                <a:off x="2880128" y="5975122"/>
                <a:ext cx="1930288" cy="79536"/>
              </a:xfrm>
              <a:prstGeom prst="rect">
                <a:avLst/>
              </a:prstGeom>
              <a:solidFill>
                <a:srgbClr val="B1B3B3">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 name="Rectangle 7">
                <a:extLst>
                  <a:ext uri="{FF2B5EF4-FFF2-40B4-BE49-F238E27FC236}">
                    <a16:creationId xmlns:a16="http://schemas.microsoft.com/office/drawing/2014/main" id="{875B19F6-B409-4932-B400-7BBB797AE41A}"/>
                  </a:ext>
                </a:extLst>
              </p:cNvPr>
              <p:cNvSpPr>
                <a:spLocks noChangeArrowheads="1"/>
              </p:cNvSpPr>
              <p:nvPr/>
            </p:nvSpPr>
            <p:spPr bwMode="auto">
              <a:xfrm>
                <a:off x="9626194" y="5975122"/>
                <a:ext cx="1936406" cy="79536"/>
              </a:xfrm>
              <a:prstGeom prst="rect">
                <a:avLst/>
              </a:prstGeom>
              <a:solidFill>
                <a:srgbClr val="B1B3B3">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 name="Rectangle 9">
                <a:extLst>
                  <a:ext uri="{FF2B5EF4-FFF2-40B4-BE49-F238E27FC236}">
                    <a16:creationId xmlns:a16="http://schemas.microsoft.com/office/drawing/2014/main" id="{46DDA540-A1CB-4F04-BAEA-F6EAB1D3351C}"/>
                  </a:ext>
                </a:extLst>
              </p:cNvPr>
              <p:cNvSpPr>
                <a:spLocks noChangeArrowheads="1"/>
              </p:cNvSpPr>
              <p:nvPr/>
            </p:nvSpPr>
            <p:spPr bwMode="auto">
              <a:xfrm>
                <a:off x="7372407" y="5975122"/>
                <a:ext cx="1936406" cy="79536"/>
              </a:xfrm>
              <a:prstGeom prst="rect">
                <a:avLst/>
              </a:prstGeom>
              <a:solidFill>
                <a:srgbClr val="B1B3B3">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 name="Rectangle 11">
                <a:extLst>
                  <a:ext uri="{FF2B5EF4-FFF2-40B4-BE49-F238E27FC236}">
                    <a16:creationId xmlns:a16="http://schemas.microsoft.com/office/drawing/2014/main" id="{6F7B665F-B217-4BBD-BCEA-815ACA7A8F7C}"/>
                  </a:ext>
                </a:extLst>
              </p:cNvPr>
              <p:cNvSpPr>
                <a:spLocks noChangeArrowheads="1"/>
              </p:cNvSpPr>
              <p:nvPr/>
            </p:nvSpPr>
            <p:spPr bwMode="auto">
              <a:xfrm>
                <a:off x="5127797" y="5975122"/>
                <a:ext cx="1927229" cy="79536"/>
              </a:xfrm>
              <a:prstGeom prst="rect">
                <a:avLst/>
              </a:prstGeom>
              <a:solidFill>
                <a:srgbClr val="B1B3B3">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3" name="Rectangle 13">
                <a:extLst>
                  <a:ext uri="{FF2B5EF4-FFF2-40B4-BE49-F238E27FC236}">
                    <a16:creationId xmlns:a16="http://schemas.microsoft.com/office/drawing/2014/main" id="{6E36DF28-2CB7-45AD-8712-1D76B7D8D3F5}"/>
                  </a:ext>
                </a:extLst>
              </p:cNvPr>
              <p:cNvSpPr>
                <a:spLocks noChangeArrowheads="1"/>
              </p:cNvSpPr>
              <p:nvPr/>
            </p:nvSpPr>
            <p:spPr bwMode="auto">
              <a:xfrm>
                <a:off x="629400" y="5975122"/>
                <a:ext cx="1933347" cy="79536"/>
              </a:xfrm>
              <a:prstGeom prst="rect">
                <a:avLst/>
              </a:prstGeom>
              <a:solidFill>
                <a:srgbClr val="B1B3B3">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07" name="Footnote example">
              <a:extLst>
                <a:ext uri="{FF2B5EF4-FFF2-40B4-BE49-F238E27FC236}">
                  <a16:creationId xmlns:a16="http://schemas.microsoft.com/office/drawing/2014/main" id="{629E7B5F-10D4-4698-8679-BF99E7550F50}"/>
                </a:ext>
              </a:extLst>
            </p:cNvPr>
            <p:cNvSpPr txBox="1"/>
            <p:nvPr/>
          </p:nvSpPr>
          <p:spPr>
            <a:xfrm>
              <a:off x="1069321" y="6305263"/>
              <a:ext cx="9030914" cy="415498"/>
            </a:xfrm>
            <a:prstGeom prst="rect">
              <a:avLst/>
            </a:prstGeom>
            <a:noFill/>
          </p:spPr>
          <p:txBody>
            <a:bodyPr wrap="square" lIns="0" tIns="0" rIns="0" bIns="0" rtlCol="0" anchor="b">
              <a:spAutoFit/>
            </a:bodyPr>
            <a:lstStyle/>
            <a:p>
              <a:pPr lvl="0">
                <a:lnSpc>
                  <a:spcPct val="90000"/>
                </a:lnSpc>
                <a:defRPr/>
              </a:pPr>
              <a:r>
                <a:rPr lang="en-US" sz="1000">
                  <a:solidFill>
                    <a:prstClr val="white">
                      <a:lumMod val="65000"/>
                    </a:prstClr>
                  </a:solidFill>
                  <a:sym typeface="Trebuchet MS" panose="020B0603020202020204" pitchFamily="34" charset="0"/>
                </a:rPr>
                <a:t>1. xxxx  2. xxxx  3. List footnotes in numerical order. Footnote numbers are not bracketed. Use 10pt font</a:t>
              </a:r>
            </a:p>
            <a:p>
              <a:pPr lvl="0">
                <a:lnSpc>
                  <a:spcPct val="90000"/>
                </a:lnSpc>
                <a:defRPr/>
              </a:pPr>
              <a:r>
                <a:rPr lang="en-US" sz="1000">
                  <a:solidFill>
                    <a:prstClr val="white">
                      <a:lumMod val="65000"/>
                    </a:prstClr>
                  </a:solidFill>
                  <a:sym typeface="Trebuchet MS" panose="020B0603020202020204" pitchFamily="34" charset="0"/>
                </a:rPr>
                <a:t>Note: Do not put a period at the end of the note or the source</a:t>
              </a:r>
            </a:p>
            <a:p>
              <a:pPr lvl="0">
                <a:lnSpc>
                  <a:spcPct val="90000"/>
                </a:lnSpc>
                <a:defRPr/>
              </a:pPr>
              <a:r>
                <a:rPr lang="en-US" sz="100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en-US" sz="1000" b="0" i="0" u="none" strike="noStrike" kern="1200" cap="none" spc="0" normalizeH="0" baseline="0" noProof="0">
                <a:ln>
                  <a:noFill/>
                </a:ln>
                <a:solidFill>
                  <a:prstClr val="white">
                    <a:lumMod val="65000"/>
                  </a:prstClr>
                </a:solidFill>
                <a:effectLst/>
                <a:uLnTx/>
                <a:uFillTx/>
                <a:sym typeface="Trebuchet MS" panose="020B0603020202020204" pitchFamily="34" charset="0"/>
              </a:endParaRPr>
            </a:p>
          </p:txBody>
        </p:sp>
        <p:sp>
          <p:nvSpPr>
            <p:cNvPr id="108" name="Live area">
              <a:extLst>
                <a:ext uri="{FF2B5EF4-FFF2-40B4-BE49-F238E27FC236}">
                  <a16:creationId xmlns:a16="http://schemas.microsoft.com/office/drawing/2014/main" id="{85EB2B37-7B8B-4A63-B065-8E3491E61DDC}"/>
                </a:ext>
              </a:extLst>
            </p:cNvPr>
            <p:cNvSpPr/>
            <p:nvPr/>
          </p:nvSpPr>
          <p:spPr>
            <a:xfrm>
              <a:off x="628650" y="2081213"/>
              <a:ext cx="10934700" cy="4079875"/>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endParaRPr>
            </a:p>
          </p:txBody>
        </p:sp>
      </p:grpSp>
    </p:spTree>
    <p:extLst>
      <p:ext uri="{BB962C8B-B14F-4D97-AF65-F5344CB8AC3E}">
        <p14:creationId xmlns:p14="http://schemas.microsoft.com/office/powerpoint/2010/main" val="29537367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rgbClr val="004E2A"/>
            </a:gs>
            <a:gs pos="100000">
              <a:srgbClr val="78B944"/>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04332731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3 by Boston Consulting Group. All rights reserved.</a:t>
            </a: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mn-lt"/>
              <a:ea typeface="+mn-ea"/>
              <a:cs typeface="+mn-cs"/>
            </a:endParaRPr>
          </a:p>
        </p:txBody>
      </p:sp>
      <p:sp>
        <p:nvSpPr>
          <p:cNvPr id="12" name="Rectangle 11"/>
          <p:cNvSpPr/>
          <p:nvPr userDrawn="1">
            <p:custDataLst>
              <p:tags r:id="rId2"/>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mn-lt"/>
              <a:ea typeface="+mn-ea"/>
              <a:cs typeface="+mn-cs"/>
            </a:endParaRPr>
          </a:p>
        </p:txBody>
      </p:sp>
      <p:sp>
        <p:nvSpPr>
          <p:cNvPr id="2" name="TextBox 1"/>
          <p:cNvSpPr txBox="1"/>
          <p:nvPr userDrawn="1"/>
        </p:nvSpPr>
        <p:spPr>
          <a:xfrm>
            <a:off x="630000" y="907198"/>
            <a:ext cx="3448800" cy="3447288"/>
          </a:xfrm>
          <a:prstGeom prst="rect">
            <a:avLst/>
          </a:prstGeom>
          <a:noFill/>
          <a:ln>
            <a:solidFill>
              <a:schemeClr val="bg1"/>
            </a:solidFill>
          </a:ln>
        </p:spPr>
        <p:txBody>
          <a:bodyPr wrap="none" lIns="612000" tIns="468000" rIns="0" bIns="0" rtlCol="0" anchor="t">
            <a:noAutofit/>
          </a:bodyPr>
          <a:lstStyle/>
          <a:p>
            <a:pPr>
              <a:lnSpc>
                <a:spcPct val="90000"/>
              </a:lnSpc>
              <a:spcAft>
                <a:spcPts val="600"/>
              </a:spcAft>
            </a:pPr>
            <a:endParaRPr lang="en-US" sz="5400">
              <a:solidFill>
                <a:schemeClr val="bg1"/>
              </a:solidFill>
              <a:latin typeface="+mn-lt"/>
              <a:ea typeface="+mn-ea"/>
              <a:cs typeface="+mn-cs"/>
            </a:endParaRPr>
          </a:p>
        </p:txBody>
      </p:sp>
      <p:sp>
        <p:nvSpPr>
          <p:cNvPr id="10" name="TextBox 1"/>
          <p:cNvSpPr txBox="1"/>
          <p:nvPr userDrawn="1"/>
        </p:nvSpPr>
        <p:spPr>
          <a:xfrm>
            <a:off x="1199396" y="1115416"/>
            <a:ext cx="2309287" cy="881780"/>
          </a:xfrm>
          <a:prstGeom prst="rect">
            <a:avLst/>
          </a:prstGeom>
          <a:noFill/>
        </p:spPr>
        <p:txBody>
          <a:bodyPr wrap="none" rtlCol="0">
            <a:spAutoFit/>
          </a:bodyPr>
          <a:lstStyle/>
          <a:p>
            <a:pPr algn="ctr" fontAlgn="auto">
              <a:lnSpc>
                <a:spcPct val="95000"/>
              </a:lnSpc>
              <a:spcBef>
                <a:spcPts val="0"/>
              </a:spcBef>
              <a:spcAft>
                <a:spcPts val="0"/>
              </a:spcAft>
            </a:pPr>
            <a:r>
              <a:rPr lang="en-US" sz="5400">
                <a:solidFill>
                  <a:schemeClr val="bg1"/>
                </a:solidFill>
                <a:latin typeface="+mn-lt"/>
                <a:ea typeface="+mn-ea"/>
                <a:cs typeface="+mn-cs"/>
              </a:rPr>
              <a:t>Agenda</a:t>
            </a:r>
          </a:p>
        </p:txBody>
      </p:sp>
      <p:pic>
        <p:nvPicPr>
          <p:cNvPr id="13" name="Graphic 12">
            <a:extLst>
              <a:ext uri="{FF2B5EF4-FFF2-40B4-BE49-F238E27FC236}">
                <a16:creationId xmlns:a16="http://schemas.microsoft.com/office/drawing/2014/main" id="{1CF18B33-D6D8-48A4-9672-4732D134CE75}"/>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428018" y="6271005"/>
            <a:ext cx="498632" cy="517662"/>
          </a:xfrm>
          <a:prstGeom prst="rect">
            <a:avLst/>
          </a:prstGeom>
        </p:spPr>
      </p:pic>
    </p:spTree>
    <p:extLst>
      <p:ext uri="{BB962C8B-B14F-4D97-AF65-F5344CB8AC3E}">
        <p14:creationId xmlns:p14="http://schemas.microsoft.com/office/powerpoint/2010/main" val="27633993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a:solidFill>
                <a:srgbClr val="FFFFFF"/>
              </a:solidFill>
              <a:latin typeface="+mn-lt"/>
              <a:ea typeface="+mn-ea"/>
              <a:cs typeface="+mn-cs"/>
              <a:sym typeface="Trebuchet MS" panose="020B0603020202020204" pitchFamily="34" charset="0"/>
            </a:endParaRPr>
          </a:p>
        </p:txBody>
      </p:sp>
      <p:pic>
        <p:nvPicPr>
          <p:cNvPr id="16" name="Picture 15" descr="Diagram&#10;&#10;Description automatically generated">
            <a:extLst>
              <a:ext uri="{FF2B5EF4-FFF2-40B4-BE49-F238E27FC236}">
                <a16:creationId xmlns:a16="http://schemas.microsoft.com/office/drawing/2014/main" id="{53D83D24-4382-45EB-887F-180076E5500E}"/>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33324289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rgbClr val="004E2A"/>
            </a:gs>
            <a:gs pos="100000">
              <a:srgbClr val="78B944"/>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19158743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3 by Boston Consulting Group. All rights reserved.</a:t>
            </a: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mn-lt"/>
              <a:ea typeface="+mn-ea"/>
              <a:cs typeface="+mn-cs"/>
            </a:endParaRPr>
          </a:p>
        </p:txBody>
      </p:sp>
      <p:pic>
        <p:nvPicPr>
          <p:cNvPr id="8" name="Graphic 7">
            <a:extLst>
              <a:ext uri="{FF2B5EF4-FFF2-40B4-BE49-F238E27FC236}">
                <a16:creationId xmlns:a16="http://schemas.microsoft.com/office/drawing/2014/main" id="{7C6F39FC-A4BD-4A1A-A0D2-E062DAA33AD6}"/>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428018" y="6271005"/>
            <a:ext cx="498632" cy="517662"/>
          </a:xfrm>
          <a:prstGeom prst="rect">
            <a:avLst/>
          </a:prstGeom>
        </p:spPr>
      </p:pic>
    </p:spTree>
    <p:extLst>
      <p:ext uri="{BB962C8B-B14F-4D97-AF65-F5344CB8AC3E}">
        <p14:creationId xmlns:p14="http://schemas.microsoft.com/office/powerpoint/2010/main" val="17442613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rgbClr val="004E2A"/>
            </a:gs>
            <a:gs pos="100000">
              <a:srgbClr val="78B944"/>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15704542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3 by Boston Consulting Group. All rights reserved.</a:t>
            </a: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a:solidFill>
                  <a:schemeClr val="bg1"/>
                </a:solidFill>
                <a:latin typeface="+mn-lt"/>
                <a:ea typeface="+mn-ea"/>
                <a:cs typeface="+mn-cs"/>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pic>
        <p:nvPicPr>
          <p:cNvPr id="8" name="Graphic 7">
            <a:extLst>
              <a:ext uri="{FF2B5EF4-FFF2-40B4-BE49-F238E27FC236}">
                <a16:creationId xmlns:a16="http://schemas.microsoft.com/office/drawing/2014/main" id="{52EE9DA1-A56B-4AD7-A7AE-FC9DECE14293}"/>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428018" y="6271005"/>
            <a:ext cx="498632" cy="517662"/>
          </a:xfrm>
          <a:prstGeom prst="rect">
            <a:avLst/>
          </a:prstGeom>
        </p:spPr>
      </p:pic>
    </p:spTree>
    <p:extLst>
      <p:ext uri="{BB962C8B-B14F-4D97-AF65-F5344CB8AC3E}">
        <p14:creationId xmlns:p14="http://schemas.microsoft.com/office/powerpoint/2010/main" val="17824936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rgbClr val="004E2A"/>
            </a:gs>
            <a:gs pos="100000">
              <a:srgbClr val="78B944"/>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03793759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3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a:solidFill>
                  <a:schemeClr val="bg1"/>
                </a:solidFill>
                <a:latin typeface="+mn-lt"/>
                <a:ea typeface="+mn-ea"/>
                <a:cs typeface="+mn-cs"/>
              </a:rPr>
              <a:t>Agenda</a:t>
            </a:r>
          </a:p>
        </p:txBody>
      </p:sp>
      <p:pic>
        <p:nvPicPr>
          <p:cNvPr id="9" name="Graphic 8">
            <a:extLst>
              <a:ext uri="{FF2B5EF4-FFF2-40B4-BE49-F238E27FC236}">
                <a16:creationId xmlns:a16="http://schemas.microsoft.com/office/drawing/2014/main" id="{D7538DDF-5C24-4087-B99A-36CF897573E0}"/>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428018" y="6271005"/>
            <a:ext cx="498632" cy="517662"/>
          </a:xfrm>
          <a:prstGeom prst="rect">
            <a:avLst/>
          </a:prstGeom>
        </p:spPr>
      </p:pic>
    </p:spTree>
    <p:extLst>
      <p:ext uri="{BB962C8B-B14F-4D97-AF65-F5344CB8AC3E}">
        <p14:creationId xmlns:p14="http://schemas.microsoft.com/office/powerpoint/2010/main" val="20030455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60301892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3 by Boston Consulting Group. All rights reserved.</a:t>
            </a: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mn-lt"/>
              <a:ea typeface="+mn-ea"/>
              <a:cs typeface="+mn-cs"/>
            </a:endParaRPr>
          </a:p>
        </p:txBody>
      </p:sp>
      <p:sp>
        <p:nvSpPr>
          <p:cNvPr id="10" name="Rectangle 9"/>
          <p:cNvSpPr/>
          <p:nvPr userDrawn="1">
            <p:custDataLst>
              <p:tags r:id="rId2"/>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mn-lt"/>
              <a:ea typeface="+mn-ea"/>
              <a:cs typeface="+mn-cs"/>
            </a:endParaRPr>
          </a:p>
        </p:txBody>
      </p:sp>
      <p:sp>
        <p:nvSpPr>
          <p:cNvPr id="11" name="TextBox 10"/>
          <p:cNvSpPr txBox="1"/>
          <p:nvPr userDrawn="1"/>
        </p:nvSpPr>
        <p:spPr>
          <a:xfrm>
            <a:off x="630000" y="907196"/>
            <a:ext cx="3448800" cy="3447288"/>
          </a:xfrm>
          <a:prstGeom prst="rect">
            <a:avLst/>
          </a:prstGeom>
          <a:noFill/>
          <a:ln>
            <a:solidFill>
              <a:schemeClr val="accent4"/>
            </a:solidFill>
          </a:ln>
        </p:spPr>
        <p:txBody>
          <a:bodyPr wrap="none" lIns="612000" tIns="468000" rIns="0" bIns="0" rtlCol="0" anchor="t">
            <a:noAutofit/>
          </a:bodyPr>
          <a:lstStyle/>
          <a:p>
            <a:pPr>
              <a:lnSpc>
                <a:spcPct val="90000"/>
              </a:lnSpc>
              <a:spcAft>
                <a:spcPts val="600"/>
              </a:spcAft>
            </a:pPr>
            <a:endParaRPr lang="en-US" sz="5400">
              <a:solidFill>
                <a:schemeClr val="accent4"/>
              </a:solidFill>
              <a:latin typeface="+mn-lt"/>
              <a:ea typeface="+mn-ea"/>
              <a:cs typeface="+mn-cs"/>
            </a:endParaRPr>
          </a:p>
        </p:txBody>
      </p:sp>
      <p:sp>
        <p:nvSpPr>
          <p:cNvPr id="9" name="TextBox 1"/>
          <p:cNvSpPr txBox="1"/>
          <p:nvPr userDrawn="1"/>
        </p:nvSpPr>
        <p:spPr>
          <a:xfrm>
            <a:off x="1199396" y="1115416"/>
            <a:ext cx="2309287" cy="881780"/>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a:latin typeface="+mn-lt"/>
                <a:ea typeface="+mn-ea"/>
                <a:cs typeface="+mn-cs"/>
              </a:rPr>
              <a:t>Agenda</a:t>
            </a:r>
          </a:p>
        </p:txBody>
      </p:sp>
      <p:pic>
        <p:nvPicPr>
          <p:cNvPr id="12" name="Graphic 11">
            <a:extLst>
              <a:ext uri="{FF2B5EF4-FFF2-40B4-BE49-F238E27FC236}">
                <a16:creationId xmlns:a16="http://schemas.microsoft.com/office/drawing/2014/main" id="{26742CD6-2CF1-4677-BAF0-4994D103D774}"/>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428018" y="6271005"/>
            <a:ext cx="498632" cy="517662"/>
          </a:xfrm>
          <a:prstGeom prst="rect">
            <a:avLst/>
          </a:prstGeom>
        </p:spPr>
      </p:pic>
    </p:spTree>
    <p:extLst>
      <p:ext uri="{BB962C8B-B14F-4D97-AF65-F5344CB8AC3E}">
        <p14:creationId xmlns:p14="http://schemas.microsoft.com/office/powerpoint/2010/main" val="29246452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43967537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3 by Boston Consulting Group. All rights reserved.</a:t>
            </a: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mn-lt"/>
              <a:ea typeface="+mn-ea"/>
              <a:cs typeface="+mn-cs"/>
            </a:endParaRPr>
          </a:p>
        </p:txBody>
      </p:sp>
      <p:pic>
        <p:nvPicPr>
          <p:cNvPr id="6" name="Graphic 5">
            <a:extLst>
              <a:ext uri="{FF2B5EF4-FFF2-40B4-BE49-F238E27FC236}">
                <a16:creationId xmlns:a16="http://schemas.microsoft.com/office/drawing/2014/main" id="{A2974FD5-9031-4224-935E-1A40C25AB367}"/>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428018" y="6271005"/>
            <a:ext cx="498632" cy="517662"/>
          </a:xfrm>
          <a:prstGeom prst="rect">
            <a:avLst/>
          </a:prstGeom>
        </p:spPr>
      </p:pic>
    </p:spTree>
    <p:extLst>
      <p:ext uri="{BB962C8B-B14F-4D97-AF65-F5344CB8AC3E}">
        <p14:creationId xmlns:p14="http://schemas.microsoft.com/office/powerpoint/2010/main" val="18018442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60489893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3 by Boston Consulting Group. All rights reserved.</a:t>
            </a: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a:solidFill>
                  <a:schemeClr val="accent4"/>
                </a:solidFill>
                <a:latin typeface="+mn-lt"/>
                <a:ea typeface="+mn-ea"/>
                <a:cs typeface="+mn-cs"/>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pic>
        <p:nvPicPr>
          <p:cNvPr id="6" name="Graphic 5">
            <a:extLst>
              <a:ext uri="{FF2B5EF4-FFF2-40B4-BE49-F238E27FC236}">
                <a16:creationId xmlns:a16="http://schemas.microsoft.com/office/drawing/2014/main" id="{3DAF94CB-47A2-471D-B5F0-932D7A57839D}"/>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428018" y="6271005"/>
            <a:ext cx="498632" cy="517662"/>
          </a:xfrm>
          <a:prstGeom prst="rect">
            <a:avLst/>
          </a:prstGeom>
        </p:spPr>
      </p:pic>
    </p:spTree>
    <p:extLst>
      <p:ext uri="{BB962C8B-B14F-4D97-AF65-F5344CB8AC3E}">
        <p14:creationId xmlns:p14="http://schemas.microsoft.com/office/powerpoint/2010/main" val="27676038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rgbClr val="004E2A"/>
            </a:gs>
            <a:gs pos="100000">
              <a:srgbClr val="78B944"/>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42123104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3 by Boston Consulting Group. All rights reserved.</a:t>
            </a: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a:solidFill>
                  <a:schemeClr val="bg1"/>
                </a:solidFill>
                <a:latin typeface="+mn-lt"/>
                <a:ea typeface="+mn-ea"/>
                <a:cs typeface="+mn-cs"/>
              </a:rPr>
              <a:t>Agenda</a:t>
            </a:r>
          </a:p>
        </p:txBody>
      </p:sp>
      <p:pic>
        <p:nvPicPr>
          <p:cNvPr id="9" name="Graphic 8">
            <a:extLst>
              <a:ext uri="{FF2B5EF4-FFF2-40B4-BE49-F238E27FC236}">
                <a16:creationId xmlns:a16="http://schemas.microsoft.com/office/drawing/2014/main" id="{6FC979E9-9FAC-47CE-9CE9-DE84AC6F6D0A}"/>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428018" y="6271005"/>
            <a:ext cx="498632" cy="517662"/>
          </a:xfrm>
          <a:prstGeom prst="rect">
            <a:avLst/>
          </a:prstGeom>
        </p:spPr>
      </p:pic>
    </p:spTree>
    <p:extLst>
      <p:ext uri="{BB962C8B-B14F-4D97-AF65-F5344CB8AC3E}">
        <p14:creationId xmlns:p14="http://schemas.microsoft.com/office/powerpoint/2010/main" val="26133826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rgbClr val="004E2A"/>
            </a:gs>
            <a:gs pos="100000">
              <a:srgbClr val="78B944"/>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417451678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a:solidFill>
                  <a:schemeClr val="tx2"/>
                </a:solidFill>
                <a:latin typeface="+mn-lt"/>
                <a:ea typeface="+mn-ea"/>
                <a:cs typeface="+mn-cs"/>
                <a:sym typeface="Trebuchet MS" panose="020B0603020202020204" pitchFamily="34" charset="0"/>
              </a:rPr>
              <a:t>Table of contents</a:t>
            </a:r>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3 by Boston Consulting Group. All rights reserved.</a:t>
            </a: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pic>
        <p:nvPicPr>
          <p:cNvPr id="10" name="Graphic 9">
            <a:extLst>
              <a:ext uri="{FF2B5EF4-FFF2-40B4-BE49-F238E27FC236}">
                <a16:creationId xmlns:a16="http://schemas.microsoft.com/office/drawing/2014/main" id="{A46EB8A1-3C70-4FAE-A195-1D2D299B7B1D}"/>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428018" y="6271005"/>
            <a:ext cx="498632" cy="517662"/>
          </a:xfrm>
          <a:prstGeom prst="rect">
            <a:avLst/>
          </a:prstGeom>
        </p:spPr>
      </p:pic>
    </p:spTree>
    <p:extLst>
      <p:ext uri="{BB962C8B-B14F-4D97-AF65-F5344CB8AC3E}">
        <p14:creationId xmlns:p14="http://schemas.microsoft.com/office/powerpoint/2010/main" val="1736850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matchingName="D. Title Only">
  <p:cSld name="2_D. Title Only">
    <p:spTree>
      <p:nvGrpSpPr>
        <p:cNvPr id="1" name="Shape 35"/>
        <p:cNvGrpSpPr/>
        <p:nvPr/>
      </p:nvGrpSpPr>
      <p:grpSpPr>
        <a:xfrm>
          <a:off x="0" y="0"/>
          <a:ext cx="0" cy="0"/>
          <a:chOff x="0" y="0"/>
          <a:chExt cx="0" cy="0"/>
        </a:xfrm>
      </p:grpSpPr>
      <p:pic>
        <p:nvPicPr>
          <p:cNvPr id="36" name="Google Shape;36;p4"/>
          <p:cNvPicPr preferRelativeResize="0"/>
          <p:nvPr/>
        </p:nvPicPr>
        <p:blipFill rotWithShape="1">
          <a:blip r:embed="rId2">
            <a:alphaModFix/>
          </a:blip>
          <a:srcRect/>
          <a:stretch/>
        </p:blipFill>
        <p:spPr>
          <a:xfrm>
            <a:off x="1588" y="1588"/>
            <a:ext cx="1588" cy="1588"/>
          </a:xfrm>
          <a:prstGeom prst="rect">
            <a:avLst/>
          </a:prstGeom>
          <a:noFill/>
          <a:ln>
            <a:noFill/>
          </a:ln>
        </p:spPr>
      </p:pic>
      <p:sp>
        <p:nvSpPr>
          <p:cNvPr id="37" name="Google Shape;37;p4"/>
          <p:cNvSpPr txBox="1">
            <a:spLocks noGrp="1"/>
          </p:cNvSpPr>
          <p:nvPr>
            <p:ph type="dt" idx="10"/>
          </p:nvPr>
        </p:nvSpPr>
        <p:spPr>
          <a:xfrm>
            <a:off x="9677400" y="6405036"/>
            <a:ext cx="1482051" cy="153888"/>
          </a:xfrm>
          <a:prstGeom prst="rect">
            <a:avLst/>
          </a:prstGeom>
          <a:noFill/>
          <a:ln>
            <a:noFill/>
          </a:ln>
        </p:spPr>
        <p:txBody>
          <a:bodyPr spcFirstLastPara="1" wrap="square" lIns="0" tIns="0" rIns="0" bIns="0" anchor="b" anchorCtr="0">
            <a:noAutofit/>
          </a:bodyPr>
          <a:lstStyle>
            <a:lvl1pPr lvl="0" algn="r">
              <a:spcBef>
                <a:spcPts val="0"/>
              </a:spcBef>
              <a:spcAft>
                <a:spcPts val="0"/>
              </a:spcAft>
              <a:buSzPts val="1400"/>
              <a:buNone/>
              <a:defRPr>
                <a:solidFill>
                  <a:srgbClr val="7F7F7F"/>
                </a:solidFill>
                <a:latin typeface="Helvetica Neue"/>
                <a:ea typeface="Helvetica Neue"/>
                <a:cs typeface="Helvetica Neue"/>
                <a:sym typeface="Helvetica Neu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8" name="Google Shape;38;p4"/>
          <p:cNvSpPr txBox="1">
            <a:spLocks noGrp="1"/>
          </p:cNvSpPr>
          <p:nvPr>
            <p:ph type="title"/>
          </p:nvPr>
        </p:nvSpPr>
        <p:spPr>
          <a:xfrm>
            <a:off x="630000" y="622800"/>
            <a:ext cx="10933350" cy="387798"/>
          </a:xfrm>
          <a:prstGeom prst="rect">
            <a:avLst/>
          </a:prstGeom>
          <a:noFill/>
          <a:ln>
            <a:noFill/>
          </a:ln>
        </p:spPr>
        <p:txBody>
          <a:bodyPr spcFirstLastPara="1" wrap="square" lIns="0" tIns="0" rIns="0" bIns="0" anchor="t" anchorCtr="0">
            <a:noAutofit/>
          </a:bodyPr>
          <a:lstStyle>
            <a:lvl1pPr lvl="0" algn="l">
              <a:lnSpc>
                <a:spcPct val="90000"/>
              </a:lnSpc>
              <a:spcBef>
                <a:spcPts val="0"/>
              </a:spcBef>
              <a:spcAft>
                <a:spcPts val="0"/>
              </a:spcAft>
              <a:buClr>
                <a:schemeClr val="dk2"/>
              </a:buClr>
              <a:buSzPts val="2800"/>
              <a:buFont typeface="Helvetica Neue"/>
              <a:buNone/>
              <a:defRPr>
                <a:latin typeface="Helvetica Neue"/>
                <a:ea typeface="Helvetica Neue"/>
                <a:cs typeface="Helvetica Neue"/>
                <a:sym typeface="Helvetica Neu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grpSp>
        <p:nvGrpSpPr>
          <p:cNvPr id="39" name="Google Shape;39;p4"/>
          <p:cNvGrpSpPr/>
          <p:nvPr/>
        </p:nvGrpSpPr>
        <p:grpSpPr>
          <a:xfrm>
            <a:off x="0" y="0"/>
            <a:ext cx="12192000" cy="180000"/>
            <a:chOff x="0" y="0"/>
            <a:chExt cx="12192000" cy="180000"/>
          </a:xfrm>
        </p:grpSpPr>
        <p:pic>
          <p:nvPicPr>
            <p:cNvPr id="40" name="Google Shape;40;p4"/>
            <p:cNvPicPr preferRelativeResize="0"/>
            <p:nvPr/>
          </p:nvPicPr>
          <p:blipFill rotWithShape="1">
            <a:blip r:embed="rId3">
              <a:alphaModFix/>
            </a:blip>
            <a:srcRect/>
            <a:stretch/>
          </p:blipFill>
          <p:spPr>
            <a:xfrm>
              <a:off x="0" y="0"/>
              <a:ext cx="12191999" cy="180000"/>
            </a:xfrm>
            <a:prstGeom prst="rect">
              <a:avLst/>
            </a:prstGeom>
            <a:noFill/>
            <a:ln>
              <a:noFill/>
            </a:ln>
          </p:spPr>
        </p:pic>
        <p:sp>
          <p:nvSpPr>
            <p:cNvPr id="41" name="Google Shape;41;p4"/>
            <p:cNvSpPr/>
            <p:nvPr/>
          </p:nvSpPr>
          <p:spPr>
            <a:xfrm>
              <a:off x="0" y="0"/>
              <a:ext cx="12192000" cy="180000"/>
            </a:xfrm>
            <a:prstGeom prst="rect">
              <a:avLst/>
            </a:prstGeom>
            <a:solidFill>
              <a:srgbClr val="222A35">
                <a:alpha val="80000"/>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Clr>
                  <a:schemeClr val="dk1"/>
                </a:buClr>
                <a:buSzPts val="1800"/>
                <a:buFont typeface="Helvetica Neue"/>
                <a:buNone/>
              </a:pPr>
              <a:endParaRPr sz="1800" b="0" i="0" u="none" strike="noStrike" cap="none">
                <a:solidFill>
                  <a:srgbClr val="FFFFFF"/>
                </a:solidFill>
                <a:latin typeface="Helvetica Neue"/>
                <a:ea typeface="Helvetica Neue"/>
                <a:cs typeface="Helvetica Neue"/>
                <a:sym typeface="Helvetica Neue"/>
              </a:endParaRPr>
            </a:p>
          </p:txBody>
        </p:sp>
      </p:grpSp>
      <p:grpSp>
        <p:nvGrpSpPr>
          <p:cNvPr id="42" name="Google Shape;42;p4"/>
          <p:cNvGrpSpPr/>
          <p:nvPr/>
        </p:nvGrpSpPr>
        <p:grpSpPr>
          <a:xfrm>
            <a:off x="0" y="6678000"/>
            <a:ext cx="12192000" cy="180000"/>
            <a:chOff x="0" y="0"/>
            <a:chExt cx="12192000" cy="180000"/>
          </a:xfrm>
        </p:grpSpPr>
        <p:pic>
          <p:nvPicPr>
            <p:cNvPr id="43" name="Google Shape;43;p4"/>
            <p:cNvPicPr preferRelativeResize="0"/>
            <p:nvPr/>
          </p:nvPicPr>
          <p:blipFill rotWithShape="1">
            <a:blip r:embed="rId3">
              <a:alphaModFix/>
            </a:blip>
            <a:srcRect/>
            <a:stretch/>
          </p:blipFill>
          <p:spPr>
            <a:xfrm>
              <a:off x="0" y="0"/>
              <a:ext cx="12191999" cy="180000"/>
            </a:xfrm>
            <a:prstGeom prst="rect">
              <a:avLst/>
            </a:prstGeom>
            <a:noFill/>
            <a:ln>
              <a:noFill/>
            </a:ln>
          </p:spPr>
        </p:pic>
        <p:sp>
          <p:nvSpPr>
            <p:cNvPr id="44" name="Google Shape;44;p4"/>
            <p:cNvSpPr/>
            <p:nvPr/>
          </p:nvSpPr>
          <p:spPr>
            <a:xfrm>
              <a:off x="0" y="0"/>
              <a:ext cx="12192000" cy="180000"/>
            </a:xfrm>
            <a:prstGeom prst="rect">
              <a:avLst/>
            </a:prstGeom>
            <a:solidFill>
              <a:srgbClr val="222A35">
                <a:alpha val="80000"/>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Clr>
                  <a:schemeClr val="dk1"/>
                </a:buClr>
                <a:buSzPts val="1800"/>
                <a:buFont typeface="Helvetica Neue"/>
                <a:buNone/>
              </a:pPr>
              <a:endParaRPr sz="1800" b="0" i="0" u="none" strike="noStrike" cap="none">
                <a:solidFill>
                  <a:srgbClr val="FFFFFF"/>
                </a:solidFill>
                <a:latin typeface="Helvetica Neue"/>
                <a:ea typeface="Helvetica Neue"/>
                <a:cs typeface="Helvetica Neue"/>
                <a:sym typeface="Helvetica Neue"/>
              </a:endParaRPr>
            </a:p>
          </p:txBody>
        </p:sp>
      </p:grpSp>
      <p:cxnSp>
        <p:nvCxnSpPr>
          <p:cNvPr id="45" name="Google Shape;45;p4"/>
          <p:cNvCxnSpPr/>
          <p:nvPr/>
        </p:nvCxnSpPr>
        <p:spPr>
          <a:xfrm>
            <a:off x="658156" y="1104677"/>
            <a:ext cx="1193400" cy="0"/>
          </a:xfrm>
          <a:prstGeom prst="straightConnector1">
            <a:avLst/>
          </a:prstGeom>
          <a:noFill/>
          <a:ln w="76200" cap="flat" cmpd="sng">
            <a:solidFill>
              <a:schemeClr val="dk2"/>
            </a:solidFill>
            <a:prstDash val="solid"/>
            <a:round/>
            <a:headEnd type="none" w="sm" len="sm"/>
            <a:tailEnd type="none" w="sm" len="sm"/>
          </a:ln>
        </p:spPr>
      </p:cxnSp>
    </p:spTree>
    <p:extLst>
      <p:ext uri="{BB962C8B-B14F-4D97-AF65-F5344CB8AC3E}">
        <p14:creationId xmlns:p14="http://schemas.microsoft.com/office/powerpoint/2010/main" val="6813429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1_Agenda Section Header Overview">
    <p:bg>
      <p:bgPr>
        <a:gradFill>
          <a:gsLst>
            <a:gs pos="0">
              <a:srgbClr val="004E2A"/>
            </a:gs>
            <a:gs pos="100000">
              <a:srgbClr val="78B944"/>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67060734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mn-lt"/>
              <a:ea typeface="+mn-ea"/>
              <a:cs typeface="+mn-cs"/>
            </a:endParaRPr>
          </a:p>
        </p:txBody>
      </p:sp>
      <p:sp>
        <p:nvSpPr>
          <p:cNvPr id="12" name="Rectangle 11"/>
          <p:cNvSpPr/>
          <p:nvPr userDrawn="1">
            <p:custDataLst>
              <p:tags r:id="rId2"/>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mn-lt"/>
              <a:ea typeface="+mn-ea"/>
              <a:cs typeface="+mn-cs"/>
            </a:endParaRPr>
          </a:p>
        </p:txBody>
      </p:sp>
      <p:sp>
        <p:nvSpPr>
          <p:cNvPr id="2" name="TextBox 1"/>
          <p:cNvSpPr txBox="1"/>
          <p:nvPr userDrawn="1"/>
        </p:nvSpPr>
        <p:spPr>
          <a:xfrm>
            <a:off x="630000" y="907198"/>
            <a:ext cx="3448800" cy="3447288"/>
          </a:xfrm>
          <a:prstGeom prst="rect">
            <a:avLst/>
          </a:prstGeom>
          <a:noFill/>
          <a:ln>
            <a:solidFill>
              <a:schemeClr val="bg1"/>
            </a:solidFill>
          </a:ln>
        </p:spPr>
        <p:txBody>
          <a:bodyPr wrap="none" lIns="612000" tIns="468000" rIns="0" bIns="0" rtlCol="0" anchor="t">
            <a:noAutofit/>
          </a:bodyPr>
          <a:lstStyle/>
          <a:p>
            <a:pPr>
              <a:lnSpc>
                <a:spcPct val="90000"/>
              </a:lnSpc>
              <a:spcAft>
                <a:spcPts val="600"/>
              </a:spcAft>
            </a:pPr>
            <a:endParaRPr lang="en-US" sz="5400">
              <a:solidFill>
                <a:schemeClr val="bg1"/>
              </a:solidFill>
              <a:latin typeface="+mn-lt"/>
              <a:ea typeface="+mn-ea"/>
              <a:cs typeface="+mn-cs"/>
            </a:endParaRPr>
          </a:p>
        </p:txBody>
      </p:sp>
      <p:sp>
        <p:nvSpPr>
          <p:cNvPr id="10" name="TextBox 1"/>
          <p:cNvSpPr txBox="1"/>
          <p:nvPr userDrawn="1"/>
        </p:nvSpPr>
        <p:spPr>
          <a:xfrm>
            <a:off x="1199396" y="1115416"/>
            <a:ext cx="2309287" cy="881780"/>
          </a:xfrm>
          <a:prstGeom prst="rect">
            <a:avLst/>
          </a:prstGeom>
          <a:noFill/>
        </p:spPr>
        <p:txBody>
          <a:bodyPr wrap="none" rtlCol="0">
            <a:spAutoFit/>
          </a:bodyPr>
          <a:lstStyle/>
          <a:p>
            <a:pPr algn="ctr" fontAlgn="auto">
              <a:lnSpc>
                <a:spcPct val="95000"/>
              </a:lnSpc>
              <a:spcBef>
                <a:spcPts val="0"/>
              </a:spcBef>
              <a:spcAft>
                <a:spcPts val="0"/>
              </a:spcAft>
            </a:pPr>
            <a:r>
              <a:rPr lang="en-US" sz="5400">
                <a:solidFill>
                  <a:schemeClr val="bg1"/>
                </a:solidFill>
                <a:latin typeface="+mn-lt"/>
                <a:ea typeface="+mn-ea"/>
                <a:cs typeface="+mn-cs"/>
              </a:rPr>
              <a:t>Agenda</a:t>
            </a:r>
          </a:p>
        </p:txBody>
      </p:sp>
      <p:pic>
        <p:nvPicPr>
          <p:cNvPr id="13" name="Graphic 12">
            <a:extLst>
              <a:ext uri="{FF2B5EF4-FFF2-40B4-BE49-F238E27FC236}">
                <a16:creationId xmlns:a16="http://schemas.microsoft.com/office/drawing/2014/main" id="{1CF18B33-D6D8-48A4-9672-4732D134CE75}"/>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428018" y="6271005"/>
            <a:ext cx="498632" cy="517662"/>
          </a:xfrm>
          <a:prstGeom prst="rect">
            <a:avLst/>
          </a:prstGeom>
        </p:spPr>
      </p:pic>
    </p:spTree>
    <p:extLst>
      <p:ext uri="{BB962C8B-B14F-4D97-AF65-F5344CB8AC3E}">
        <p14:creationId xmlns:p14="http://schemas.microsoft.com/office/powerpoint/2010/main" val="18802304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8AFC886-5AC5-4758-9097-08BB21B48A8A}"/>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a:extLst>
                          <a:ext uri="{FF2B5EF4-FFF2-40B4-BE49-F238E27FC236}">
                            <a16:creationId xmlns:a16="http://schemas.microsoft.com/office/drawing/2014/main" id="{C8AFC886-5AC5-4758-9097-08BB21B48A8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ea typeface="+mj-ea"/>
                <a:cs typeface="+mj-cs"/>
                <a:sym typeface="Trebuchet MS" panose="020B0603020202020204" pitchFamily="34" charset="0"/>
              </a:defRPr>
            </a:lvl1pPr>
          </a:lstStyle>
          <a:p>
            <a:pPr lvl="0"/>
            <a:r>
              <a:rPr lang="en-US"/>
              <a:t>Click to add title</a:t>
            </a:r>
          </a:p>
        </p:txBody>
      </p:sp>
      <p:pic>
        <p:nvPicPr>
          <p:cNvPr id="8" name="Graphic 7">
            <a:extLst>
              <a:ext uri="{FF2B5EF4-FFF2-40B4-BE49-F238E27FC236}">
                <a16:creationId xmlns:a16="http://schemas.microsoft.com/office/drawing/2014/main" id="{7654ED8D-7BE0-4546-B5D0-54061F8EA0D4}"/>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428018" y="6271005"/>
            <a:ext cx="498632" cy="517662"/>
          </a:xfrm>
          <a:prstGeom prst="rect">
            <a:avLst/>
          </a:prstGeom>
        </p:spPr>
      </p:pic>
    </p:spTree>
    <p:extLst>
      <p:ext uri="{BB962C8B-B14F-4D97-AF65-F5344CB8AC3E}">
        <p14:creationId xmlns:p14="http://schemas.microsoft.com/office/powerpoint/2010/main" val="18930562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1_Agenda Section Header">
    <p:bg>
      <p:bgPr>
        <a:gradFill>
          <a:gsLst>
            <a:gs pos="0">
              <a:srgbClr val="004E2A"/>
            </a:gs>
            <a:gs pos="100000">
              <a:srgbClr val="78B944"/>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51875101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mn-lt"/>
              <a:ea typeface="+mn-ea"/>
              <a:cs typeface="+mn-cs"/>
            </a:endParaRPr>
          </a:p>
        </p:txBody>
      </p:sp>
      <p:pic>
        <p:nvPicPr>
          <p:cNvPr id="8" name="Graphic 7">
            <a:extLst>
              <a:ext uri="{FF2B5EF4-FFF2-40B4-BE49-F238E27FC236}">
                <a16:creationId xmlns:a16="http://schemas.microsoft.com/office/drawing/2014/main" id="{7C6F39FC-A4BD-4A1A-A0D2-E062DAA33AD6}"/>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428018" y="6271005"/>
            <a:ext cx="498632" cy="517662"/>
          </a:xfrm>
          <a:prstGeom prst="rect">
            <a:avLst/>
          </a:prstGeom>
        </p:spPr>
      </p:pic>
    </p:spTree>
    <p:extLst>
      <p:ext uri="{BB962C8B-B14F-4D97-AF65-F5344CB8AC3E}">
        <p14:creationId xmlns:p14="http://schemas.microsoft.com/office/powerpoint/2010/main" val="2031638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userDrawn="1">
  <p:cSld name="1_Agenda Full Width Overview">
    <p:bg>
      <p:bgPr>
        <a:gradFill>
          <a:gsLst>
            <a:gs pos="0">
              <a:srgbClr val="004E2A"/>
            </a:gs>
            <a:gs pos="100000">
              <a:srgbClr val="78B944"/>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56872506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a:solidFill>
                  <a:schemeClr val="bg1"/>
                </a:solidFill>
                <a:latin typeface="+mn-lt"/>
                <a:ea typeface="+mn-ea"/>
                <a:cs typeface="+mn-cs"/>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pic>
        <p:nvPicPr>
          <p:cNvPr id="8" name="Graphic 7">
            <a:extLst>
              <a:ext uri="{FF2B5EF4-FFF2-40B4-BE49-F238E27FC236}">
                <a16:creationId xmlns:a16="http://schemas.microsoft.com/office/drawing/2014/main" id="{52EE9DA1-A56B-4AD7-A7AE-FC9DECE14293}"/>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428018" y="6271005"/>
            <a:ext cx="498632" cy="517662"/>
          </a:xfrm>
          <a:prstGeom prst="rect">
            <a:avLst/>
          </a:prstGeom>
        </p:spPr>
      </p:pic>
    </p:spTree>
    <p:extLst>
      <p:ext uri="{BB962C8B-B14F-4D97-AF65-F5344CB8AC3E}">
        <p14:creationId xmlns:p14="http://schemas.microsoft.com/office/powerpoint/2010/main" val="22399355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userDrawn="1">
  <p:cSld name="1_Agenda Two-Thirds">
    <p:bg>
      <p:bgPr>
        <a:gradFill>
          <a:gsLst>
            <a:gs pos="0">
              <a:srgbClr val="004E2A"/>
            </a:gs>
            <a:gs pos="100000">
              <a:srgbClr val="78B944"/>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29902870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a:solidFill>
                  <a:schemeClr val="bg1"/>
                </a:solidFill>
                <a:latin typeface="+mn-lt"/>
                <a:ea typeface="+mn-ea"/>
                <a:cs typeface="+mn-cs"/>
              </a:rPr>
              <a:t>Agenda</a:t>
            </a:r>
          </a:p>
        </p:txBody>
      </p:sp>
      <p:pic>
        <p:nvPicPr>
          <p:cNvPr id="9" name="Graphic 8">
            <a:extLst>
              <a:ext uri="{FF2B5EF4-FFF2-40B4-BE49-F238E27FC236}">
                <a16:creationId xmlns:a16="http://schemas.microsoft.com/office/drawing/2014/main" id="{D7538DDF-5C24-4087-B99A-36CF897573E0}"/>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428018" y="6271005"/>
            <a:ext cx="498632" cy="517662"/>
          </a:xfrm>
          <a:prstGeom prst="rect">
            <a:avLst/>
          </a:prstGeom>
        </p:spPr>
      </p:pic>
    </p:spTree>
    <p:extLst>
      <p:ext uri="{BB962C8B-B14F-4D97-AF65-F5344CB8AC3E}">
        <p14:creationId xmlns:p14="http://schemas.microsoft.com/office/powerpoint/2010/main" val="16836587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1_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3030527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mn-lt"/>
              <a:ea typeface="+mn-ea"/>
              <a:cs typeface="+mn-cs"/>
            </a:endParaRPr>
          </a:p>
        </p:txBody>
      </p:sp>
      <p:sp>
        <p:nvSpPr>
          <p:cNvPr id="10" name="Rectangle 9"/>
          <p:cNvSpPr/>
          <p:nvPr userDrawn="1">
            <p:custDataLst>
              <p:tags r:id="rId2"/>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mn-lt"/>
              <a:ea typeface="+mn-ea"/>
              <a:cs typeface="+mn-cs"/>
            </a:endParaRPr>
          </a:p>
        </p:txBody>
      </p:sp>
      <p:sp>
        <p:nvSpPr>
          <p:cNvPr id="11" name="TextBox 10"/>
          <p:cNvSpPr txBox="1"/>
          <p:nvPr userDrawn="1"/>
        </p:nvSpPr>
        <p:spPr>
          <a:xfrm>
            <a:off x="630000" y="907196"/>
            <a:ext cx="3448800" cy="3447288"/>
          </a:xfrm>
          <a:prstGeom prst="rect">
            <a:avLst/>
          </a:prstGeom>
          <a:noFill/>
          <a:ln>
            <a:solidFill>
              <a:schemeClr val="accent4"/>
            </a:solidFill>
          </a:ln>
        </p:spPr>
        <p:txBody>
          <a:bodyPr wrap="none" lIns="612000" tIns="468000" rIns="0" bIns="0" rtlCol="0" anchor="t">
            <a:noAutofit/>
          </a:bodyPr>
          <a:lstStyle/>
          <a:p>
            <a:pPr>
              <a:lnSpc>
                <a:spcPct val="90000"/>
              </a:lnSpc>
              <a:spcAft>
                <a:spcPts val="600"/>
              </a:spcAft>
            </a:pPr>
            <a:endParaRPr lang="en-US" sz="5400">
              <a:solidFill>
                <a:schemeClr val="accent4"/>
              </a:solidFill>
              <a:latin typeface="+mn-lt"/>
              <a:ea typeface="+mn-ea"/>
              <a:cs typeface="+mn-cs"/>
            </a:endParaRPr>
          </a:p>
        </p:txBody>
      </p:sp>
      <p:sp>
        <p:nvSpPr>
          <p:cNvPr id="9" name="TextBox 1"/>
          <p:cNvSpPr txBox="1"/>
          <p:nvPr userDrawn="1"/>
        </p:nvSpPr>
        <p:spPr>
          <a:xfrm>
            <a:off x="1199396" y="1115416"/>
            <a:ext cx="2309287" cy="881780"/>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a:latin typeface="+mn-lt"/>
                <a:ea typeface="+mn-ea"/>
                <a:cs typeface="+mn-cs"/>
              </a:rPr>
              <a:t>Agenda</a:t>
            </a:r>
          </a:p>
        </p:txBody>
      </p:sp>
      <p:pic>
        <p:nvPicPr>
          <p:cNvPr id="12" name="Graphic 11">
            <a:extLst>
              <a:ext uri="{FF2B5EF4-FFF2-40B4-BE49-F238E27FC236}">
                <a16:creationId xmlns:a16="http://schemas.microsoft.com/office/drawing/2014/main" id="{26742CD6-2CF1-4677-BAF0-4994D103D774}"/>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428018" y="6271005"/>
            <a:ext cx="498632" cy="517662"/>
          </a:xfrm>
          <a:prstGeom prst="rect">
            <a:avLst/>
          </a:prstGeom>
        </p:spPr>
      </p:pic>
    </p:spTree>
    <p:extLst>
      <p:ext uri="{BB962C8B-B14F-4D97-AF65-F5344CB8AC3E}">
        <p14:creationId xmlns:p14="http://schemas.microsoft.com/office/powerpoint/2010/main" val="26044046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1_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98792929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mn-lt"/>
              <a:ea typeface="+mn-ea"/>
              <a:cs typeface="+mn-cs"/>
            </a:endParaRPr>
          </a:p>
        </p:txBody>
      </p:sp>
      <p:pic>
        <p:nvPicPr>
          <p:cNvPr id="6" name="Graphic 5">
            <a:extLst>
              <a:ext uri="{FF2B5EF4-FFF2-40B4-BE49-F238E27FC236}">
                <a16:creationId xmlns:a16="http://schemas.microsoft.com/office/drawing/2014/main" id="{A2974FD5-9031-4224-935E-1A40C25AB367}"/>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428018" y="6271005"/>
            <a:ext cx="498632" cy="517662"/>
          </a:xfrm>
          <a:prstGeom prst="rect">
            <a:avLst/>
          </a:prstGeom>
        </p:spPr>
      </p:pic>
    </p:spTree>
    <p:extLst>
      <p:ext uri="{BB962C8B-B14F-4D97-AF65-F5344CB8AC3E}">
        <p14:creationId xmlns:p14="http://schemas.microsoft.com/office/powerpoint/2010/main" val="11512314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1_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65228530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a:solidFill>
                  <a:schemeClr val="accent4"/>
                </a:solidFill>
                <a:latin typeface="+mn-lt"/>
                <a:ea typeface="+mn-ea"/>
                <a:cs typeface="+mn-cs"/>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pic>
        <p:nvPicPr>
          <p:cNvPr id="6" name="Graphic 5">
            <a:extLst>
              <a:ext uri="{FF2B5EF4-FFF2-40B4-BE49-F238E27FC236}">
                <a16:creationId xmlns:a16="http://schemas.microsoft.com/office/drawing/2014/main" id="{3DAF94CB-47A2-471D-B5F0-932D7A57839D}"/>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428018" y="6271005"/>
            <a:ext cx="498632" cy="517662"/>
          </a:xfrm>
          <a:prstGeom prst="rect">
            <a:avLst/>
          </a:prstGeom>
        </p:spPr>
      </p:pic>
    </p:spTree>
    <p:extLst>
      <p:ext uri="{BB962C8B-B14F-4D97-AF65-F5344CB8AC3E}">
        <p14:creationId xmlns:p14="http://schemas.microsoft.com/office/powerpoint/2010/main" val="2955426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reserve="1" userDrawn="1">
  <p:cSld name="1_Agenda D. Two-Thirds">
    <p:bg>
      <p:bgPr>
        <a:gradFill>
          <a:gsLst>
            <a:gs pos="0">
              <a:srgbClr val="004E2A"/>
            </a:gs>
            <a:gs pos="100000">
              <a:srgbClr val="78B944"/>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11833245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a:solidFill>
                  <a:schemeClr val="bg1"/>
                </a:solidFill>
                <a:latin typeface="+mn-lt"/>
                <a:ea typeface="+mn-ea"/>
                <a:cs typeface="+mn-cs"/>
              </a:rPr>
              <a:t>Agenda</a:t>
            </a:r>
          </a:p>
        </p:txBody>
      </p:sp>
      <p:pic>
        <p:nvPicPr>
          <p:cNvPr id="9" name="Graphic 8">
            <a:extLst>
              <a:ext uri="{FF2B5EF4-FFF2-40B4-BE49-F238E27FC236}">
                <a16:creationId xmlns:a16="http://schemas.microsoft.com/office/drawing/2014/main" id="{6FC979E9-9FAC-47CE-9CE9-DE84AC6F6D0A}"/>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428018" y="6271005"/>
            <a:ext cx="498632" cy="517662"/>
          </a:xfrm>
          <a:prstGeom prst="rect">
            <a:avLst/>
          </a:prstGeom>
        </p:spPr>
      </p:pic>
    </p:spTree>
    <p:extLst>
      <p:ext uri="{BB962C8B-B14F-4D97-AF65-F5344CB8AC3E}">
        <p14:creationId xmlns:p14="http://schemas.microsoft.com/office/powerpoint/2010/main" val="39541287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1_Agenda D. Table of Contents">
    <p:bg>
      <p:bgPr>
        <a:gradFill>
          <a:gsLst>
            <a:gs pos="0">
              <a:srgbClr val="004E2A"/>
            </a:gs>
            <a:gs pos="100000">
              <a:srgbClr val="78B944"/>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1631252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a:solidFill>
                  <a:schemeClr val="tx2"/>
                </a:solidFill>
                <a:latin typeface="+mn-lt"/>
                <a:ea typeface="+mn-ea"/>
                <a:cs typeface="+mn-cs"/>
                <a:sym typeface="Trebuchet MS" panose="020B0603020202020204" pitchFamily="34" charset="0"/>
              </a:rPr>
              <a:t>Table of contents</a:t>
            </a:r>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pic>
        <p:nvPicPr>
          <p:cNvPr id="10" name="Graphic 9">
            <a:extLst>
              <a:ext uri="{FF2B5EF4-FFF2-40B4-BE49-F238E27FC236}">
                <a16:creationId xmlns:a16="http://schemas.microsoft.com/office/drawing/2014/main" id="{A46EB8A1-3C70-4FAE-A195-1D2D299B7B1D}"/>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428018" y="6271005"/>
            <a:ext cx="498632" cy="517662"/>
          </a:xfrm>
          <a:prstGeom prst="rect">
            <a:avLst/>
          </a:prstGeom>
        </p:spPr>
      </p:pic>
    </p:spTree>
    <p:extLst>
      <p:ext uri="{BB962C8B-B14F-4D97-AF65-F5344CB8AC3E}">
        <p14:creationId xmlns:p14="http://schemas.microsoft.com/office/powerpoint/2010/main" val="13863555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userDrawn="1">
  <p:cSld name="2_Agenda Section Header Overview">
    <p:bg>
      <p:bgPr>
        <a:gradFill>
          <a:gsLst>
            <a:gs pos="0">
              <a:srgbClr val="004E2A"/>
            </a:gs>
            <a:gs pos="100000">
              <a:srgbClr val="78B944"/>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10133207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mn-lt"/>
              <a:ea typeface="+mn-ea"/>
              <a:cs typeface="+mn-cs"/>
            </a:endParaRPr>
          </a:p>
        </p:txBody>
      </p:sp>
      <p:sp>
        <p:nvSpPr>
          <p:cNvPr id="12" name="Rectangle 11"/>
          <p:cNvSpPr/>
          <p:nvPr userDrawn="1">
            <p:custDataLst>
              <p:tags r:id="rId2"/>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mn-lt"/>
              <a:ea typeface="+mn-ea"/>
              <a:cs typeface="+mn-cs"/>
            </a:endParaRPr>
          </a:p>
        </p:txBody>
      </p:sp>
      <p:sp>
        <p:nvSpPr>
          <p:cNvPr id="2" name="TextBox 1"/>
          <p:cNvSpPr txBox="1"/>
          <p:nvPr userDrawn="1"/>
        </p:nvSpPr>
        <p:spPr>
          <a:xfrm>
            <a:off x="630000" y="907198"/>
            <a:ext cx="3448800" cy="3447288"/>
          </a:xfrm>
          <a:prstGeom prst="rect">
            <a:avLst/>
          </a:prstGeom>
          <a:noFill/>
          <a:ln>
            <a:solidFill>
              <a:schemeClr val="bg1"/>
            </a:solidFill>
          </a:ln>
        </p:spPr>
        <p:txBody>
          <a:bodyPr wrap="none" lIns="612000" tIns="468000" rIns="0" bIns="0" rtlCol="0" anchor="t">
            <a:noAutofit/>
          </a:bodyPr>
          <a:lstStyle/>
          <a:p>
            <a:pPr>
              <a:lnSpc>
                <a:spcPct val="90000"/>
              </a:lnSpc>
              <a:spcAft>
                <a:spcPts val="600"/>
              </a:spcAft>
            </a:pPr>
            <a:endParaRPr lang="en-US" sz="5400">
              <a:solidFill>
                <a:schemeClr val="bg1"/>
              </a:solidFill>
              <a:latin typeface="+mn-lt"/>
              <a:ea typeface="+mn-ea"/>
              <a:cs typeface="+mn-cs"/>
            </a:endParaRPr>
          </a:p>
        </p:txBody>
      </p:sp>
      <p:sp>
        <p:nvSpPr>
          <p:cNvPr id="10" name="TextBox 1"/>
          <p:cNvSpPr txBox="1"/>
          <p:nvPr userDrawn="1"/>
        </p:nvSpPr>
        <p:spPr>
          <a:xfrm>
            <a:off x="1199396" y="1115416"/>
            <a:ext cx="2309287" cy="881780"/>
          </a:xfrm>
          <a:prstGeom prst="rect">
            <a:avLst/>
          </a:prstGeom>
          <a:noFill/>
        </p:spPr>
        <p:txBody>
          <a:bodyPr wrap="none" rtlCol="0">
            <a:spAutoFit/>
          </a:bodyPr>
          <a:lstStyle/>
          <a:p>
            <a:pPr algn="ctr" fontAlgn="auto">
              <a:lnSpc>
                <a:spcPct val="95000"/>
              </a:lnSpc>
              <a:spcBef>
                <a:spcPts val="0"/>
              </a:spcBef>
              <a:spcAft>
                <a:spcPts val="0"/>
              </a:spcAft>
            </a:pPr>
            <a:r>
              <a:rPr lang="en-US" sz="5400">
                <a:solidFill>
                  <a:schemeClr val="bg1"/>
                </a:solidFill>
                <a:latin typeface="+mn-lt"/>
                <a:ea typeface="+mn-ea"/>
                <a:cs typeface="+mn-cs"/>
              </a:rPr>
              <a:t>Agenda</a:t>
            </a:r>
          </a:p>
        </p:txBody>
      </p:sp>
      <p:pic>
        <p:nvPicPr>
          <p:cNvPr id="13" name="Graphic 12">
            <a:extLst>
              <a:ext uri="{FF2B5EF4-FFF2-40B4-BE49-F238E27FC236}">
                <a16:creationId xmlns:a16="http://schemas.microsoft.com/office/drawing/2014/main" id="{1CF18B33-D6D8-48A4-9672-4732D134CE75}"/>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428018" y="6271005"/>
            <a:ext cx="498632" cy="517662"/>
          </a:xfrm>
          <a:prstGeom prst="rect">
            <a:avLst/>
          </a:prstGeom>
        </p:spPr>
      </p:pic>
    </p:spTree>
    <p:extLst>
      <p:ext uri="{BB962C8B-B14F-4D97-AF65-F5344CB8AC3E}">
        <p14:creationId xmlns:p14="http://schemas.microsoft.com/office/powerpoint/2010/main" val="17137842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userDrawn="1">
  <p:cSld name="2_Agenda Section Header">
    <p:bg>
      <p:bgPr>
        <a:gradFill>
          <a:gsLst>
            <a:gs pos="0">
              <a:srgbClr val="004E2A"/>
            </a:gs>
            <a:gs pos="100000">
              <a:srgbClr val="78B944"/>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16131807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mn-lt"/>
              <a:ea typeface="+mn-ea"/>
              <a:cs typeface="+mn-cs"/>
            </a:endParaRPr>
          </a:p>
        </p:txBody>
      </p:sp>
      <p:pic>
        <p:nvPicPr>
          <p:cNvPr id="8" name="Graphic 7">
            <a:extLst>
              <a:ext uri="{FF2B5EF4-FFF2-40B4-BE49-F238E27FC236}">
                <a16:creationId xmlns:a16="http://schemas.microsoft.com/office/drawing/2014/main" id="{7C6F39FC-A4BD-4A1A-A0D2-E062DAA33AD6}"/>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428018" y="6271005"/>
            <a:ext cx="498632" cy="517662"/>
          </a:xfrm>
          <a:prstGeom prst="rect">
            <a:avLst/>
          </a:prstGeom>
        </p:spPr>
      </p:pic>
    </p:spTree>
    <p:extLst>
      <p:ext uri="{BB962C8B-B14F-4D97-AF65-F5344CB8AC3E}">
        <p14:creationId xmlns:p14="http://schemas.microsoft.com/office/powerpoint/2010/main" val="1181220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E05CAE9-7E7B-4B8D-8937-790C5F024F38}"/>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a:extLst>
                          <a:ext uri="{FF2B5EF4-FFF2-40B4-BE49-F238E27FC236}">
                            <a16:creationId xmlns:a16="http://schemas.microsoft.com/office/drawing/2014/main" id="{0E05CAE9-7E7B-4B8D-8937-790C5F024F3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vert="horz"/>
          <a:lstStyle>
            <a:lvl1pPr>
              <a:defRPr sz="3400">
                <a:latin typeface="+mj-lt"/>
                <a:ea typeface="+mj-ea"/>
                <a:cs typeface="+mj-cs"/>
              </a:defRPr>
            </a:lvl1pPr>
          </a:lstStyle>
          <a:p>
            <a:r>
              <a:rPr lang="en-US"/>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atin typeface="+mn-lt"/>
                <a:ea typeface="+mn-ea"/>
                <a:cs typeface="+mn-cs"/>
              </a:defRPr>
            </a:lvl1pPr>
            <a:lvl2pPr>
              <a:lnSpc>
                <a:spcPct val="100000"/>
              </a:lnSpc>
              <a:spcBef>
                <a:spcPts val="0"/>
              </a:spcBef>
              <a:spcAft>
                <a:spcPts val="0"/>
              </a:spcAft>
              <a:defRPr sz="2000">
                <a:latin typeface="+mn-lt"/>
                <a:ea typeface="+mn-ea"/>
                <a:cs typeface="+mn-cs"/>
              </a:defRPr>
            </a:lvl2pPr>
            <a:lvl3pPr>
              <a:lnSpc>
                <a:spcPct val="100000"/>
              </a:lnSpc>
              <a:spcBef>
                <a:spcPts val="0"/>
              </a:spcBef>
              <a:spcAft>
                <a:spcPts val="0"/>
              </a:spcAft>
              <a:defRPr sz="2000">
                <a:latin typeface="+mn-lt"/>
                <a:ea typeface="+mn-ea"/>
                <a:cs typeface="+mn-cs"/>
              </a:defRPr>
            </a:lvl3pPr>
            <a:lvl4pPr>
              <a:lnSpc>
                <a:spcPct val="100000"/>
              </a:lnSpc>
              <a:spcBef>
                <a:spcPts val="0"/>
              </a:spcBef>
              <a:spcAft>
                <a:spcPts val="0"/>
              </a:spcAft>
              <a:defRPr sz="2800">
                <a:latin typeface="+mn-lt"/>
                <a:ea typeface="+mn-ea"/>
                <a:cs typeface="+mn-cs"/>
              </a:defRPr>
            </a:lvl4pPr>
            <a:lvl5pPr>
              <a:lnSpc>
                <a:spcPct val="100000"/>
              </a:lnSpc>
              <a:spcBef>
                <a:spcPts val="0"/>
              </a:spcBef>
              <a:spcAft>
                <a:spcPts val="0"/>
              </a:spcAft>
              <a:defRPr sz="2800">
                <a:latin typeface="+mn-lt"/>
                <a:ea typeface="+mn-ea"/>
                <a:cs typeface="+mn-cs"/>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pic>
        <p:nvPicPr>
          <p:cNvPr id="7" name="Graphic 6">
            <a:extLst>
              <a:ext uri="{FF2B5EF4-FFF2-40B4-BE49-F238E27FC236}">
                <a16:creationId xmlns:a16="http://schemas.microsoft.com/office/drawing/2014/main" id="{D81C5E50-B339-4508-91BD-0DF805678B23}"/>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428018" y="6271005"/>
            <a:ext cx="498632" cy="517662"/>
          </a:xfrm>
          <a:prstGeom prst="rect">
            <a:avLst/>
          </a:prstGeom>
        </p:spPr>
      </p:pic>
    </p:spTree>
    <p:extLst>
      <p:ext uri="{BB962C8B-B14F-4D97-AF65-F5344CB8AC3E}">
        <p14:creationId xmlns:p14="http://schemas.microsoft.com/office/powerpoint/2010/main" val="40237107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preserve="1" userDrawn="1">
  <p:cSld name="2_Agenda Full Width Overview">
    <p:bg>
      <p:bgPr>
        <a:gradFill>
          <a:gsLst>
            <a:gs pos="0">
              <a:srgbClr val="004E2A"/>
            </a:gs>
            <a:gs pos="100000">
              <a:srgbClr val="78B944"/>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84788069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a:solidFill>
                  <a:schemeClr val="bg1"/>
                </a:solidFill>
                <a:latin typeface="+mn-lt"/>
                <a:ea typeface="+mn-ea"/>
                <a:cs typeface="+mn-cs"/>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pic>
        <p:nvPicPr>
          <p:cNvPr id="8" name="Graphic 7">
            <a:extLst>
              <a:ext uri="{FF2B5EF4-FFF2-40B4-BE49-F238E27FC236}">
                <a16:creationId xmlns:a16="http://schemas.microsoft.com/office/drawing/2014/main" id="{52EE9DA1-A56B-4AD7-A7AE-FC9DECE14293}"/>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428018" y="6271005"/>
            <a:ext cx="498632" cy="517662"/>
          </a:xfrm>
          <a:prstGeom prst="rect">
            <a:avLst/>
          </a:prstGeom>
        </p:spPr>
      </p:pic>
    </p:spTree>
    <p:extLst>
      <p:ext uri="{BB962C8B-B14F-4D97-AF65-F5344CB8AC3E}">
        <p14:creationId xmlns:p14="http://schemas.microsoft.com/office/powerpoint/2010/main" val="21979935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userDrawn="1">
  <p:cSld name="2_Agenda Two-Thirds">
    <p:bg>
      <p:bgPr>
        <a:gradFill>
          <a:gsLst>
            <a:gs pos="0">
              <a:srgbClr val="004E2A"/>
            </a:gs>
            <a:gs pos="100000">
              <a:srgbClr val="78B944"/>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62547103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a:solidFill>
                  <a:schemeClr val="bg1"/>
                </a:solidFill>
                <a:latin typeface="+mn-lt"/>
                <a:ea typeface="+mn-ea"/>
                <a:cs typeface="+mn-cs"/>
              </a:rPr>
              <a:t>Agenda</a:t>
            </a:r>
          </a:p>
        </p:txBody>
      </p:sp>
      <p:pic>
        <p:nvPicPr>
          <p:cNvPr id="9" name="Graphic 8">
            <a:extLst>
              <a:ext uri="{FF2B5EF4-FFF2-40B4-BE49-F238E27FC236}">
                <a16:creationId xmlns:a16="http://schemas.microsoft.com/office/drawing/2014/main" id="{D7538DDF-5C24-4087-B99A-36CF897573E0}"/>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428018" y="6271005"/>
            <a:ext cx="498632" cy="517662"/>
          </a:xfrm>
          <a:prstGeom prst="rect">
            <a:avLst/>
          </a:prstGeom>
        </p:spPr>
      </p:pic>
    </p:spTree>
    <p:extLst>
      <p:ext uri="{BB962C8B-B14F-4D97-AF65-F5344CB8AC3E}">
        <p14:creationId xmlns:p14="http://schemas.microsoft.com/office/powerpoint/2010/main" val="11306237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p:cSld name="2_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43446680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mn-lt"/>
              <a:ea typeface="+mn-ea"/>
              <a:cs typeface="+mn-cs"/>
            </a:endParaRPr>
          </a:p>
        </p:txBody>
      </p:sp>
      <p:sp>
        <p:nvSpPr>
          <p:cNvPr id="10" name="Rectangle 9"/>
          <p:cNvSpPr/>
          <p:nvPr userDrawn="1">
            <p:custDataLst>
              <p:tags r:id="rId2"/>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mn-lt"/>
              <a:ea typeface="+mn-ea"/>
              <a:cs typeface="+mn-cs"/>
            </a:endParaRPr>
          </a:p>
        </p:txBody>
      </p:sp>
      <p:sp>
        <p:nvSpPr>
          <p:cNvPr id="11" name="TextBox 10"/>
          <p:cNvSpPr txBox="1"/>
          <p:nvPr userDrawn="1"/>
        </p:nvSpPr>
        <p:spPr>
          <a:xfrm>
            <a:off x="630000" y="907196"/>
            <a:ext cx="3448800" cy="3447288"/>
          </a:xfrm>
          <a:prstGeom prst="rect">
            <a:avLst/>
          </a:prstGeom>
          <a:noFill/>
          <a:ln>
            <a:solidFill>
              <a:schemeClr val="accent4"/>
            </a:solidFill>
          </a:ln>
        </p:spPr>
        <p:txBody>
          <a:bodyPr wrap="none" lIns="612000" tIns="468000" rIns="0" bIns="0" rtlCol="0" anchor="t">
            <a:noAutofit/>
          </a:bodyPr>
          <a:lstStyle/>
          <a:p>
            <a:pPr>
              <a:lnSpc>
                <a:spcPct val="90000"/>
              </a:lnSpc>
              <a:spcAft>
                <a:spcPts val="600"/>
              </a:spcAft>
            </a:pPr>
            <a:endParaRPr lang="en-US" sz="5400">
              <a:solidFill>
                <a:schemeClr val="accent4"/>
              </a:solidFill>
              <a:latin typeface="+mn-lt"/>
              <a:ea typeface="+mn-ea"/>
              <a:cs typeface="+mn-cs"/>
            </a:endParaRPr>
          </a:p>
        </p:txBody>
      </p:sp>
      <p:sp>
        <p:nvSpPr>
          <p:cNvPr id="9" name="TextBox 1"/>
          <p:cNvSpPr txBox="1"/>
          <p:nvPr userDrawn="1"/>
        </p:nvSpPr>
        <p:spPr>
          <a:xfrm>
            <a:off x="1199396" y="1115416"/>
            <a:ext cx="2309287" cy="881780"/>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a:latin typeface="+mn-lt"/>
                <a:ea typeface="+mn-ea"/>
                <a:cs typeface="+mn-cs"/>
              </a:rPr>
              <a:t>Agenda</a:t>
            </a:r>
          </a:p>
        </p:txBody>
      </p:sp>
      <p:pic>
        <p:nvPicPr>
          <p:cNvPr id="12" name="Graphic 11">
            <a:extLst>
              <a:ext uri="{FF2B5EF4-FFF2-40B4-BE49-F238E27FC236}">
                <a16:creationId xmlns:a16="http://schemas.microsoft.com/office/drawing/2014/main" id="{26742CD6-2CF1-4677-BAF0-4994D103D774}"/>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428018" y="6271005"/>
            <a:ext cx="498632" cy="517662"/>
          </a:xfrm>
          <a:prstGeom prst="rect">
            <a:avLst/>
          </a:prstGeom>
        </p:spPr>
      </p:pic>
    </p:spTree>
    <p:extLst>
      <p:ext uri="{BB962C8B-B14F-4D97-AF65-F5344CB8AC3E}">
        <p14:creationId xmlns:p14="http://schemas.microsoft.com/office/powerpoint/2010/main" val="22290022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p:cSld name="2_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58072042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mn-lt"/>
              <a:ea typeface="+mn-ea"/>
              <a:cs typeface="+mn-cs"/>
            </a:endParaRPr>
          </a:p>
        </p:txBody>
      </p:sp>
      <p:pic>
        <p:nvPicPr>
          <p:cNvPr id="6" name="Graphic 5">
            <a:extLst>
              <a:ext uri="{FF2B5EF4-FFF2-40B4-BE49-F238E27FC236}">
                <a16:creationId xmlns:a16="http://schemas.microsoft.com/office/drawing/2014/main" id="{A2974FD5-9031-4224-935E-1A40C25AB367}"/>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428018" y="6271005"/>
            <a:ext cx="498632" cy="517662"/>
          </a:xfrm>
          <a:prstGeom prst="rect">
            <a:avLst/>
          </a:prstGeom>
        </p:spPr>
      </p:pic>
    </p:spTree>
    <p:extLst>
      <p:ext uri="{BB962C8B-B14F-4D97-AF65-F5344CB8AC3E}">
        <p14:creationId xmlns:p14="http://schemas.microsoft.com/office/powerpoint/2010/main" val="15699917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p:cSld name="2_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92159058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a:solidFill>
                  <a:schemeClr val="accent4"/>
                </a:solidFill>
                <a:latin typeface="+mn-lt"/>
                <a:ea typeface="+mn-ea"/>
                <a:cs typeface="+mn-cs"/>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pic>
        <p:nvPicPr>
          <p:cNvPr id="6" name="Graphic 5">
            <a:extLst>
              <a:ext uri="{FF2B5EF4-FFF2-40B4-BE49-F238E27FC236}">
                <a16:creationId xmlns:a16="http://schemas.microsoft.com/office/drawing/2014/main" id="{3DAF94CB-47A2-471D-B5F0-932D7A57839D}"/>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428018" y="6271005"/>
            <a:ext cx="498632" cy="517662"/>
          </a:xfrm>
          <a:prstGeom prst="rect">
            <a:avLst/>
          </a:prstGeom>
        </p:spPr>
      </p:pic>
    </p:spTree>
    <p:extLst>
      <p:ext uri="{BB962C8B-B14F-4D97-AF65-F5344CB8AC3E}">
        <p14:creationId xmlns:p14="http://schemas.microsoft.com/office/powerpoint/2010/main" val="38808133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userDrawn="1">
  <p:cSld name="2_Agenda D. Two-Thirds">
    <p:bg>
      <p:bgPr>
        <a:gradFill>
          <a:gsLst>
            <a:gs pos="0">
              <a:srgbClr val="004E2A"/>
            </a:gs>
            <a:gs pos="100000">
              <a:srgbClr val="78B944"/>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0884393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a:solidFill>
                  <a:schemeClr val="bg1"/>
                </a:solidFill>
                <a:latin typeface="+mn-lt"/>
                <a:ea typeface="+mn-ea"/>
                <a:cs typeface="+mn-cs"/>
              </a:rPr>
              <a:t>Agenda</a:t>
            </a:r>
          </a:p>
        </p:txBody>
      </p:sp>
      <p:pic>
        <p:nvPicPr>
          <p:cNvPr id="9" name="Graphic 8">
            <a:extLst>
              <a:ext uri="{FF2B5EF4-FFF2-40B4-BE49-F238E27FC236}">
                <a16:creationId xmlns:a16="http://schemas.microsoft.com/office/drawing/2014/main" id="{6FC979E9-9FAC-47CE-9CE9-DE84AC6F6D0A}"/>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428018" y="6271005"/>
            <a:ext cx="498632" cy="517662"/>
          </a:xfrm>
          <a:prstGeom prst="rect">
            <a:avLst/>
          </a:prstGeom>
        </p:spPr>
      </p:pic>
    </p:spTree>
    <p:extLst>
      <p:ext uri="{BB962C8B-B14F-4D97-AF65-F5344CB8AC3E}">
        <p14:creationId xmlns:p14="http://schemas.microsoft.com/office/powerpoint/2010/main" val="31433774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preserve="1" userDrawn="1">
  <p:cSld name="2_Agenda D. Table of Contents">
    <p:bg>
      <p:bgPr>
        <a:gradFill>
          <a:gsLst>
            <a:gs pos="0">
              <a:srgbClr val="004E2A"/>
            </a:gs>
            <a:gs pos="100000">
              <a:srgbClr val="78B944"/>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53530308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a:solidFill>
                  <a:schemeClr val="tx2"/>
                </a:solidFill>
                <a:latin typeface="+mn-lt"/>
                <a:ea typeface="+mn-ea"/>
                <a:cs typeface="+mn-cs"/>
                <a:sym typeface="Trebuchet MS" panose="020B0603020202020204" pitchFamily="34" charset="0"/>
              </a:rPr>
              <a:t>Table of contents</a:t>
            </a:r>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pic>
        <p:nvPicPr>
          <p:cNvPr id="10" name="Graphic 9">
            <a:extLst>
              <a:ext uri="{FF2B5EF4-FFF2-40B4-BE49-F238E27FC236}">
                <a16:creationId xmlns:a16="http://schemas.microsoft.com/office/drawing/2014/main" id="{A46EB8A1-3C70-4FAE-A195-1D2D299B7B1D}"/>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428018" y="6271005"/>
            <a:ext cx="498632" cy="517662"/>
          </a:xfrm>
          <a:prstGeom prst="rect">
            <a:avLst/>
          </a:prstGeom>
        </p:spPr>
      </p:pic>
    </p:spTree>
    <p:extLst>
      <p:ext uri="{BB962C8B-B14F-4D97-AF65-F5344CB8AC3E}">
        <p14:creationId xmlns:p14="http://schemas.microsoft.com/office/powerpoint/2010/main" val="8038223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userDrawn="1">
  <p:cSld name="7_Title Only">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0" i="0" baseline="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3" name="Picture 2"/>
          <p:cNvPicPr>
            <a:picLocks/>
          </p:cNvPicPr>
          <p:nvPr userDrawn="1"/>
        </p:nvPicPr>
        <p:blipFill rotWithShape="1">
          <a:blip r:embed="rId6">
            <a:extLst>
              <a:ext uri="{28A0092B-C50C-407E-A947-70E740481C1C}">
                <a14:useLocalDpi xmlns:a14="http://schemas.microsoft.com/office/drawing/2010/main" val="0"/>
              </a:ext>
            </a:extLst>
          </a:blip>
          <a:srcRect/>
          <a:stretch/>
        </p:blipFill>
        <p:spPr>
          <a:xfrm>
            <a:off x="675" y="-3720"/>
            <a:ext cx="12192000" cy="6861720"/>
          </a:xfrm>
          <a:prstGeom prst="rect">
            <a:avLst/>
          </a:prstGeom>
        </p:spPr>
      </p:pic>
      <p:sp>
        <p:nvSpPr>
          <p:cNvPr id="12" name="Rectangle 11"/>
          <p:cNvSpPr/>
          <p:nvPr/>
        </p:nvSpPr>
        <p:spPr>
          <a:xfrm>
            <a:off x="675" y="-3720"/>
            <a:ext cx="12192000" cy="6861720"/>
          </a:xfrm>
          <a:prstGeom prst="rect">
            <a:avLst/>
          </a:prstGeom>
          <a:solidFill>
            <a:schemeClr val="bg2">
              <a:lumMod val="10000"/>
              <a:alpha val="75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8" name="Title 1"/>
          <p:cNvSpPr>
            <a:spLocks noGrp="1"/>
          </p:cNvSpPr>
          <p:nvPr>
            <p:ph type="title"/>
          </p:nvPr>
        </p:nvSpPr>
        <p:spPr>
          <a:xfrm>
            <a:off x="630000" y="622800"/>
            <a:ext cx="10933350" cy="387798"/>
          </a:xfrm>
        </p:spPr>
        <p:txBody>
          <a:bodyPr/>
          <a:lstStyle>
            <a:lvl1pPr>
              <a:defRPr sz="2800">
                <a:solidFill>
                  <a:srgbClr val="FFFFFF"/>
                </a:solidFill>
              </a:defRPr>
            </a:lvl1pPr>
          </a:lstStyle>
          <a:p>
            <a:r>
              <a:rPr lang="en-US"/>
              <a:t>Click to edit Master title style</a:t>
            </a:r>
          </a:p>
        </p:txBody>
      </p:sp>
      <p:sp>
        <p:nvSpPr>
          <p:cNvPr id="7" name="TextBox 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mn-lt"/>
              <a:ea typeface="+mn-ea"/>
              <a:cs typeface="+mn-cs"/>
              <a:sym typeface="Trebuchet MS" panose="020B0603020202020204" pitchFamily="34" charset="0"/>
            </a:endParaRPr>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p>
        </p:txBody>
      </p:sp>
    </p:spTree>
    <p:extLst>
      <p:ext uri="{BB962C8B-B14F-4D97-AF65-F5344CB8AC3E}">
        <p14:creationId xmlns:p14="http://schemas.microsoft.com/office/powerpoint/2010/main" val="28555530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p:cSld name="1_D. Layout guid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7C7655A-D839-4B5E-898C-2B3B91216BCE}"/>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Object 1" hidden="1">
                        <a:extLst>
                          <a:ext uri="{FF2B5EF4-FFF2-40B4-BE49-F238E27FC236}">
                            <a16:creationId xmlns:a16="http://schemas.microsoft.com/office/drawing/2014/main" id="{C7C7655A-D839-4B5E-898C-2B3B91216BC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3 by Boston Consulting Group. All rights reserved.</a:t>
            </a:r>
          </a:p>
        </p:txBody>
      </p:sp>
      <p:pic>
        <p:nvPicPr>
          <p:cNvPr id="51" name="Graphic 50">
            <a:extLst>
              <a:ext uri="{FF2B5EF4-FFF2-40B4-BE49-F238E27FC236}">
                <a16:creationId xmlns:a16="http://schemas.microsoft.com/office/drawing/2014/main" id="{335430C2-F6F2-4782-8DF3-64E7EEC18470}"/>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428018" y="6271005"/>
            <a:ext cx="498632" cy="517662"/>
          </a:xfrm>
          <a:prstGeom prst="rect">
            <a:avLst/>
          </a:prstGeom>
        </p:spPr>
      </p:pic>
      <p:grpSp>
        <p:nvGrpSpPr>
          <p:cNvPr id="55" name="Group 54">
            <a:extLst>
              <a:ext uri="{FF2B5EF4-FFF2-40B4-BE49-F238E27FC236}">
                <a16:creationId xmlns:a16="http://schemas.microsoft.com/office/drawing/2014/main" id="{C59ED4D9-5892-48A3-87C8-ED3738752250}"/>
              </a:ext>
            </a:extLst>
          </p:cNvPr>
          <p:cNvGrpSpPr/>
          <p:nvPr userDrawn="1"/>
        </p:nvGrpSpPr>
        <p:grpSpPr>
          <a:xfrm>
            <a:off x="-600" y="-1"/>
            <a:ext cx="12193800" cy="6858001"/>
            <a:chOff x="-600" y="-1"/>
            <a:chExt cx="12193800" cy="6858001"/>
          </a:xfrm>
        </p:grpSpPr>
        <p:sp>
          <p:nvSpPr>
            <p:cNvPr id="100" name="Freeform: Shape 99">
              <a:extLst>
                <a:ext uri="{FF2B5EF4-FFF2-40B4-BE49-F238E27FC236}">
                  <a16:creationId xmlns:a16="http://schemas.microsoft.com/office/drawing/2014/main" id="{877E1C63-0C60-4ADD-8452-A10F46D46ACF}"/>
                </a:ext>
              </a:extLst>
            </p:cNvPr>
            <p:cNvSpPr/>
            <p:nvPr/>
          </p:nvSpPr>
          <p:spPr>
            <a:xfrm>
              <a:off x="0" y="-1"/>
              <a:ext cx="12193200" cy="6858000"/>
            </a:xfrm>
            <a:custGeom>
              <a:avLst/>
              <a:gdLst>
                <a:gd name="connsiteX0" fmla="*/ 630001 w 12193200"/>
                <a:gd name="connsiteY0" fmla="*/ 622800 h 6858000"/>
                <a:gd name="connsiteX1" fmla="*/ 630001 w 12193200"/>
                <a:gd name="connsiteY1" fmla="*/ 5806362 h 6858000"/>
                <a:gd name="connsiteX2" fmla="*/ 629400 w 12193200"/>
                <a:gd name="connsiteY2" fmla="*/ 5806362 h 6858000"/>
                <a:gd name="connsiteX3" fmla="*/ 629400 w 12193200"/>
                <a:gd name="connsiteY3" fmla="*/ 6720762 h 6858000"/>
                <a:gd name="connsiteX4" fmla="*/ 11562600 w 12193200"/>
                <a:gd name="connsiteY4" fmla="*/ 6720762 h 6858000"/>
                <a:gd name="connsiteX5" fmla="*/ 11562600 w 12193200"/>
                <a:gd name="connsiteY5" fmla="*/ 5806362 h 6858000"/>
                <a:gd name="connsiteX6" fmla="*/ 11562000 w 12193200"/>
                <a:gd name="connsiteY6" fmla="*/ 5806362 h 6858000"/>
                <a:gd name="connsiteX7" fmla="*/ 11562000 w 12193200"/>
                <a:gd name="connsiteY7" fmla="*/ 622800 h 6858000"/>
                <a:gd name="connsiteX8" fmla="*/ 0 w 12193200"/>
                <a:gd name="connsiteY8" fmla="*/ 0 h 6858000"/>
                <a:gd name="connsiteX9" fmla="*/ 12193200 w 12193200"/>
                <a:gd name="connsiteY9" fmla="*/ 0 h 6858000"/>
                <a:gd name="connsiteX10" fmla="*/ 12193200 w 12193200"/>
                <a:gd name="connsiteY10" fmla="*/ 622800 h 6858000"/>
                <a:gd name="connsiteX11" fmla="*/ 12192000 w 12193200"/>
                <a:gd name="connsiteY11" fmla="*/ 622800 h 6858000"/>
                <a:gd name="connsiteX12" fmla="*/ 12192000 w 12193200"/>
                <a:gd name="connsiteY12" fmla="*/ 6160597 h 6858000"/>
                <a:gd name="connsiteX13" fmla="*/ 12193200 w 12193200"/>
                <a:gd name="connsiteY13" fmla="*/ 6160597 h 6858000"/>
                <a:gd name="connsiteX14" fmla="*/ 12193200 w 12193200"/>
                <a:gd name="connsiteY14" fmla="*/ 6858000 h 6858000"/>
                <a:gd name="connsiteX15" fmla="*/ 12192000 w 12193200"/>
                <a:gd name="connsiteY15" fmla="*/ 6858000 h 6858000"/>
                <a:gd name="connsiteX16" fmla="*/ 11562000 w 12193200"/>
                <a:gd name="connsiteY16" fmla="*/ 6858000 h 6858000"/>
                <a:gd name="connsiteX17" fmla="*/ 630001 w 12193200"/>
                <a:gd name="connsiteY17" fmla="*/ 6858000 h 6858000"/>
                <a:gd name="connsiteX18" fmla="*/ 1 w 12193200"/>
                <a:gd name="connsiteY18" fmla="*/ 6858000 h 6858000"/>
                <a:gd name="connsiteX19" fmla="*/ 1 w 12193200"/>
                <a:gd name="connsiteY19" fmla="*/ 6160597 h 6858000"/>
                <a:gd name="connsiteX20" fmla="*/ 1 w 12193200"/>
                <a:gd name="connsiteY20" fmla="*/ 622800 h 6858000"/>
                <a:gd name="connsiteX21" fmla="*/ 0 w 12193200"/>
                <a:gd name="connsiteY21"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2193200" h="6858000">
                  <a:moveTo>
                    <a:pt x="630001" y="622800"/>
                  </a:moveTo>
                  <a:lnTo>
                    <a:pt x="630001" y="5806362"/>
                  </a:lnTo>
                  <a:lnTo>
                    <a:pt x="629400" y="5806362"/>
                  </a:lnTo>
                  <a:lnTo>
                    <a:pt x="629400" y="6720762"/>
                  </a:lnTo>
                  <a:lnTo>
                    <a:pt x="11562600" y="6720762"/>
                  </a:lnTo>
                  <a:lnTo>
                    <a:pt x="11562600" y="5806362"/>
                  </a:lnTo>
                  <a:lnTo>
                    <a:pt x="11562000" y="5806362"/>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E71C57">
                <a:alpha val="5000"/>
              </a:srgbClr>
            </a:solidFill>
            <a:ln>
              <a:noFill/>
            </a:ln>
          </p:spPr>
          <p:txBody>
            <a:bodyPr vert="horz" wrap="square" lIns="91440" tIns="45720" rIns="91440" bIns="45720" numCol="1" anchor="t" anchorCtr="0" compatLnSpc="1">
              <a:prstTxWarp prst="textNoShape">
                <a:avLst/>
              </a:prstTxWarp>
              <a:noAutofit/>
            </a:bodyPr>
            <a:lstStyle/>
            <a:p>
              <a:endParaRPr lang="en-US">
                <a:solidFill>
                  <a:schemeClr val="tx1"/>
                </a:solidFill>
              </a:endParaRPr>
            </a:p>
          </p:txBody>
        </p:sp>
        <p:grpSp>
          <p:nvGrpSpPr>
            <p:cNvPr id="101" name="Baselines / anchors">
              <a:extLst>
                <a:ext uri="{FF2B5EF4-FFF2-40B4-BE49-F238E27FC236}">
                  <a16:creationId xmlns:a16="http://schemas.microsoft.com/office/drawing/2014/main" id="{5E16D025-A968-4B58-9BCE-190A3636242B}"/>
                </a:ext>
              </a:extLst>
            </p:cNvPr>
            <p:cNvGrpSpPr/>
            <p:nvPr/>
          </p:nvGrpSpPr>
          <p:grpSpPr>
            <a:xfrm>
              <a:off x="-600" y="622800"/>
              <a:ext cx="12193200" cy="5536800"/>
              <a:chOff x="12623800" y="622800"/>
              <a:chExt cx="11176000" cy="5536800"/>
            </a:xfrm>
          </p:grpSpPr>
          <p:cxnSp>
            <p:nvCxnSpPr>
              <p:cNvPr id="125" name="Straight Connector 124">
                <a:extLst>
                  <a:ext uri="{FF2B5EF4-FFF2-40B4-BE49-F238E27FC236}">
                    <a16:creationId xmlns:a16="http://schemas.microsoft.com/office/drawing/2014/main" id="{44609F7D-6876-4CD5-B4D1-1D3E422B9F44}"/>
                  </a:ext>
                </a:extLst>
              </p:cNvPr>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4F768D15-D966-45C0-8C7C-BC8B10063EC4}"/>
                  </a:ext>
                </a:extLst>
              </p:cNvPr>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85236C8B-C155-4F95-92A1-6670FDECD9B9}"/>
                  </a:ext>
                </a:extLst>
              </p:cNvPr>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5DFB2291-FD80-487F-8BB5-6F220CB2D610}"/>
                  </a:ext>
                </a:extLst>
              </p:cNvPr>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CE1499DA-B624-4732-AD74-86D55FB55467}"/>
                  </a:ext>
                </a:extLst>
              </p:cNvPr>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85ECE8B8-65FD-47E4-AB5C-6B8A53579216}"/>
                  </a:ext>
                </a:extLst>
              </p:cNvPr>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4F499CAF-C260-461E-8872-3B2E9D0D04F7}"/>
                  </a:ext>
                </a:extLst>
              </p:cNvPr>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944F1F1C-E800-436C-9D22-EFAAAF0CC959}"/>
                  </a:ext>
                </a:extLst>
              </p:cNvPr>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6117A33E-19C7-4598-8A4A-EB304637DD76}"/>
                  </a:ext>
                </a:extLst>
              </p:cNvPr>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D2AD95C6-F9B1-4160-9864-CB323AA9F6DC}"/>
                  </a:ext>
                </a:extLst>
              </p:cNvPr>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3C657E7E-B6CF-46F3-91E8-AC8123C12519}"/>
                  </a:ext>
                </a:extLst>
              </p:cNvPr>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427CCB1B-F557-4A09-83B6-CB3BC50652A3}"/>
                  </a:ext>
                </a:extLst>
              </p:cNvPr>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76812E42-1559-4A01-B4B7-22EE35D99451}"/>
                  </a:ext>
                </a:extLst>
              </p:cNvPr>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9797A88D-F72A-4FB6-89EE-46D9C0C7BFED}"/>
                  </a:ext>
                </a:extLst>
              </p:cNvPr>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CBB25275-FDF6-4A11-9C40-047CDBA36AC1}"/>
                  </a:ext>
                </a:extLst>
              </p:cNvPr>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69ADCA59-2B53-400B-B98E-7CE004E3F79A}"/>
                  </a:ext>
                </a:extLst>
              </p:cNvPr>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C651687D-EA64-442B-A7D7-19D35811584A}"/>
                  </a:ext>
                </a:extLst>
              </p:cNvPr>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A8915780-CE88-4009-83C6-AE62EF8F7F95}"/>
                  </a:ext>
                </a:extLst>
              </p:cNvPr>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4C375BE9-6910-442C-8E8D-7084C48A294D}"/>
                  </a:ext>
                </a:extLst>
              </p:cNvPr>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594D8C3D-FB00-4BC8-AF07-EAF8669868AB}"/>
                  </a:ext>
                </a:extLst>
              </p:cNvPr>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02" name="Gutter space">
              <a:extLst>
                <a:ext uri="{FF2B5EF4-FFF2-40B4-BE49-F238E27FC236}">
                  <a16:creationId xmlns:a16="http://schemas.microsoft.com/office/drawing/2014/main" id="{7F67D595-7112-4904-85AC-D6D057C2622C}"/>
                </a:ext>
              </a:extLst>
            </p:cNvPr>
            <p:cNvGrpSpPr/>
            <p:nvPr/>
          </p:nvGrpSpPr>
          <p:grpSpPr>
            <a:xfrm>
              <a:off x="1277000" y="623550"/>
              <a:ext cx="9638000" cy="5537047"/>
              <a:chOff x="1277000" y="623550"/>
              <a:chExt cx="9638000" cy="5537047"/>
            </a:xfrm>
          </p:grpSpPr>
          <p:sp>
            <p:nvSpPr>
              <p:cNvPr id="114" name="Rectangle 34">
                <a:extLst>
                  <a:ext uri="{FF2B5EF4-FFF2-40B4-BE49-F238E27FC236}">
                    <a16:creationId xmlns:a16="http://schemas.microsoft.com/office/drawing/2014/main" id="{15686FB2-4004-44BE-94E4-CE343120E82E}"/>
                  </a:ext>
                </a:extLst>
              </p:cNvPr>
              <p:cNvSpPr>
                <a:spLocks noChangeArrowheads="1"/>
              </p:cNvSpPr>
              <p:nvPr/>
            </p:nvSpPr>
            <p:spPr bwMode="auto">
              <a:xfrm>
                <a:off x="6887000" y="623550"/>
                <a:ext cx="288000" cy="5537047"/>
              </a:xfrm>
              <a:prstGeom prst="rect">
                <a:avLst/>
              </a:prstGeom>
              <a:solidFill>
                <a:srgbClr val="B1B3B3">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5" name="Rectangle 35">
                <a:extLst>
                  <a:ext uri="{FF2B5EF4-FFF2-40B4-BE49-F238E27FC236}">
                    <a16:creationId xmlns:a16="http://schemas.microsoft.com/office/drawing/2014/main" id="{F446E450-B4AF-4554-A927-56876A5293D0}"/>
                  </a:ext>
                </a:extLst>
              </p:cNvPr>
              <p:cNvSpPr>
                <a:spLocks noChangeArrowheads="1"/>
              </p:cNvSpPr>
              <p:nvPr/>
            </p:nvSpPr>
            <p:spPr bwMode="auto">
              <a:xfrm>
                <a:off x="8757000" y="623550"/>
                <a:ext cx="288000" cy="5537047"/>
              </a:xfrm>
              <a:prstGeom prst="rect">
                <a:avLst/>
              </a:prstGeom>
              <a:solidFill>
                <a:srgbClr val="B1B3B3">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6" name="Rectangle 36">
                <a:extLst>
                  <a:ext uri="{FF2B5EF4-FFF2-40B4-BE49-F238E27FC236}">
                    <a16:creationId xmlns:a16="http://schemas.microsoft.com/office/drawing/2014/main" id="{9918DF24-4935-4A92-8A51-707E78296596}"/>
                  </a:ext>
                </a:extLst>
              </p:cNvPr>
              <p:cNvSpPr>
                <a:spLocks noChangeArrowheads="1"/>
              </p:cNvSpPr>
              <p:nvPr/>
            </p:nvSpPr>
            <p:spPr bwMode="auto">
              <a:xfrm>
                <a:off x="7822000" y="623550"/>
                <a:ext cx="288000" cy="5537047"/>
              </a:xfrm>
              <a:prstGeom prst="rect">
                <a:avLst/>
              </a:prstGeom>
              <a:solidFill>
                <a:srgbClr val="B1B3B3">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 name="Rectangle 37">
                <a:extLst>
                  <a:ext uri="{FF2B5EF4-FFF2-40B4-BE49-F238E27FC236}">
                    <a16:creationId xmlns:a16="http://schemas.microsoft.com/office/drawing/2014/main" id="{8E8560ED-FD2E-408F-9601-04EDE73A90FB}"/>
                  </a:ext>
                </a:extLst>
              </p:cNvPr>
              <p:cNvSpPr>
                <a:spLocks noChangeArrowheads="1"/>
              </p:cNvSpPr>
              <p:nvPr/>
            </p:nvSpPr>
            <p:spPr bwMode="auto">
              <a:xfrm>
                <a:off x="9692000" y="623550"/>
                <a:ext cx="288000" cy="5537047"/>
              </a:xfrm>
              <a:prstGeom prst="rect">
                <a:avLst/>
              </a:prstGeom>
              <a:solidFill>
                <a:srgbClr val="B1B3B3">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 name="Rectangle 38">
                <a:extLst>
                  <a:ext uri="{FF2B5EF4-FFF2-40B4-BE49-F238E27FC236}">
                    <a16:creationId xmlns:a16="http://schemas.microsoft.com/office/drawing/2014/main" id="{A4BDBE77-EBDC-4AA6-B0CC-1E22DD0F8A4F}"/>
                  </a:ext>
                </a:extLst>
              </p:cNvPr>
              <p:cNvSpPr>
                <a:spLocks noChangeArrowheads="1"/>
              </p:cNvSpPr>
              <p:nvPr/>
            </p:nvSpPr>
            <p:spPr bwMode="auto">
              <a:xfrm>
                <a:off x="10627000" y="623550"/>
                <a:ext cx="288000" cy="5537047"/>
              </a:xfrm>
              <a:prstGeom prst="rect">
                <a:avLst/>
              </a:prstGeom>
              <a:solidFill>
                <a:srgbClr val="B1B3B3">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 name="Rectangle 39">
                <a:extLst>
                  <a:ext uri="{FF2B5EF4-FFF2-40B4-BE49-F238E27FC236}">
                    <a16:creationId xmlns:a16="http://schemas.microsoft.com/office/drawing/2014/main" id="{EF47F329-CC6B-4CD6-B732-8B19ACCE4B36}"/>
                  </a:ext>
                </a:extLst>
              </p:cNvPr>
              <p:cNvSpPr>
                <a:spLocks noChangeArrowheads="1"/>
              </p:cNvSpPr>
              <p:nvPr/>
            </p:nvSpPr>
            <p:spPr bwMode="auto">
              <a:xfrm>
                <a:off x="5952000" y="623550"/>
                <a:ext cx="288000" cy="5537047"/>
              </a:xfrm>
              <a:prstGeom prst="rect">
                <a:avLst/>
              </a:prstGeom>
              <a:solidFill>
                <a:srgbClr val="B1B3B3">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 name="Rectangle 40">
                <a:extLst>
                  <a:ext uri="{FF2B5EF4-FFF2-40B4-BE49-F238E27FC236}">
                    <a16:creationId xmlns:a16="http://schemas.microsoft.com/office/drawing/2014/main" id="{BCDFB7D2-68BC-419E-8A18-EC305F086004}"/>
                  </a:ext>
                </a:extLst>
              </p:cNvPr>
              <p:cNvSpPr>
                <a:spLocks noChangeArrowheads="1"/>
              </p:cNvSpPr>
              <p:nvPr/>
            </p:nvSpPr>
            <p:spPr bwMode="auto">
              <a:xfrm>
                <a:off x="1277000" y="623550"/>
                <a:ext cx="288000" cy="5537047"/>
              </a:xfrm>
              <a:prstGeom prst="rect">
                <a:avLst/>
              </a:prstGeom>
              <a:solidFill>
                <a:srgbClr val="B1B3B3">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 name="Rectangle 41">
                <a:extLst>
                  <a:ext uri="{FF2B5EF4-FFF2-40B4-BE49-F238E27FC236}">
                    <a16:creationId xmlns:a16="http://schemas.microsoft.com/office/drawing/2014/main" id="{68269321-ACF8-4492-A0E6-7232D0ECFFE6}"/>
                  </a:ext>
                </a:extLst>
              </p:cNvPr>
              <p:cNvSpPr>
                <a:spLocks noChangeArrowheads="1"/>
              </p:cNvSpPr>
              <p:nvPr/>
            </p:nvSpPr>
            <p:spPr bwMode="auto">
              <a:xfrm>
                <a:off x="2212000" y="623550"/>
                <a:ext cx="288000" cy="5537047"/>
              </a:xfrm>
              <a:prstGeom prst="rect">
                <a:avLst/>
              </a:prstGeom>
              <a:solidFill>
                <a:srgbClr val="B1B3B3">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 name="Rectangle 42">
                <a:extLst>
                  <a:ext uri="{FF2B5EF4-FFF2-40B4-BE49-F238E27FC236}">
                    <a16:creationId xmlns:a16="http://schemas.microsoft.com/office/drawing/2014/main" id="{51D14E85-1CA8-4C7E-B50F-284013D38CE6}"/>
                  </a:ext>
                </a:extLst>
              </p:cNvPr>
              <p:cNvSpPr>
                <a:spLocks noChangeArrowheads="1"/>
              </p:cNvSpPr>
              <p:nvPr/>
            </p:nvSpPr>
            <p:spPr bwMode="auto">
              <a:xfrm>
                <a:off x="3147000" y="623550"/>
                <a:ext cx="288000" cy="5537047"/>
              </a:xfrm>
              <a:prstGeom prst="rect">
                <a:avLst/>
              </a:prstGeom>
              <a:solidFill>
                <a:srgbClr val="B1B3B3">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 name="Rectangle 43">
                <a:extLst>
                  <a:ext uri="{FF2B5EF4-FFF2-40B4-BE49-F238E27FC236}">
                    <a16:creationId xmlns:a16="http://schemas.microsoft.com/office/drawing/2014/main" id="{1FA38029-D16D-49DF-BEDB-8EA6212C647D}"/>
                  </a:ext>
                </a:extLst>
              </p:cNvPr>
              <p:cNvSpPr>
                <a:spLocks noChangeArrowheads="1"/>
              </p:cNvSpPr>
              <p:nvPr/>
            </p:nvSpPr>
            <p:spPr bwMode="auto">
              <a:xfrm>
                <a:off x="4082000" y="623550"/>
                <a:ext cx="288000" cy="5537047"/>
              </a:xfrm>
              <a:prstGeom prst="rect">
                <a:avLst/>
              </a:prstGeom>
              <a:solidFill>
                <a:srgbClr val="B1B3B3">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 name="Rectangle 44">
                <a:extLst>
                  <a:ext uri="{FF2B5EF4-FFF2-40B4-BE49-F238E27FC236}">
                    <a16:creationId xmlns:a16="http://schemas.microsoft.com/office/drawing/2014/main" id="{1CD47AA2-9948-407C-BEB0-895F9ED116E1}"/>
                  </a:ext>
                </a:extLst>
              </p:cNvPr>
              <p:cNvSpPr>
                <a:spLocks noChangeArrowheads="1"/>
              </p:cNvSpPr>
              <p:nvPr/>
            </p:nvSpPr>
            <p:spPr bwMode="auto">
              <a:xfrm>
                <a:off x="5017000" y="623550"/>
                <a:ext cx="288000" cy="5537047"/>
              </a:xfrm>
              <a:prstGeom prst="rect">
                <a:avLst/>
              </a:prstGeom>
              <a:solidFill>
                <a:srgbClr val="B1B3B3">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03" name="Slide edges">
              <a:extLst>
                <a:ext uri="{FF2B5EF4-FFF2-40B4-BE49-F238E27FC236}">
                  <a16:creationId xmlns:a16="http://schemas.microsoft.com/office/drawing/2014/main" id="{73C8EAE7-7E34-4CD2-BA59-7171DD39E062}"/>
                </a:ext>
              </a:extLst>
            </p:cNvPr>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rgbClr val="B1B3B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ea typeface="+mn-ea"/>
                <a:cs typeface="+mn-cs"/>
              </a:endParaRPr>
            </a:p>
          </p:txBody>
        </p:sp>
        <p:sp>
          <p:nvSpPr>
            <p:cNvPr id="104" name="Footnote measure">
              <a:extLst>
                <a:ext uri="{FF2B5EF4-FFF2-40B4-BE49-F238E27FC236}">
                  <a16:creationId xmlns:a16="http://schemas.microsoft.com/office/drawing/2014/main" id="{762D1CD6-7EDE-497E-B5CB-4F485B32B300}"/>
                </a:ext>
              </a:extLst>
            </p:cNvPr>
            <p:cNvSpPr>
              <a:spLocks noChangeArrowheads="1"/>
            </p:cNvSpPr>
            <p:nvPr/>
          </p:nvSpPr>
          <p:spPr bwMode="auto">
            <a:xfrm>
              <a:off x="629400" y="6159600"/>
              <a:ext cx="10933200" cy="561161"/>
            </a:xfrm>
            <a:prstGeom prst="rect">
              <a:avLst/>
            </a:prstGeom>
            <a:solidFill>
              <a:srgbClr val="D4DF33">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 name="Whitespace measure">
              <a:extLst>
                <a:ext uri="{FF2B5EF4-FFF2-40B4-BE49-F238E27FC236}">
                  <a16:creationId xmlns:a16="http://schemas.microsoft.com/office/drawing/2014/main" id="{35EA0EBC-9D3F-45AE-B9A2-AA7233857798}"/>
                </a:ext>
              </a:extLst>
            </p:cNvPr>
            <p:cNvSpPr>
              <a:spLocks noChangeArrowheads="1"/>
            </p:cNvSpPr>
            <p:nvPr/>
          </p:nvSpPr>
          <p:spPr bwMode="auto">
            <a:xfrm>
              <a:off x="629400" y="1497600"/>
              <a:ext cx="10932229" cy="583200"/>
            </a:xfrm>
            <a:prstGeom prst="rect">
              <a:avLst/>
            </a:prstGeom>
            <a:solidFill>
              <a:srgbClr val="D4DF33">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06" name="Five column measure">
              <a:extLst>
                <a:ext uri="{FF2B5EF4-FFF2-40B4-BE49-F238E27FC236}">
                  <a16:creationId xmlns:a16="http://schemas.microsoft.com/office/drawing/2014/main" id="{0A270041-FD13-4CAD-B3FD-F108299741C6}"/>
                </a:ext>
              </a:extLst>
            </p:cNvPr>
            <p:cNvGrpSpPr/>
            <p:nvPr/>
          </p:nvGrpSpPr>
          <p:grpSpPr>
            <a:xfrm>
              <a:off x="629400" y="5975122"/>
              <a:ext cx="10933200" cy="79536"/>
              <a:chOff x="629400" y="5975122"/>
              <a:chExt cx="10933200" cy="79536"/>
            </a:xfrm>
          </p:grpSpPr>
          <p:sp>
            <p:nvSpPr>
              <p:cNvPr id="109" name="Rectangle 5">
                <a:extLst>
                  <a:ext uri="{FF2B5EF4-FFF2-40B4-BE49-F238E27FC236}">
                    <a16:creationId xmlns:a16="http://schemas.microsoft.com/office/drawing/2014/main" id="{4245C682-BBB1-4839-94C2-1EC1DC81E19C}"/>
                  </a:ext>
                </a:extLst>
              </p:cNvPr>
              <p:cNvSpPr>
                <a:spLocks noChangeArrowheads="1"/>
              </p:cNvSpPr>
              <p:nvPr/>
            </p:nvSpPr>
            <p:spPr bwMode="auto">
              <a:xfrm>
                <a:off x="2880128" y="5975122"/>
                <a:ext cx="1930288" cy="79536"/>
              </a:xfrm>
              <a:prstGeom prst="rect">
                <a:avLst/>
              </a:prstGeom>
              <a:solidFill>
                <a:srgbClr val="B1B3B3">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 name="Rectangle 7">
                <a:extLst>
                  <a:ext uri="{FF2B5EF4-FFF2-40B4-BE49-F238E27FC236}">
                    <a16:creationId xmlns:a16="http://schemas.microsoft.com/office/drawing/2014/main" id="{875B19F6-B409-4932-B400-7BBB797AE41A}"/>
                  </a:ext>
                </a:extLst>
              </p:cNvPr>
              <p:cNvSpPr>
                <a:spLocks noChangeArrowheads="1"/>
              </p:cNvSpPr>
              <p:nvPr/>
            </p:nvSpPr>
            <p:spPr bwMode="auto">
              <a:xfrm>
                <a:off x="9626194" y="5975122"/>
                <a:ext cx="1936406" cy="79536"/>
              </a:xfrm>
              <a:prstGeom prst="rect">
                <a:avLst/>
              </a:prstGeom>
              <a:solidFill>
                <a:srgbClr val="B1B3B3">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 name="Rectangle 9">
                <a:extLst>
                  <a:ext uri="{FF2B5EF4-FFF2-40B4-BE49-F238E27FC236}">
                    <a16:creationId xmlns:a16="http://schemas.microsoft.com/office/drawing/2014/main" id="{46DDA540-A1CB-4F04-BAEA-F6EAB1D3351C}"/>
                  </a:ext>
                </a:extLst>
              </p:cNvPr>
              <p:cNvSpPr>
                <a:spLocks noChangeArrowheads="1"/>
              </p:cNvSpPr>
              <p:nvPr/>
            </p:nvSpPr>
            <p:spPr bwMode="auto">
              <a:xfrm>
                <a:off x="7372407" y="5975122"/>
                <a:ext cx="1936406" cy="79536"/>
              </a:xfrm>
              <a:prstGeom prst="rect">
                <a:avLst/>
              </a:prstGeom>
              <a:solidFill>
                <a:srgbClr val="B1B3B3">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 name="Rectangle 11">
                <a:extLst>
                  <a:ext uri="{FF2B5EF4-FFF2-40B4-BE49-F238E27FC236}">
                    <a16:creationId xmlns:a16="http://schemas.microsoft.com/office/drawing/2014/main" id="{6F7B665F-B217-4BBD-BCEA-815ACA7A8F7C}"/>
                  </a:ext>
                </a:extLst>
              </p:cNvPr>
              <p:cNvSpPr>
                <a:spLocks noChangeArrowheads="1"/>
              </p:cNvSpPr>
              <p:nvPr/>
            </p:nvSpPr>
            <p:spPr bwMode="auto">
              <a:xfrm>
                <a:off x="5127797" y="5975122"/>
                <a:ext cx="1927229" cy="79536"/>
              </a:xfrm>
              <a:prstGeom prst="rect">
                <a:avLst/>
              </a:prstGeom>
              <a:solidFill>
                <a:srgbClr val="B1B3B3">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3" name="Rectangle 13">
                <a:extLst>
                  <a:ext uri="{FF2B5EF4-FFF2-40B4-BE49-F238E27FC236}">
                    <a16:creationId xmlns:a16="http://schemas.microsoft.com/office/drawing/2014/main" id="{6E36DF28-2CB7-45AD-8712-1D76B7D8D3F5}"/>
                  </a:ext>
                </a:extLst>
              </p:cNvPr>
              <p:cNvSpPr>
                <a:spLocks noChangeArrowheads="1"/>
              </p:cNvSpPr>
              <p:nvPr/>
            </p:nvSpPr>
            <p:spPr bwMode="auto">
              <a:xfrm>
                <a:off x="629400" y="5975122"/>
                <a:ext cx="1933347" cy="79536"/>
              </a:xfrm>
              <a:prstGeom prst="rect">
                <a:avLst/>
              </a:prstGeom>
              <a:solidFill>
                <a:srgbClr val="B1B3B3">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07" name="Footnote example">
              <a:extLst>
                <a:ext uri="{FF2B5EF4-FFF2-40B4-BE49-F238E27FC236}">
                  <a16:creationId xmlns:a16="http://schemas.microsoft.com/office/drawing/2014/main" id="{629E7B5F-10D4-4698-8679-BF99E7550F50}"/>
                </a:ext>
              </a:extLst>
            </p:cNvPr>
            <p:cNvSpPr txBox="1"/>
            <p:nvPr/>
          </p:nvSpPr>
          <p:spPr>
            <a:xfrm>
              <a:off x="1069321" y="6305263"/>
              <a:ext cx="9030914" cy="415498"/>
            </a:xfrm>
            <a:prstGeom prst="rect">
              <a:avLst/>
            </a:prstGeom>
            <a:noFill/>
          </p:spPr>
          <p:txBody>
            <a:bodyPr wrap="square" lIns="0" tIns="0" rIns="0" bIns="0" rtlCol="0" anchor="b">
              <a:spAutoFit/>
            </a:bodyPr>
            <a:lstStyle/>
            <a:p>
              <a:pPr lvl="0">
                <a:lnSpc>
                  <a:spcPct val="90000"/>
                </a:lnSpc>
                <a:defRPr/>
              </a:pPr>
              <a:r>
                <a:rPr lang="en-US" sz="1000">
                  <a:solidFill>
                    <a:prstClr val="white">
                      <a:lumMod val="65000"/>
                    </a:prstClr>
                  </a:solidFill>
                  <a:sym typeface="Trebuchet MS" panose="020B0603020202020204" pitchFamily="34" charset="0"/>
                </a:rPr>
                <a:t>1. xxxx  2. xxxx  3. List footnotes in numerical order. Footnote numbers are not bracketed. Use 10pt font</a:t>
              </a:r>
            </a:p>
            <a:p>
              <a:pPr lvl="0">
                <a:lnSpc>
                  <a:spcPct val="90000"/>
                </a:lnSpc>
                <a:defRPr/>
              </a:pPr>
              <a:r>
                <a:rPr lang="en-US" sz="1000">
                  <a:solidFill>
                    <a:prstClr val="white">
                      <a:lumMod val="65000"/>
                    </a:prstClr>
                  </a:solidFill>
                  <a:sym typeface="Trebuchet MS" panose="020B0603020202020204" pitchFamily="34" charset="0"/>
                </a:rPr>
                <a:t>Note: Do not put a period at the end of the note or the source</a:t>
              </a:r>
            </a:p>
            <a:p>
              <a:pPr lvl="0">
                <a:lnSpc>
                  <a:spcPct val="90000"/>
                </a:lnSpc>
                <a:defRPr/>
              </a:pPr>
              <a:r>
                <a:rPr lang="en-US" sz="100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en-US" sz="1000" b="0" i="0" u="none" strike="noStrike" kern="1200" cap="none" spc="0" normalizeH="0" baseline="0" noProof="0">
                <a:ln>
                  <a:noFill/>
                </a:ln>
                <a:solidFill>
                  <a:prstClr val="white">
                    <a:lumMod val="65000"/>
                  </a:prstClr>
                </a:solidFill>
                <a:effectLst/>
                <a:uLnTx/>
                <a:uFillTx/>
                <a:sym typeface="Trebuchet MS" panose="020B0603020202020204" pitchFamily="34" charset="0"/>
              </a:endParaRPr>
            </a:p>
          </p:txBody>
        </p:sp>
        <p:sp>
          <p:nvSpPr>
            <p:cNvPr id="108" name="Live area">
              <a:extLst>
                <a:ext uri="{FF2B5EF4-FFF2-40B4-BE49-F238E27FC236}">
                  <a16:creationId xmlns:a16="http://schemas.microsoft.com/office/drawing/2014/main" id="{85EB2B37-7B8B-4A63-B065-8E3491E61DDC}"/>
                </a:ext>
              </a:extLst>
            </p:cNvPr>
            <p:cNvSpPr/>
            <p:nvPr/>
          </p:nvSpPr>
          <p:spPr>
            <a:xfrm>
              <a:off x="628650" y="2081213"/>
              <a:ext cx="10934700" cy="4079875"/>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endParaRPr>
            </a:p>
          </p:txBody>
        </p:sp>
      </p:grpSp>
    </p:spTree>
    <p:extLst>
      <p:ext uri="{BB962C8B-B14F-4D97-AF65-F5344CB8AC3E}">
        <p14:creationId xmlns:p14="http://schemas.microsoft.com/office/powerpoint/2010/main" val="13381608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userDrawn="1">
  <p:cSld name="3_Agenda Section Header Overview">
    <p:bg>
      <p:bgPr>
        <a:gradFill>
          <a:gsLst>
            <a:gs pos="0">
              <a:srgbClr val="004E2A"/>
            </a:gs>
            <a:gs pos="100000">
              <a:srgbClr val="78B944"/>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03926960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3 by Boston Consulting Group. All rights reserved.</a:t>
            </a: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mn-lt"/>
              <a:ea typeface="+mn-ea"/>
              <a:cs typeface="+mn-cs"/>
            </a:endParaRPr>
          </a:p>
        </p:txBody>
      </p:sp>
      <p:sp>
        <p:nvSpPr>
          <p:cNvPr id="12" name="Rectangle 11"/>
          <p:cNvSpPr/>
          <p:nvPr userDrawn="1">
            <p:custDataLst>
              <p:tags r:id="rId2"/>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mn-lt"/>
              <a:ea typeface="+mn-ea"/>
              <a:cs typeface="+mn-cs"/>
            </a:endParaRPr>
          </a:p>
        </p:txBody>
      </p:sp>
      <p:sp>
        <p:nvSpPr>
          <p:cNvPr id="2" name="TextBox 1"/>
          <p:cNvSpPr txBox="1"/>
          <p:nvPr userDrawn="1"/>
        </p:nvSpPr>
        <p:spPr>
          <a:xfrm>
            <a:off x="630000" y="907198"/>
            <a:ext cx="3448800" cy="3447288"/>
          </a:xfrm>
          <a:prstGeom prst="rect">
            <a:avLst/>
          </a:prstGeom>
          <a:noFill/>
          <a:ln>
            <a:solidFill>
              <a:schemeClr val="bg1"/>
            </a:solidFill>
          </a:ln>
        </p:spPr>
        <p:txBody>
          <a:bodyPr wrap="none" lIns="612000" tIns="468000" rIns="0" bIns="0" rtlCol="0" anchor="t">
            <a:noAutofit/>
          </a:bodyPr>
          <a:lstStyle/>
          <a:p>
            <a:pPr>
              <a:lnSpc>
                <a:spcPct val="90000"/>
              </a:lnSpc>
              <a:spcAft>
                <a:spcPts val="600"/>
              </a:spcAft>
            </a:pPr>
            <a:endParaRPr lang="en-US" sz="5400">
              <a:solidFill>
                <a:schemeClr val="bg1"/>
              </a:solidFill>
              <a:latin typeface="+mn-lt"/>
              <a:ea typeface="+mn-ea"/>
              <a:cs typeface="+mn-cs"/>
            </a:endParaRPr>
          </a:p>
        </p:txBody>
      </p:sp>
      <p:sp>
        <p:nvSpPr>
          <p:cNvPr id="10" name="TextBox 1"/>
          <p:cNvSpPr txBox="1"/>
          <p:nvPr userDrawn="1"/>
        </p:nvSpPr>
        <p:spPr>
          <a:xfrm>
            <a:off x="1199396" y="1115416"/>
            <a:ext cx="2309287" cy="881780"/>
          </a:xfrm>
          <a:prstGeom prst="rect">
            <a:avLst/>
          </a:prstGeom>
          <a:noFill/>
        </p:spPr>
        <p:txBody>
          <a:bodyPr wrap="none" rtlCol="0">
            <a:spAutoFit/>
          </a:bodyPr>
          <a:lstStyle/>
          <a:p>
            <a:pPr algn="ctr" fontAlgn="auto">
              <a:lnSpc>
                <a:spcPct val="95000"/>
              </a:lnSpc>
              <a:spcBef>
                <a:spcPts val="0"/>
              </a:spcBef>
              <a:spcAft>
                <a:spcPts val="0"/>
              </a:spcAft>
            </a:pPr>
            <a:r>
              <a:rPr lang="en-US" sz="5400">
                <a:solidFill>
                  <a:schemeClr val="bg1"/>
                </a:solidFill>
                <a:latin typeface="+mn-lt"/>
                <a:ea typeface="+mn-ea"/>
                <a:cs typeface="+mn-cs"/>
              </a:rPr>
              <a:t>Agenda</a:t>
            </a:r>
          </a:p>
        </p:txBody>
      </p:sp>
      <p:pic>
        <p:nvPicPr>
          <p:cNvPr id="13" name="Graphic 12">
            <a:extLst>
              <a:ext uri="{FF2B5EF4-FFF2-40B4-BE49-F238E27FC236}">
                <a16:creationId xmlns:a16="http://schemas.microsoft.com/office/drawing/2014/main" id="{1CF18B33-D6D8-48A4-9672-4732D134CE75}"/>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428018" y="6271005"/>
            <a:ext cx="498632" cy="517662"/>
          </a:xfrm>
          <a:prstGeom prst="rect">
            <a:avLst/>
          </a:prstGeom>
        </p:spPr>
      </p:pic>
    </p:spTree>
    <p:extLst>
      <p:ext uri="{BB962C8B-B14F-4D97-AF65-F5344CB8AC3E}">
        <p14:creationId xmlns:p14="http://schemas.microsoft.com/office/powerpoint/2010/main" val="32073379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D7444DB-C045-4912-B2DD-20B8BCB84AB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a:extLst>
                          <a:ext uri="{FF2B5EF4-FFF2-40B4-BE49-F238E27FC236}">
                            <a16:creationId xmlns:a16="http://schemas.microsoft.com/office/drawing/2014/main" id="{AD7444DB-C045-4912-B2DD-20B8BCB84AB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a typeface="+mn-ea"/>
              <a:cs typeface="+mn-cs"/>
            </a:endParaRPr>
          </a:p>
        </p:txBody>
      </p:sp>
      <p:sp>
        <p:nvSpPr>
          <p:cNvPr id="9" name="Title 1"/>
          <p:cNvSpPr>
            <a:spLocks noGrp="1"/>
          </p:cNvSpPr>
          <p:nvPr>
            <p:ph type="title" hasCustomPrompt="1"/>
          </p:nvPr>
        </p:nvSpPr>
        <p:spPr bwMode="ltGray">
          <a:xfrm>
            <a:off x="630000" y="1544274"/>
            <a:ext cx="3452400" cy="1495794"/>
          </a:xfrm>
          <a:noFill/>
        </p:spPr>
        <p:txBody>
          <a:bodyPr vert="horz" wrap="square" lIns="0" tIns="0" rIns="320040" bIns="0" anchor="b">
            <a:noAutofit/>
          </a:bodyPr>
          <a:lstStyle>
            <a:lvl1pPr>
              <a:defRPr sz="3400">
                <a:solidFill>
                  <a:schemeClr val="tx2"/>
                </a:solidFill>
                <a:latin typeface="+mj-lt"/>
                <a:ea typeface="+mj-ea"/>
                <a:cs typeface="+mj-cs"/>
              </a:defRPr>
            </a:lvl1pPr>
          </a:lstStyle>
          <a:p>
            <a:r>
              <a:rPr lang="en-US"/>
              <a:t>Click to add title</a:t>
            </a: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pic>
        <p:nvPicPr>
          <p:cNvPr id="12" name="Graphic 11">
            <a:extLst>
              <a:ext uri="{FF2B5EF4-FFF2-40B4-BE49-F238E27FC236}">
                <a16:creationId xmlns:a16="http://schemas.microsoft.com/office/drawing/2014/main" id="{F2E1C7FA-35C2-46A2-B67A-4236D4DEE244}"/>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428018" y="6271005"/>
            <a:ext cx="498632" cy="517662"/>
          </a:xfrm>
          <a:prstGeom prst="rect">
            <a:avLst/>
          </a:prstGeom>
        </p:spPr>
      </p:pic>
    </p:spTree>
    <p:extLst>
      <p:ext uri="{BB962C8B-B14F-4D97-AF65-F5344CB8AC3E}">
        <p14:creationId xmlns:p14="http://schemas.microsoft.com/office/powerpoint/2010/main" val="32498631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userDrawn="1">
  <p:cSld name="3_Agenda Section Header">
    <p:bg>
      <p:bgPr>
        <a:gradFill>
          <a:gsLst>
            <a:gs pos="0">
              <a:srgbClr val="004E2A"/>
            </a:gs>
            <a:gs pos="100000">
              <a:srgbClr val="78B944"/>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520220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3 by Boston Consulting Group. All rights reserved.</a:t>
            </a: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mn-lt"/>
              <a:ea typeface="+mn-ea"/>
              <a:cs typeface="+mn-cs"/>
            </a:endParaRPr>
          </a:p>
        </p:txBody>
      </p:sp>
      <p:pic>
        <p:nvPicPr>
          <p:cNvPr id="8" name="Graphic 7">
            <a:extLst>
              <a:ext uri="{FF2B5EF4-FFF2-40B4-BE49-F238E27FC236}">
                <a16:creationId xmlns:a16="http://schemas.microsoft.com/office/drawing/2014/main" id="{7C6F39FC-A4BD-4A1A-A0D2-E062DAA33AD6}"/>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428018" y="6271005"/>
            <a:ext cx="498632" cy="517662"/>
          </a:xfrm>
          <a:prstGeom prst="rect">
            <a:avLst/>
          </a:prstGeom>
        </p:spPr>
      </p:pic>
    </p:spTree>
    <p:extLst>
      <p:ext uri="{BB962C8B-B14F-4D97-AF65-F5344CB8AC3E}">
        <p14:creationId xmlns:p14="http://schemas.microsoft.com/office/powerpoint/2010/main" val="29129832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userDrawn="1">
  <p:cSld name="3_Agenda Full Width Overview">
    <p:bg>
      <p:bgPr>
        <a:gradFill>
          <a:gsLst>
            <a:gs pos="0">
              <a:srgbClr val="004E2A"/>
            </a:gs>
            <a:gs pos="100000">
              <a:srgbClr val="78B944"/>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199527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3 by Boston Consulting Group. All rights reserved.</a:t>
            </a: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a:solidFill>
                  <a:schemeClr val="bg1"/>
                </a:solidFill>
                <a:latin typeface="+mn-lt"/>
                <a:ea typeface="+mn-ea"/>
                <a:cs typeface="+mn-cs"/>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pic>
        <p:nvPicPr>
          <p:cNvPr id="8" name="Graphic 7">
            <a:extLst>
              <a:ext uri="{FF2B5EF4-FFF2-40B4-BE49-F238E27FC236}">
                <a16:creationId xmlns:a16="http://schemas.microsoft.com/office/drawing/2014/main" id="{52EE9DA1-A56B-4AD7-A7AE-FC9DECE14293}"/>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428018" y="6271005"/>
            <a:ext cx="498632" cy="517662"/>
          </a:xfrm>
          <a:prstGeom prst="rect">
            <a:avLst/>
          </a:prstGeom>
        </p:spPr>
      </p:pic>
    </p:spTree>
    <p:extLst>
      <p:ext uri="{BB962C8B-B14F-4D97-AF65-F5344CB8AC3E}">
        <p14:creationId xmlns:p14="http://schemas.microsoft.com/office/powerpoint/2010/main" val="32378414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reserve="1" userDrawn="1">
  <p:cSld name="3_Agenda Two-Thirds">
    <p:bg>
      <p:bgPr>
        <a:gradFill>
          <a:gsLst>
            <a:gs pos="0">
              <a:srgbClr val="004E2A"/>
            </a:gs>
            <a:gs pos="100000">
              <a:srgbClr val="78B944"/>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50298128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3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a:solidFill>
                  <a:schemeClr val="bg1"/>
                </a:solidFill>
                <a:latin typeface="+mn-lt"/>
                <a:ea typeface="+mn-ea"/>
                <a:cs typeface="+mn-cs"/>
              </a:rPr>
              <a:t>Agenda</a:t>
            </a:r>
          </a:p>
        </p:txBody>
      </p:sp>
      <p:pic>
        <p:nvPicPr>
          <p:cNvPr id="9" name="Graphic 8">
            <a:extLst>
              <a:ext uri="{FF2B5EF4-FFF2-40B4-BE49-F238E27FC236}">
                <a16:creationId xmlns:a16="http://schemas.microsoft.com/office/drawing/2014/main" id="{D7538DDF-5C24-4087-B99A-36CF897573E0}"/>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428018" y="6271005"/>
            <a:ext cx="498632" cy="517662"/>
          </a:xfrm>
          <a:prstGeom prst="rect">
            <a:avLst/>
          </a:prstGeom>
        </p:spPr>
      </p:pic>
    </p:spTree>
    <p:extLst>
      <p:ext uri="{BB962C8B-B14F-4D97-AF65-F5344CB8AC3E}">
        <p14:creationId xmlns:p14="http://schemas.microsoft.com/office/powerpoint/2010/main" val="14185140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p:cSld name="3_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57332729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3 by Boston Consulting Group. All rights reserved.</a:t>
            </a: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mn-lt"/>
              <a:ea typeface="+mn-ea"/>
              <a:cs typeface="+mn-cs"/>
            </a:endParaRPr>
          </a:p>
        </p:txBody>
      </p:sp>
      <p:sp>
        <p:nvSpPr>
          <p:cNvPr id="10" name="Rectangle 9"/>
          <p:cNvSpPr/>
          <p:nvPr userDrawn="1">
            <p:custDataLst>
              <p:tags r:id="rId2"/>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mn-lt"/>
              <a:ea typeface="+mn-ea"/>
              <a:cs typeface="+mn-cs"/>
            </a:endParaRPr>
          </a:p>
        </p:txBody>
      </p:sp>
      <p:sp>
        <p:nvSpPr>
          <p:cNvPr id="11" name="TextBox 10"/>
          <p:cNvSpPr txBox="1"/>
          <p:nvPr userDrawn="1"/>
        </p:nvSpPr>
        <p:spPr>
          <a:xfrm>
            <a:off x="630000" y="907196"/>
            <a:ext cx="3448800" cy="3447288"/>
          </a:xfrm>
          <a:prstGeom prst="rect">
            <a:avLst/>
          </a:prstGeom>
          <a:noFill/>
          <a:ln>
            <a:solidFill>
              <a:schemeClr val="accent4"/>
            </a:solidFill>
          </a:ln>
        </p:spPr>
        <p:txBody>
          <a:bodyPr wrap="none" lIns="612000" tIns="468000" rIns="0" bIns="0" rtlCol="0" anchor="t">
            <a:noAutofit/>
          </a:bodyPr>
          <a:lstStyle/>
          <a:p>
            <a:pPr>
              <a:lnSpc>
                <a:spcPct val="90000"/>
              </a:lnSpc>
              <a:spcAft>
                <a:spcPts val="600"/>
              </a:spcAft>
            </a:pPr>
            <a:endParaRPr lang="en-US" sz="5400">
              <a:solidFill>
                <a:schemeClr val="accent4"/>
              </a:solidFill>
              <a:latin typeface="+mn-lt"/>
              <a:ea typeface="+mn-ea"/>
              <a:cs typeface="+mn-cs"/>
            </a:endParaRPr>
          </a:p>
        </p:txBody>
      </p:sp>
      <p:sp>
        <p:nvSpPr>
          <p:cNvPr id="9" name="TextBox 1"/>
          <p:cNvSpPr txBox="1"/>
          <p:nvPr userDrawn="1"/>
        </p:nvSpPr>
        <p:spPr>
          <a:xfrm>
            <a:off x="1199396" y="1115416"/>
            <a:ext cx="2309287" cy="881780"/>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a:latin typeface="+mn-lt"/>
                <a:ea typeface="+mn-ea"/>
                <a:cs typeface="+mn-cs"/>
              </a:rPr>
              <a:t>Agenda</a:t>
            </a:r>
          </a:p>
        </p:txBody>
      </p:sp>
      <p:pic>
        <p:nvPicPr>
          <p:cNvPr id="12" name="Graphic 11">
            <a:extLst>
              <a:ext uri="{FF2B5EF4-FFF2-40B4-BE49-F238E27FC236}">
                <a16:creationId xmlns:a16="http://schemas.microsoft.com/office/drawing/2014/main" id="{26742CD6-2CF1-4677-BAF0-4994D103D774}"/>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428018" y="6271005"/>
            <a:ext cx="498632" cy="517662"/>
          </a:xfrm>
          <a:prstGeom prst="rect">
            <a:avLst/>
          </a:prstGeom>
        </p:spPr>
      </p:pic>
    </p:spTree>
    <p:extLst>
      <p:ext uri="{BB962C8B-B14F-4D97-AF65-F5344CB8AC3E}">
        <p14:creationId xmlns:p14="http://schemas.microsoft.com/office/powerpoint/2010/main" val="39339370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p:cSld name="3_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54048279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3 by Boston Consulting Group. All rights reserved.</a:t>
            </a: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mn-lt"/>
              <a:ea typeface="+mn-ea"/>
              <a:cs typeface="+mn-cs"/>
            </a:endParaRPr>
          </a:p>
        </p:txBody>
      </p:sp>
      <p:pic>
        <p:nvPicPr>
          <p:cNvPr id="6" name="Graphic 5">
            <a:extLst>
              <a:ext uri="{FF2B5EF4-FFF2-40B4-BE49-F238E27FC236}">
                <a16:creationId xmlns:a16="http://schemas.microsoft.com/office/drawing/2014/main" id="{A2974FD5-9031-4224-935E-1A40C25AB367}"/>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428018" y="6271005"/>
            <a:ext cx="498632" cy="517662"/>
          </a:xfrm>
          <a:prstGeom prst="rect">
            <a:avLst/>
          </a:prstGeom>
        </p:spPr>
      </p:pic>
    </p:spTree>
    <p:extLst>
      <p:ext uri="{BB962C8B-B14F-4D97-AF65-F5344CB8AC3E}">
        <p14:creationId xmlns:p14="http://schemas.microsoft.com/office/powerpoint/2010/main" val="40264944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p:cSld name="3_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38293997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3 by Boston Consulting Group. All rights reserved.</a:t>
            </a: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a:solidFill>
                  <a:schemeClr val="accent4"/>
                </a:solidFill>
                <a:latin typeface="+mn-lt"/>
                <a:ea typeface="+mn-ea"/>
                <a:cs typeface="+mn-cs"/>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pic>
        <p:nvPicPr>
          <p:cNvPr id="6" name="Graphic 5">
            <a:extLst>
              <a:ext uri="{FF2B5EF4-FFF2-40B4-BE49-F238E27FC236}">
                <a16:creationId xmlns:a16="http://schemas.microsoft.com/office/drawing/2014/main" id="{3DAF94CB-47A2-471D-B5F0-932D7A57839D}"/>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428018" y="6271005"/>
            <a:ext cx="498632" cy="517662"/>
          </a:xfrm>
          <a:prstGeom prst="rect">
            <a:avLst/>
          </a:prstGeom>
        </p:spPr>
      </p:pic>
    </p:spTree>
    <p:extLst>
      <p:ext uri="{BB962C8B-B14F-4D97-AF65-F5344CB8AC3E}">
        <p14:creationId xmlns:p14="http://schemas.microsoft.com/office/powerpoint/2010/main" val="15539593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reserve="1" userDrawn="1">
  <p:cSld name="3_Agenda D. Two-Thirds">
    <p:bg>
      <p:bgPr>
        <a:gradFill>
          <a:gsLst>
            <a:gs pos="0">
              <a:srgbClr val="004E2A"/>
            </a:gs>
            <a:gs pos="100000">
              <a:srgbClr val="78B944"/>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65534214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3 by Boston Consulting Group. All rights reserved.</a:t>
            </a: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a:solidFill>
                  <a:schemeClr val="bg1"/>
                </a:solidFill>
                <a:latin typeface="+mn-lt"/>
                <a:ea typeface="+mn-ea"/>
                <a:cs typeface="+mn-cs"/>
              </a:rPr>
              <a:t>Agenda</a:t>
            </a:r>
          </a:p>
        </p:txBody>
      </p:sp>
      <p:pic>
        <p:nvPicPr>
          <p:cNvPr id="9" name="Graphic 8">
            <a:extLst>
              <a:ext uri="{FF2B5EF4-FFF2-40B4-BE49-F238E27FC236}">
                <a16:creationId xmlns:a16="http://schemas.microsoft.com/office/drawing/2014/main" id="{6FC979E9-9FAC-47CE-9CE9-DE84AC6F6D0A}"/>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428018" y="6271005"/>
            <a:ext cx="498632" cy="517662"/>
          </a:xfrm>
          <a:prstGeom prst="rect">
            <a:avLst/>
          </a:prstGeom>
        </p:spPr>
      </p:pic>
    </p:spTree>
    <p:extLst>
      <p:ext uri="{BB962C8B-B14F-4D97-AF65-F5344CB8AC3E}">
        <p14:creationId xmlns:p14="http://schemas.microsoft.com/office/powerpoint/2010/main" val="33017412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3_Agenda D. Table of Contents">
    <p:bg>
      <p:bgPr>
        <a:gradFill>
          <a:gsLst>
            <a:gs pos="0">
              <a:srgbClr val="004E2A"/>
            </a:gs>
            <a:gs pos="100000">
              <a:srgbClr val="78B944"/>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5178567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a:solidFill>
                  <a:schemeClr val="tx2"/>
                </a:solidFill>
                <a:latin typeface="+mn-lt"/>
                <a:ea typeface="+mn-ea"/>
                <a:cs typeface="+mn-cs"/>
                <a:sym typeface="Trebuchet MS" panose="020B0603020202020204" pitchFamily="34" charset="0"/>
              </a:rPr>
              <a:t>Table of contents</a:t>
            </a:r>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3 by Boston Consulting Group. All rights reserved.</a:t>
            </a: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pic>
        <p:nvPicPr>
          <p:cNvPr id="10" name="Graphic 9">
            <a:extLst>
              <a:ext uri="{FF2B5EF4-FFF2-40B4-BE49-F238E27FC236}">
                <a16:creationId xmlns:a16="http://schemas.microsoft.com/office/drawing/2014/main" id="{A46EB8A1-3C70-4FAE-A195-1D2D299B7B1D}"/>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428018" y="6271005"/>
            <a:ext cx="498632" cy="517662"/>
          </a:xfrm>
          <a:prstGeom prst="rect">
            <a:avLst/>
          </a:prstGeom>
        </p:spPr>
      </p:pic>
    </p:spTree>
    <p:extLst>
      <p:ext uri="{BB962C8B-B14F-4D97-AF65-F5344CB8AC3E}">
        <p14:creationId xmlns:p14="http://schemas.microsoft.com/office/powerpoint/2010/main" val="9002826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a:solidFill>
                <a:srgbClr val="FFFFFF"/>
              </a:solidFill>
              <a:latin typeface="+mn-lt"/>
              <a:ea typeface="+mn-ea"/>
              <a:cs typeface="+mn-cs"/>
              <a:sym typeface="Trebuchet MS" panose="020B0603020202020204" pitchFamily="34" charset="0"/>
            </a:endParaRPr>
          </a:p>
        </p:txBody>
      </p:sp>
      <p:pic>
        <p:nvPicPr>
          <p:cNvPr id="16" name="Picture 15" descr="Diagram&#10;&#10;Description automatically generated">
            <a:extLst>
              <a:ext uri="{FF2B5EF4-FFF2-40B4-BE49-F238E27FC236}">
                <a16:creationId xmlns:a16="http://schemas.microsoft.com/office/drawing/2014/main" id="{53D83D24-4382-45EB-887F-180076E5500E}"/>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10848345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2_Title Only">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8AFC886-5AC5-4758-9097-08BB21B48A8A}"/>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a:extLst>
                          <a:ext uri="{FF2B5EF4-FFF2-40B4-BE49-F238E27FC236}">
                            <a16:creationId xmlns:a16="http://schemas.microsoft.com/office/drawing/2014/main" id="{C8AFC886-5AC5-4758-9097-08BB21B48A8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3 by Boston Consulting Group. All rights reserved.</a:t>
            </a: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ea typeface="+mj-ea"/>
                <a:cs typeface="+mj-cs"/>
                <a:sym typeface="Trebuchet MS" panose="020B0603020202020204" pitchFamily="34" charset="0"/>
              </a:defRPr>
            </a:lvl1pPr>
          </a:lstStyle>
          <a:p>
            <a:pPr lvl="0"/>
            <a:r>
              <a:rPr lang="en-US"/>
              <a:t>Click to add title</a:t>
            </a:r>
          </a:p>
        </p:txBody>
      </p:sp>
      <p:pic>
        <p:nvPicPr>
          <p:cNvPr id="8" name="Graphic 7">
            <a:extLst>
              <a:ext uri="{FF2B5EF4-FFF2-40B4-BE49-F238E27FC236}">
                <a16:creationId xmlns:a16="http://schemas.microsoft.com/office/drawing/2014/main" id="{7654ED8D-7BE0-4546-B5D0-54061F8EA0D4}"/>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428018" y="6271005"/>
            <a:ext cx="498632" cy="517662"/>
          </a:xfrm>
          <a:prstGeom prst="rect">
            <a:avLst/>
          </a:prstGeom>
        </p:spPr>
      </p:pic>
    </p:spTree>
    <p:extLst>
      <p:ext uri="{BB962C8B-B14F-4D97-AF65-F5344CB8AC3E}">
        <p14:creationId xmlns:p14="http://schemas.microsoft.com/office/powerpoint/2010/main" val="32835757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rgbClr val="004E2A"/>
            </a:gs>
            <a:gs pos="100000">
              <a:srgbClr val="78B944"/>
            </a:gs>
          </a:gsLst>
          <a:lin ang="8100000" scaled="1"/>
        </a:gra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700CF3B-154C-44BC-98CC-E9102CA94DA8}"/>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6" name="Object 5" hidden="1">
                        <a:extLst>
                          <a:ext uri="{FF2B5EF4-FFF2-40B4-BE49-F238E27FC236}">
                            <a16:creationId xmlns:a16="http://schemas.microsoft.com/office/drawing/2014/main" id="{5700CF3B-154C-44BC-98CC-E9102CA94DA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bwMode="blackWhite">
          <a:xfrm>
            <a:off x="628649" y="2668041"/>
            <a:ext cx="10934700" cy="3201026"/>
          </a:xfrm>
          <a:prstGeom prst="rect">
            <a:avLst/>
          </a:prstGeom>
          <a:ln w="9525">
            <a:solidFill>
              <a:schemeClr val="bg1"/>
            </a:solidFill>
          </a:ln>
        </p:spPr>
        <p:txBody>
          <a:bodyPr vert="horz"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Trebuchet MS" panose="020B0603020202020204" pitchFamily="34" charset="0"/>
              </a:defRPr>
            </a:lvl1pPr>
          </a:lstStyle>
          <a:p>
            <a:r>
              <a:rPr lang="en-US"/>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59" name="Rectangle 58"/>
          <p:cNvSpPr/>
          <p:nvPr userDrawn="1"/>
        </p:nvSpPr>
        <p:spPr bwMode="white">
          <a:xfrm>
            <a:off x="628650"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pic>
        <p:nvPicPr>
          <p:cNvPr id="13" name="Graphic 12">
            <a:extLst>
              <a:ext uri="{FF2B5EF4-FFF2-40B4-BE49-F238E27FC236}">
                <a16:creationId xmlns:a16="http://schemas.microsoft.com/office/drawing/2014/main" id="{6B0DC7D1-E472-4648-B8BE-79423FF76FD9}"/>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428018" y="6271005"/>
            <a:ext cx="498632" cy="517662"/>
          </a:xfrm>
          <a:prstGeom prst="rect">
            <a:avLst/>
          </a:prstGeom>
        </p:spPr>
      </p:pic>
    </p:spTree>
    <p:extLst>
      <p:ext uri="{BB962C8B-B14F-4D97-AF65-F5344CB8AC3E}">
        <p14:creationId xmlns:p14="http://schemas.microsoft.com/office/powerpoint/2010/main" val="13255323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preserve="1" userDrawn="1">
  <p:cSld name="1_Section header line">
    <p:bg bwMode="blackWhite">
      <p:bgPr>
        <a:gradFill>
          <a:gsLst>
            <a:gs pos="0">
              <a:srgbClr val="004E2A"/>
            </a:gs>
            <a:gs pos="100000">
              <a:srgbClr val="78B944"/>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34DF10E-9748-48C0-9A89-B1C18E5D66AD}"/>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534DF10E-9748-48C0-9A89-B1C18E5D66A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147" name="Title 1"/>
          <p:cNvSpPr>
            <a:spLocks noGrp="1"/>
          </p:cNvSpPr>
          <p:nvPr>
            <p:ph type="title" hasCustomPrompt="1"/>
          </p:nvPr>
        </p:nvSpPr>
        <p:spPr bwMode="blackWhite">
          <a:xfrm>
            <a:off x="630000" y="3826800"/>
            <a:ext cx="10936800" cy="2041200"/>
          </a:xfrm>
        </p:spPr>
        <p:txBody>
          <a:bodyPr vert="horz" anchor="t">
            <a:noAutofit/>
          </a:bodyPr>
          <a:lstStyle>
            <a:lvl1pPr>
              <a:defRPr sz="5400">
                <a:solidFill>
                  <a:schemeClr val="bg1"/>
                </a:solidFill>
                <a:latin typeface="+mj-lt"/>
                <a:ea typeface="+mj-ea"/>
                <a:cs typeface="+mj-cs"/>
                <a:sym typeface="Trebuchet MS" panose="020B0603020202020204" pitchFamily="34" charset="0"/>
              </a:defRPr>
            </a:lvl1pPr>
          </a:lstStyle>
          <a:p>
            <a:r>
              <a:rPr lang="en-US"/>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pic>
        <p:nvPicPr>
          <p:cNvPr id="8" name="Graphic 7">
            <a:extLst>
              <a:ext uri="{FF2B5EF4-FFF2-40B4-BE49-F238E27FC236}">
                <a16:creationId xmlns:a16="http://schemas.microsoft.com/office/drawing/2014/main" id="{A3254EB2-EFCA-45E0-B4A1-E81FD7CEFA9C}"/>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428018" y="6271005"/>
            <a:ext cx="498632" cy="517662"/>
          </a:xfrm>
          <a:prstGeom prst="rect">
            <a:avLst/>
          </a:prstGeom>
        </p:spPr>
      </p:pic>
    </p:spTree>
    <p:extLst>
      <p:ext uri="{BB962C8B-B14F-4D97-AF65-F5344CB8AC3E}">
        <p14:creationId xmlns:p14="http://schemas.microsoft.com/office/powerpoint/2010/main" val="5960798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preserve="1" userDrawn="1">
  <p:cSld name="2_Green left arrow">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2ECC784-5958-48FC-B270-5D3C577347E3}"/>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a:extLst>
                          <a:ext uri="{FF2B5EF4-FFF2-40B4-BE49-F238E27FC236}">
                            <a16:creationId xmlns:a16="http://schemas.microsoft.com/office/drawing/2014/main" id="{D2ECC784-5958-48FC-B270-5D3C577347E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rgbClr val="004E2A"/>
              </a:gs>
              <a:gs pos="100000">
                <a:srgbClr val="78B944"/>
              </a:gs>
            </a:gsLst>
            <a:lin ang="8100000" scaled="1"/>
          </a:gradFill>
          <a:ln w="9525" cap="rnd"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fontAlgn="base">
              <a:spcBef>
                <a:spcPct val="0"/>
              </a:spcBef>
              <a:spcAft>
                <a:spcPct val="0"/>
              </a:spcAft>
            </a:pPr>
            <a:endParaRPr lang="en-US" sz="1200" kern="0">
              <a:solidFill>
                <a:srgbClr val="FFFFFF"/>
              </a:solidFill>
              <a:latin typeface="+mn-lt"/>
              <a:ea typeface="+mn-ea"/>
              <a:cs typeface="+mn-cs"/>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vert="horz" anchor="ctr" anchorCtr="0">
            <a:noAutofit/>
          </a:bodyPr>
          <a:lstStyle>
            <a:lvl1pPr>
              <a:defRPr sz="3400" baseline="0">
                <a:solidFill>
                  <a:srgbClr val="FFFFFF"/>
                </a:solidFill>
                <a:latin typeface="+mj-lt"/>
                <a:ea typeface="+mj-ea"/>
                <a:cs typeface="+mj-cs"/>
              </a:defRPr>
            </a:lvl1pPr>
          </a:lstStyle>
          <a:p>
            <a:r>
              <a:rPr lang="en-US"/>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3 by Boston Consulting Group.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pic>
        <p:nvPicPr>
          <p:cNvPr id="18" name="Graphic 17">
            <a:extLst>
              <a:ext uri="{FF2B5EF4-FFF2-40B4-BE49-F238E27FC236}">
                <a16:creationId xmlns:a16="http://schemas.microsoft.com/office/drawing/2014/main" id="{90882EB9-1E67-4143-A08A-49EEA7A3F2B2}"/>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428018" y="6271005"/>
            <a:ext cx="498632" cy="517662"/>
          </a:xfrm>
          <a:prstGeom prst="rect">
            <a:avLst/>
          </a:prstGeom>
        </p:spPr>
      </p:pic>
    </p:spTree>
    <p:extLst>
      <p:ext uri="{BB962C8B-B14F-4D97-AF65-F5344CB8AC3E}">
        <p14:creationId xmlns:p14="http://schemas.microsoft.com/office/powerpoint/2010/main" val="8259290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showMasterSp="0" preserve="1" userDrawn="1">
  <p:cSld name="2_Green arrow one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99B277E-1CD0-46AB-BA71-646A5A6F09D7}"/>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899B277E-1CD0-46AB-BA71-646A5A6F09D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Pentagon 3"/>
          <p:cNvSpPr/>
          <p:nvPr userDrawn="1"/>
        </p:nvSpPr>
        <p:spPr bwMode="white">
          <a:xfrm>
            <a:off x="1" y="0"/>
            <a:ext cx="5426920" cy="6858000"/>
          </a:xfrm>
          <a:prstGeom prst="homePlate">
            <a:avLst>
              <a:gd name="adj" fmla="val 12939"/>
            </a:avLst>
          </a:prstGeom>
          <a:gradFill>
            <a:gsLst>
              <a:gs pos="0">
                <a:srgbClr val="004E2A"/>
              </a:gs>
              <a:gs pos="100000">
                <a:srgbClr val="78B944"/>
              </a:gs>
            </a:gsLst>
            <a:lin ang="8100000" scaled="1"/>
          </a:gra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008C4F"/>
                </a:solidFill>
                <a:prstDash val="solid"/>
                <a:round/>
                <a:headEnd type="none" w="med" len="med"/>
                <a:tailEnd type="none" w="med" len="med"/>
              </a14:hiddenLine>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fontAlgn="base">
              <a:spcBef>
                <a:spcPct val="0"/>
              </a:spcBef>
              <a:spcAft>
                <a:spcPct val="0"/>
              </a:spcAft>
            </a:pPr>
            <a:endParaRPr lang="en-US" sz="1200" kern="0">
              <a:solidFill>
                <a:srgbClr val="FFFFFF"/>
              </a:solidFill>
              <a:latin typeface="+mn-lt"/>
              <a:ea typeface="+mn-ea"/>
              <a:cs typeface="+mn-cs"/>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vert="horz" anchor="ctr">
            <a:noAutofit/>
          </a:bodyPr>
          <a:lstStyle>
            <a:lvl1pPr>
              <a:defRPr sz="4400" b="0">
                <a:solidFill>
                  <a:srgbClr val="FFFFFF"/>
                </a:solidFill>
                <a:latin typeface="+mj-lt"/>
                <a:ea typeface="+mj-ea"/>
                <a:cs typeface="+mj-cs"/>
                <a:sym typeface="Trebuchet MS" panose="020B0603020202020204" pitchFamily="34" charset="0"/>
              </a:defRPr>
            </a:lvl1pPr>
          </a:lstStyle>
          <a:p>
            <a:r>
              <a:rPr lang="en-US"/>
              <a:t>Click to add title</a:t>
            </a: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3 by Boston Consulting Group.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pic>
        <p:nvPicPr>
          <p:cNvPr id="12" name="Graphic 11">
            <a:extLst>
              <a:ext uri="{FF2B5EF4-FFF2-40B4-BE49-F238E27FC236}">
                <a16:creationId xmlns:a16="http://schemas.microsoft.com/office/drawing/2014/main" id="{74E5F0A6-FDC9-4F3B-B490-39634E46E18A}"/>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428018" y="6271005"/>
            <a:ext cx="498632" cy="517662"/>
          </a:xfrm>
          <a:prstGeom prst="rect">
            <a:avLst/>
          </a:prstGeom>
        </p:spPr>
      </p:pic>
    </p:spTree>
    <p:extLst>
      <p:ext uri="{BB962C8B-B14F-4D97-AF65-F5344CB8AC3E}">
        <p14:creationId xmlns:p14="http://schemas.microsoft.com/office/powerpoint/2010/main" val="7581887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preserve="1" userDrawn="1">
  <p:cSld name="2_Green arrow half">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7E893FA-03F6-46D2-8F2C-D92AD23E77CB}"/>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D7E893FA-03F6-46D2-8F2C-D92AD23E77C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Pentagon 8"/>
          <p:cNvSpPr/>
          <p:nvPr userDrawn="1"/>
        </p:nvSpPr>
        <p:spPr bwMode="white">
          <a:xfrm>
            <a:off x="0" y="0"/>
            <a:ext cx="6363546" cy="6858000"/>
          </a:xfrm>
          <a:prstGeom prst="homePlate">
            <a:avLst>
              <a:gd name="adj" fmla="val 12939"/>
            </a:avLst>
          </a:prstGeom>
          <a:gradFill>
            <a:gsLst>
              <a:gs pos="0">
                <a:srgbClr val="004E2A"/>
              </a:gs>
              <a:gs pos="100000">
                <a:srgbClr val="78B944"/>
              </a:gs>
            </a:gsLst>
            <a:lin ang="8100000" scaled="1"/>
          </a:gra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008C4F"/>
                </a:solidFill>
                <a:prstDash val="solid"/>
                <a:round/>
                <a:headEnd type="none" w="med" len="med"/>
                <a:tailEnd type="none" w="med" len="med"/>
              </a14:hiddenLine>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fontAlgn="base">
              <a:spcBef>
                <a:spcPct val="0"/>
              </a:spcBef>
              <a:spcAft>
                <a:spcPct val="0"/>
              </a:spcAft>
            </a:pPr>
            <a:endParaRPr lang="en-US" sz="1200" kern="0">
              <a:solidFill>
                <a:srgbClr val="FFFFFF"/>
              </a:solidFill>
              <a:latin typeface="+mn-lt"/>
              <a:ea typeface="+mn-ea"/>
              <a:cs typeface="+mn-cs"/>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ea typeface="+mj-ea"/>
                <a:cs typeface="+mj-cs"/>
                <a:sym typeface="Trebuchet MS" panose="020B0603020202020204" pitchFamily="34" charset="0"/>
              </a:defRPr>
            </a:lvl1pPr>
          </a:lstStyle>
          <a:p>
            <a:pPr lvl="0"/>
            <a:r>
              <a:rPr lang="en-US"/>
              <a:t>Click to add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3 by Boston Consulting Group.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pic>
        <p:nvPicPr>
          <p:cNvPr id="11" name="Graphic 10">
            <a:extLst>
              <a:ext uri="{FF2B5EF4-FFF2-40B4-BE49-F238E27FC236}">
                <a16:creationId xmlns:a16="http://schemas.microsoft.com/office/drawing/2014/main" id="{CFC8F346-728B-4329-A2B0-0CF10BCD858B}"/>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428018" y="6271005"/>
            <a:ext cx="498632" cy="517662"/>
          </a:xfrm>
          <a:prstGeom prst="rect">
            <a:avLst/>
          </a:prstGeom>
        </p:spPr>
      </p:pic>
    </p:spTree>
    <p:extLst>
      <p:ext uri="{BB962C8B-B14F-4D97-AF65-F5344CB8AC3E}">
        <p14:creationId xmlns:p14="http://schemas.microsoft.com/office/powerpoint/2010/main" val="12234118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showMasterSp="0" preserve="1" userDrawn="1">
  <p:cSld name="2_Green arrow two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1BF02A0-484A-402F-B396-BB516B5CDF09}"/>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A1BF02A0-484A-402F-B396-BB516B5CDF0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rgbClr val="004E2A"/>
              </a:gs>
              <a:gs pos="100000">
                <a:srgbClr val="78B944"/>
              </a:gs>
            </a:gsLst>
            <a:lin ang="8100000" scaled="1"/>
          </a:gra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008C4F"/>
                </a:solidFill>
                <a:prstDash val="solid"/>
                <a:round/>
                <a:headEnd type="none" w="med" len="med"/>
                <a:tailEnd type="none" w="med" len="med"/>
              </a14:hiddenLine>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fontAlgn="base">
              <a:spcBef>
                <a:spcPct val="0"/>
              </a:spcBef>
              <a:spcAft>
                <a:spcPct val="0"/>
              </a:spcAft>
            </a:pPr>
            <a:endParaRPr lang="en-US" sz="1200" kern="0">
              <a:solidFill>
                <a:srgbClr val="FFFFFF"/>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ea typeface="+mj-ea"/>
                <a:cs typeface="+mj-cs"/>
                <a:sym typeface="Trebuchet MS" panose="020B0603020202020204" pitchFamily="34" charset="0"/>
              </a:defRPr>
            </a:lvl1pPr>
          </a:lstStyle>
          <a:p>
            <a:pPr lvl="0"/>
            <a:r>
              <a:rPr lang="en-US"/>
              <a:t>Click to add title</a:t>
            </a: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3 by Boston Consulting Group.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pic>
        <p:nvPicPr>
          <p:cNvPr id="13" name="Graphic 12">
            <a:extLst>
              <a:ext uri="{FF2B5EF4-FFF2-40B4-BE49-F238E27FC236}">
                <a16:creationId xmlns:a16="http://schemas.microsoft.com/office/drawing/2014/main" id="{70C7D482-DE55-43D7-86E5-52EF62372218}"/>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428018" y="6271005"/>
            <a:ext cx="498632" cy="517662"/>
          </a:xfrm>
          <a:prstGeom prst="rect">
            <a:avLst/>
          </a:prstGeom>
        </p:spPr>
      </p:pic>
    </p:spTree>
    <p:extLst>
      <p:ext uri="{BB962C8B-B14F-4D97-AF65-F5344CB8AC3E}">
        <p14:creationId xmlns:p14="http://schemas.microsoft.com/office/powerpoint/2010/main" val="37767203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preserve="1" userDrawn="1">
  <p:cSld name="1_Quote">
    <p:bg>
      <p:bgPr>
        <a:solidFill>
          <a:srgbClr val="004E2A"/>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78B944"/>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ea typeface="+mn-ea"/>
              <a:cs typeface="+mn-cs"/>
              <a:sym typeface="Trebuchet MS" panose="020B0603020202020204" pitchFamily="34" charset="0"/>
            </a:endParaRPr>
          </a:p>
        </p:txBody>
      </p:sp>
      <p:pic>
        <p:nvPicPr>
          <p:cNvPr id="8" name="Graphic 7">
            <a:extLst>
              <a:ext uri="{FF2B5EF4-FFF2-40B4-BE49-F238E27FC236}">
                <a16:creationId xmlns:a16="http://schemas.microsoft.com/office/drawing/2014/main" id="{2B0CF5E8-D7B3-4A44-AAD3-04F8197DF626}"/>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428018" y="6271005"/>
            <a:ext cx="498632" cy="517662"/>
          </a:xfrm>
          <a:prstGeom prst="rect">
            <a:avLst/>
          </a:prstGeom>
        </p:spPr>
      </p:pic>
    </p:spTree>
    <p:extLst>
      <p:ext uri="{BB962C8B-B14F-4D97-AF65-F5344CB8AC3E}">
        <p14:creationId xmlns:p14="http://schemas.microsoft.com/office/powerpoint/2010/main" val="10790238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type="blank" preserve="1">
  <p:cSld name="1_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grpSp>
        <p:nvGrpSpPr>
          <p:cNvPr id="10" name="Group 9">
            <a:extLst>
              <a:ext uri="{FF2B5EF4-FFF2-40B4-BE49-F238E27FC236}">
                <a16:creationId xmlns:a16="http://schemas.microsoft.com/office/drawing/2014/main" id="{FD137AEE-FFB1-4D47-9A44-B4BD164D2373}"/>
              </a:ext>
            </a:extLst>
          </p:cNvPr>
          <p:cNvGrpSpPr/>
          <p:nvPr userDrawn="1"/>
        </p:nvGrpSpPr>
        <p:grpSpPr>
          <a:xfrm>
            <a:off x="5986458" y="-12701"/>
            <a:ext cx="6211891" cy="6737351"/>
            <a:chOff x="5973758" y="-12700"/>
            <a:chExt cx="6211891" cy="6858000"/>
          </a:xfrm>
        </p:grpSpPr>
        <p:sp>
          <p:nvSpPr>
            <p:cNvPr id="11" name="Freeform 3">
              <a:extLst>
                <a:ext uri="{FF2B5EF4-FFF2-40B4-BE49-F238E27FC236}">
                  <a16:creationId xmlns:a16="http://schemas.microsoft.com/office/drawing/2014/main" id="{D43F4AE0-5A0F-445A-BABA-B81F2E88E0E8}"/>
                </a:ext>
              </a:extLst>
            </p:cNvPr>
            <p:cNvSpPr/>
            <p:nvPr userDrawn="1"/>
          </p:nvSpPr>
          <p:spPr>
            <a:xfrm>
              <a:off x="7466628" y="0"/>
              <a:ext cx="4719021" cy="6845300"/>
            </a:xfrm>
            <a:custGeom>
              <a:avLst/>
              <a:gdLst>
                <a:gd name="connsiteX0" fmla="*/ 1123950 w 6781800"/>
                <a:gd name="connsiteY0" fmla="*/ 0 h 6838950"/>
                <a:gd name="connsiteX1" fmla="*/ 6781800 w 6781800"/>
                <a:gd name="connsiteY1" fmla="*/ 0 h 6838950"/>
                <a:gd name="connsiteX2" fmla="*/ 6781800 w 6781800"/>
                <a:gd name="connsiteY2" fmla="*/ 6838950 h 6838950"/>
                <a:gd name="connsiteX3" fmla="*/ 342900 w 6781800"/>
                <a:gd name="connsiteY3" fmla="*/ 6838950 h 6838950"/>
                <a:gd name="connsiteX4" fmla="*/ 0 w 6781800"/>
                <a:gd name="connsiteY4" fmla="*/ 4705350 h 6838950"/>
                <a:gd name="connsiteX5" fmla="*/ 419100 w 6781800"/>
                <a:gd name="connsiteY5" fmla="*/ 2152650 h 6838950"/>
                <a:gd name="connsiteX6" fmla="*/ 1123950 w 6781800"/>
                <a:gd name="connsiteY6" fmla="*/ 0 h 6838950"/>
                <a:gd name="connsiteX0" fmla="*/ 1215746 w 6873596"/>
                <a:gd name="connsiteY0" fmla="*/ 0 h 6838950"/>
                <a:gd name="connsiteX1" fmla="*/ 6873596 w 6873596"/>
                <a:gd name="connsiteY1" fmla="*/ 0 h 6838950"/>
                <a:gd name="connsiteX2" fmla="*/ 6873596 w 6873596"/>
                <a:gd name="connsiteY2" fmla="*/ 6838950 h 6838950"/>
                <a:gd name="connsiteX3" fmla="*/ 434696 w 6873596"/>
                <a:gd name="connsiteY3" fmla="*/ 6838950 h 6838950"/>
                <a:gd name="connsiteX4" fmla="*/ 91796 w 6873596"/>
                <a:gd name="connsiteY4" fmla="*/ 4705350 h 6838950"/>
                <a:gd name="connsiteX5" fmla="*/ 510896 w 6873596"/>
                <a:gd name="connsiteY5" fmla="*/ 2152650 h 6838950"/>
                <a:gd name="connsiteX6" fmla="*/ 1215746 w 6873596"/>
                <a:gd name="connsiteY6" fmla="*/ 0 h 6838950"/>
                <a:gd name="connsiteX0" fmla="*/ 1234581 w 6892431"/>
                <a:gd name="connsiteY0" fmla="*/ 0 h 6838950"/>
                <a:gd name="connsiteX1" fmla="*/ 6892431 w 6892431"/>
                <a:gd name="connsiteY1" fmla="*/ 0 h 6838950"/>
                <a:gd name="connsiteX2" fmla="*/ 6892431 w 6892431"/>
                <a:gd name="connsiteY2" fmla="*/ 6838950 h 6838950"/>
                <a:gd name="connsiteX3" fmla="*/ 453531 w 6892431"/>
                <a:gd name="connsiteY3" fmla="*/ 6838950 h 6838950"/>
                <a:gd name="connsiteX4" fmla="*/ 110631 w 6892431"/>
                <a:gd name="connsiteY4" fmla="*/ 4705350 h 6838950"/>
                <a:gd name="connsiteX5" fmla="*/ 529731 w 6892431"/>
                <a:gd name="connsiteY5" fmla="*/ 2152650 h 6838950"/>
                <a:gd name="connsiteX6" fmla="*/ 1234581 w 6892431"/>
                <a:gd name="connsiteY6" fmla="*/ 0 h 6838950"/>
                <a:gd name="connsiteX0" fmla="*/ 1254804 w 6912654"/>
                <a:gd name="connsiteY0" fmla="*/ 0 h 6838950"/>
                <a:gd name="connsiteX1" fmla="*/ 6912654 w 6912654"/>
                <a:gd name="connsiteY1" fmla="*/ 0 h 6838950"/>
                <a:gd name="connsiteX2" fmla="*/ 6912654 w 6912654"/>
                <a:gd name="connsiteY2" fmla="*/ 6838950 h 6838950"/>
                <a:gd name="connsiteX3" fmla="*/ 473754 w 6912654"/>
                <a:gd name="connsiteY3" fmla="*/ 6838950 h 6838950"/>
                <a:gd name="connsiteX4" fmla="*/ 130854 w 6912654"/>
                <a:gd name="connsiteY4" fmla="*/ 4705350 h 6838950"/>
                <a:gd name="connsiteX5" fmla="*/ 549954 w 6912654"/>
                <a:gd name="connsiteY5" fmla="*/ 2152650 h 6838950"/>
                <a:gd name="connsiteX6" fmla="*/ 1254804 w 6912654"/>
                <a:gd name="connsiteY6" fmla="*/ 0 h 6838950"/>
                <a:gd name="connsiteX0" fmla="*/ 1211631 w 6869481"/>
                <a:gd name="connsiteY0" fmla="*/ 0 h 6838950"/>
                <a:gd name="connsiteX1" fmla="*/ 6869481 w 6869481"/>
                <a:gd name="connsiteY1" fmla="*/ 0 h 6838950"/>
                <a:gd name="connsiteX2" fmla="*/ 6869481 w 6869481"/>
                <a:gd name="connsiteY2" fmla="*/ 6838950 h 6838950"/>
                <a:gd name="connsiteX3" fmla="*/ 430581 w 6869481"/>
                <a:gd name="connsiteY3" fmla="*/ 6838950 h 6838950"/>
                <a:gd name="connsiteX4" fmla="*/ 87681 w 6869481"/>
                <a:gd name="connsiteY4" fmla="*/ 4705350 h 6838950"/>
                <a:gd name="connsiteX5" fmla="*/ 506781 w 6869481"/>
                <a:gd name="connsiteY5" fmla="*/ 2152650 h 6838950"/>
                <a:gd name="connsiteX6" fmla="*/ 1211631 w 6869481"/>
                <a:gd name="connsiteY6" fmla="*/ 0 h 6838950"/>
                <a:gd name="connsiteX0" fmla="*/ 1225365 w 6883215"/>
                <a:gd name="connsiteY0" fmla="*/ 0 h 6838950"/>
                <a:gd name="connsiteX1" fmla="*/ 6883215 w 6883215"/>
                <a:gd name="connsiteY1" fmla="*/ 0 h 6838950"/>
                <a:gd name="connsiteX2" fmla="*/ 6883215 w 6883215"/>
                <a:gd name="connsiteY2" fmla="*/ 6838950 h 6838950"/>
                <a:gd name="connsiteX3" fmla="*/ 444315 w 6883215"/>
                <a:gd name="connsiteY3" fmla="*/ 6838950 h 6838950"/>
                <a:gd name="connsiteX4" fmla="*/ 101415 w 6883215"/>
                <a:gd name="connsiteY4" fmla="*/ 4705350 h 6838950"/>
                <a:gd name="connsiteX5" fmla="*/ 520515 w 6883215"/>
                <a:gd name="connsiteY5" fmla="*/ 2152650 h 6838950"/>
                <a:gd name="connsiteX6" fmla="*/ 1225365 w 6883215"/>
                <a:gd name="connsiteY6" fmla="*/ 0 h 6838950"/>
                <a:gd name="connsiteX0" fmla="*/ 1229999 w 6887849"/>
                <a:gd name="connsiteY0" fmla="*/ 0 h 6838950"/>
                <a:gd name="connsiteX1" fmla="*/ 6887849 w 6887849"/>
                <a:gd name="connsiteY1" fmla="*/ 0 h 6838950"/>
                <a:gd name="connsiteX2" fmla="*/ 6887849 w 6887849"/>
                <a:gd name="connsiteY2" fmla="*/ 6838950 h 6838950"/>
                <a:gd name="connsiteX3" fmla="*/ 448949 w 6887849"/>
                <a:gd name="connsiteY3" fmla="*/ 6838950 h 6838950"/>
                <a:gd name="connsiteX4" fmla="*/ 106049 w 6887849"/>
                <a:gd name="connsiteY4" fmla="*/ 4705350 h 6838950"/>
                <a:gd name="connsiteX5" fmla="*/ 525149 w 6887849"/>
                <a:gd name="connsiteY5" fmla="*/ 2152650 h 6838950"/>
                <a:gd name="connsiteX6" fmla="*/ 1229999 w 6887849"/>
                <a:gd name="connsiteY6" fmla="*/ 0 h 6838950"/>
                <a:gd name="connsiteX0" fmla="*/ 1238263 w 6896113"/>
                <a:gd name="connsiteY0" fmla="*/ 0 h 6838950"/>
                <a:gd name="connsiteX1" fmla="*/ 6896113 w 6896113"/>
                <a:gd name="connsiteY1" fmla="*/ 0 h 6838950"/>
                <a:gd name="connsiteX2" fmla="*/ 6896113 w 6896113"/>
                <a:gd name="connsiteY2" fmla="*/ 6838950 h 6838950"/>
                <a:gd name="connsiteX3" fmla="*/ 457213 w 6896113"/>
                <a:gd name="connsiteY3" fmla="*/ 6838950 h 6838950"/>
                <a:gd name="connsiteX4" fmla="*/ 114313 w 6896113"/>
                <a:gd name="connsiteY4" fmla="*/ 4705350 h 6838950"/>
                <a:gd name="connsiteX5" fmla="*/ 533413 w 6896113"/>
                <a:gd name="connsiteY5" fmla="*/ 2152650 h 6838950"/>
                <a:gd name="connsiteX6" fmla="*/ 1238263 w 6896113"/>
                <a:gd name="connsiteY6" fmla="*/ 0 h 6838950"/>
                <a:gd name="connsiteX0" fmla="*/ 1962216 w 6896113"/>
                <a:gd name="connsiteY0" fmla="*/ 0 h 6838950"/>
                <a:gd name="connsiteX1" fmla="*/ 6896113 w 6896113"/>
                <a:gd name="connsiteY1" fmla="*/ 0 h 6838950"/>
                <a:gd name="connsiteX2" fmla="*/ 6896113 w 6896113"/>
                <a:gd name="connsiteY2" fmla="*/ 6838950 h 6838950"/>
                <a:gd name="connsiteX3" fmla="*/ 457213 w 6896113"/>
                <a:gd name="connsiteY3" fmla="*/ 6838950 h 6838950"/>
                <a:gd name="connsiteX4" fmla="*/ 114313 w 6896113"/>
                <a:gd name="connsiteY4" fmla="*/ 4705350 h 6838950"/>
                <a:gd name="connsiteX5" fmla="*/ 533413 w 6896113"/>
                <a:gd name="connsiteY5" fmla="*/ 2152650 h 6838950"/>
                <a:gd name="connsiteX6" fmla="*/ 1962216 w 6896113"/>
                <a:gd name="connsiteY6" fmla="*/ 0 h 6838950"/>
                <a:gd name="connsiteX0" fmla="*/ 1925356 w 6859253"/>
                <a:gd name="connsiteY0" fmla="*/ 0 h 6838950"/>
                <a:gd name="connsiteX1" fmla="*/ 6859253 w 6859253"/>
                <a:gd name="connsiteY1" fmla="*/ 0 h 6838950"/>
                <a:gd name="connsiteX2" fmla="*/ 6859253 w 6859253"/>
                <a:gd name="connsiteY2" fmla="*/ 6838950 h 6838950"/>
                <a:gd name="connsiteX3" fmla="*/ 420353 w 6859253"/>
                <a:gd name="connsiteY3" fmla="*/ 6838950 h 6838950"/>
                <a:gd name="connsiteX4" fmla="*/ 77453 w 6859253"/>
                <a:gd name="connsiteY4" fmla="*/ 4705350 h 6838950"/>
                <a:gd name="connsiteX5" fmla="*/ 682182 w 6859253"/>
                <a:gd name="connsiteY5" fmla="*/ 2216091 h 6838950"/>
                <a:gd name="connsiteX6" fmla="*/ 1925356 w 6859253"/>
                <a:gd name="connsiteY6" fmla="*/ 0 h 6838950"/>
                <a:gd name="connsiteX0" fmla="*/ 1963636 w 6897533"/>
                <a:gd name="connsiteY0" fmla="*/ 0 h 6838950"/>
                <a:gd name="connsiteX1" fmla="*/ 6897533 w 6897533"/>
                <a:gd name="connsiteY1" fmla="*/ 0 h 6838950"/>
                <a:gd name="connsiteX2" fmla="*/ 6897533 w 6897533"/>
                <a:gd name="connsiteY2" fmla="*/ 6838950 h 6838950"/>
                <a:gd name="connsiteX3" fmla="*/ 458633 w 6897533"/>
                <a:gd name="connsiteY3" fmla="*/ 6838950 h 6838950"/>
                <a:gd name="connsiteX4" fmla="*/ 115733 w 6897533"/>
                <a:gd name="connsiteY4" fmla="*/ 4705350 h 6838950"/>
                <a:gd name="connsiteX5" fmla="*/ 720462 w 6897533"/>
                <a:gd name="connsiteY5" fmla="*/ 2216091 h 6838950"/>
                <a:gd name="connsiteX6" fmla="*/ 1963636 w 6897533"/>
                <a:gd name="connsiteY6" fmla="*/ 0 h 6838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897533" h="6838950">
                  <a:moveTo>
                    <a:pt x="1963636" y="0"/>
                  </a:moveTo>
                  <a:lnTo>
                    <a:pt x="6897533" y="0"/>
                  </a:lnTo>
                  <a:lnTo>
                    <a:pt x="6897533" y="6838950"/>
                  </a:lnTo>
                  <a:lnTo>
                    <a:pt x="458633" y="6838950"/>
                  </a:lnTo>
                  <a:lnTo>
                    <a:pt x="115733" y="4705350"/>
                  </a:lnTo>
                  <a:cubicBezTo>
                    <a:pt x="-102707" y="3471316"/>
                    <a:pt x="-68712" y="3864660"/>
                    <a:pt x="720462" y="2216091"/>
                  </a:cubicBezTo>
                  <a:lnTo>
                    <a:pt x="1963636" y="0"/>
                  </a:lnTo>
                  <a:close/>
                </a:path>
              </a:pathLst>
            </a:custGeom>
            <a:gradFill>
              <a:gsLst>
                <a:gs pos="0">
                  <a:srgbClr val="004E2A"/>
                </a:gs>
                <a:gs pos="100000">
                  <a:srgbClr val="78B944"/>
                </a:gs>
              </a:gsLst>
              <a:lin ang="8100000" scaled="1"/>
            </a:gradFill>
            <a:ln w="10795" cap="flat" cmpd="sng" algn="ctr">
              <a:noFill/>
              <a:prstDash val="solid"/>
            </a:ln>
            <a:effectLst/>
          </p:spPr>
          <p:txBody>
            <a:bodyPr wrap="square" rtlCol="0" anchor="t">
              <a:noAutofit/>
            </a:bodyPr>
            <a:lstStyle/>
            <a:p>
              <a:pPr marL="0" marR="0" lvl="0" indent="0" defTabSz="914400" eaLnBrk="1" fontAlgn="auto" latinLnBrk="0" hangingPunct="1">
                <a:lnSpc>
                  <a:spcPct val="90000"/>
                </a:lnSpc>
                <a:spcBef>
                  <a:spcPts val="0"/>
                </a:spcBef>
                <a:spcAft>
                  <a:spcPts val="1000"/>
                </a:spcAft>
                <a:buClrTx/>
                <a:buSzTx/>
                <a:buFontTx/>
                <a:buNone/>
                <a:tabLst/>
                <a:defRPr/>
              </a:pPr>
              <a:endParaRPr kumimoji="0" lang="en-US" sz="1200" b="0" i="0" u="none" strike="noStrike" kern="0" cap="none" spc="0" normalizeH="0" baseline="0" noProof="0">
                <a:ln>
                  <a:noFill/>
                </a:ln>
                <a:solidFill>
                  <a:prstClr val="white"/>
                </a:solidFill>
                <a:effectLst/>
                <a:uLnTx/>
                <a:uFillTx/>
                <a:latin typeface="+mn-lt"/>
                <a:ea typeface="+mn-ea"/>
                <a:cs typeface="+mn-cs"/>
                <a:sym typeface="+mn-lt"/>
              </a:endParaRPr>
            </a:p>
          </p:txBody>
        </p:sp>
        <p:grpSp>
          <p:nvGrpSpPr>
            <p:cNvPr id="12" name="Group 11">
              <a:extLst>
                <a:ext uri="{FF2B5EF4-FFF2-40B4-BE49-F238E27FC236}">
                  <a16:creationId xmlns:a16="http://schemas.microsoft.com/office/drawing/2014/main" id="{F7FC377D-2AAE-4F74-82D7-D6DEA628CEA2}"/>
                </a:ext>
              </a:extLst>
            </p:cNvPr>
            <p:cNvGrpSpPr/>
            <p:nvPr userDrawn="1"/>
          </p:nvGrpSpPr>
          <p:grpSpPr>
            <a:xfrm>
              <a:off x="7658563" y="0"/>
              <a:ext cx="1292932" cy="6835882"/>
              <a:chOff x="5613863" y="0"/>
              <a:chExt cx="1292932" cy="6835882"/>
            </a:xfrm>
          </p:grpSpPr>
          <p:sp>
            <p:nvSpPr>
              <p:cNvPr id="14" name="Freeform 6">
                <a:extLst>
                  <a:ext uri="{FF2B5EF4-FFF2-40B4-BE49-F238E27FC236}">
                    <a16:creationId xmlns:a16="http://schemas.microsoft.com/office/drawing/2014/main" id="{D4FF3D81-2EA4-4B27-8A0E-56402A6D998B}"/>
                  </a:ext>
                </a:extLst>
              </p:cNvPr>
              <p:cNvSpPr/>
              <p:nvPr userDrawn="1"/>
            </p:nvSpPr>
            <p:spPr>
              <a:xfrm>
                <a:off x="5746799" y="0"/>
                <a:ext cx="1159996" cy="6830163"/>
              </a:xfrm>
              <a:custGeom>
                <a:avLst/>
                <a:gdLst>
                  <a:gd name="connsiteX0" fmla="*/ 1058779 w 1058779"/>
                  <a:gd name="connsiteY0" fmla="*/ 0 h 6785811"/>
                  <a:gd name="connsiteX1" fmla="*/ 24063 w 1058779"/>
                  <a:gd name="connsiteY1" fmla="*/ 3380874 h 6785811"/>
                  <a:gd name="connsiteX2" fmla="*/ 0 w 1058779"/>
                  <a:gd name="connsiteY2" fmla="*/ 4547937 h 6785811"/>
                  <a:gd name="connsiteX3" fmla="*/ 288758 w 1058779"/>
                  <a:gd name="connsiteY3" fmla="*/ 6136105 h 6785811"/>
                  <a:gd name="connsiteX4" fmla="*/ 360947 w 1058779"/>
                  <a:gd name="connsiteY4" fmla="*/ 6785811 h 6785811"/>
                  <a:gd name="connsiteX0" fmla="*/ 1165680 w 1165680"/>
                  <a:gd name="connsiteY0" fmla="*/ 0 h 6785811"/>
                  <a:gd name="connsiteX1" fmla="*/ 130964 w 1165680"/>
                  <a:gd name="connsiteY1" fmla="*/ 3380874 h 6785811"/>
                  <a:gd name="connsiteX2" fmla="*/ 106901 w 1165680"/>
                  <a:gd name="connsiteY2" fmla="*/ 4547937 h 6785811"/>
                  <a:gd name="connsiteX3" fmla="*/ 395659 w 1165680"/>
                  <a:gd name="connsiteY3" fmla="*/ 6136105 h 6785811"/>
                  <a:gd name="connsiteX4" fmla="*/ 467848 w 1165680"/>
                  <a:gd name="connsiteY4" fmla="*/ 6785811 h 6785811"/>
                  <a:gd name="connsiteX0" fmla="*/ 1188376 w 1188376"/>
                  <a:gd name="connsiteY0" fmla="*/ 0 h 6785811"/>
                  <a:gd name="connsiteX1" fmla="*/ 153660 w 1188376"/>
                  <a:gd name="connsiteY1" fmla="*/ 3380874 h 6785811"/>
                  <a:gd name="connsiteX2" fmla="*/ 129597 w 1188376"/>
                  <a:gd name="connsiteY2" fmla="*/ 4547937 h 6785811"/>
                  <a:gd name="connsiteX3" fmla="*/ 418355 w 1188376"/>
                  <a:gd name="connsiteY3" fmla="*/ 6136105 h 6785811"/>
                  <a:gd name="connsiteX4" fmla="*/ 490544 w 1188376"/>
                  <a:gd name="connsiteY4" fmla="*/ 6785811 h 6785811"/>
                  <a:gd name="connsiteX0" fmla="*/ 1159996 w 1159996"/>
                  <a:gd name="connsiteY0" fmla="*/ 0 h 6785811"/>
                  <a:gd name="connsiteX1" fmla="*/ 125280 w 1159996"/>
                  <a:gd name="connsiteY1" fmla="*/ 3380874 h 6785811"/>
                  <a:gd name="connsiteX2" fmla="*/ 101217 w 1159996"/>
                  <a:gd name="connsiteY2" fmla="*/ 4547937 h 6785811"/>
                  <a:gd name="connsiteX3" fmla="*/ 389975 w 1159996"/>
                  <a:gd name="connsiteY3" fmla="*/ 6136105 h 6785811"/>
                  <a:gd name="connsiteX4" fmla="*/ 462164 w 1159996"/>
                  <a:gd name="connsiteY4" fmla="*/ 6785811 h 6785811"/>
                  <a:gd name="connsiteX0" fmla="*/ 1159996 w 1159996"/>
                  <a:gd name="connsiteY0" fmla="*/ 0 h 6785811"/>
                  <a:gd name="connsiteX1" fmla="*/ 125280 w 1159996"/>
                  <a:gd name="connsiteY1" fmla="*/ 3380874 h 6785811"/>
                  <a:gd name="connsiteX2" fmla="*/ 101217 w 1159996"/>
                  <a:gd name="connsiteY2" fmla="*/ 4547937 h 6785811"/>
                  <a:gd name="connsiteX3" fmla="*/ 389975 w 1159996"/>
                  <a:gd name="connsiteY3" fmla="*/ 6136105 h 6785811"/>
                  <a:gd name="connsiteX4" fmla="*/ 462164 w 1159996"/>
                  <a:gd name="connsiteY4" fmla="*/ 6785811 h 6785811"/>
                  <a:gd name="connsiteX0" fmla="*/ 1159996 w 1159996"/>
                  <a:gd name="connsiteY0" fmla="*/ 0 h 6785811"/>
                  <a:gd name="connsiteX1" fmla="*/ 125280 w 1159996"/>
                  <a:gd name="connsiteY1" fmla="*/ 3380874 h 6785811"/>
                  <a:gd name="connsiteX2" fmla="*/ 101217 w 1159996"/>
                  <a:gd name="connsiteY2" fmla="*/ 4547937 h 6785811"/>
                  <a:gd name="connsiteX3" fmla="*/ 389975 w 1159996"/>
                  <a:gd name="connsiteY3" fmla="*/ 6136105 h 6785811"/>
                  <a:gd name="connsiteX4" fmla="*/ 462164 w 1159996"/>
                  <a:gd name="connsiteY4" fmla="*/ 6785811 h 6785811"/>
                  <a:gd name="connsiteX0" fmla="*/ 1159996 w 1159996"/>
                  <a:gd name="connsiteY0" fmla="*/ 0 h 6785811"/>
                  <a:gd name="connsiteX1" fmla="*/ 125280 w 1159996"/>
                  <a:gd name="connsiteY1" fmla="*/ 3380874 h 6785811"/>
                  <a:gd name="connsiteX2" fmla="*/ 101217 w 1159996"/>
                  <a:gd name="connsiteY2" fmla="*/ 4547937 h 6785811"/>
                  <a:gd name="connsiteX3" fmla="*/ 402675 w 1159996"/>
                  <a:gd name="connsiteY3" fmla="*/ 6136105 h 6785811"/>
                  <a:gd name="connsiteX4" fmla="*/ 462164 w 1159996"/>
                  <a:gd name="connsiteY4" fmla="*/ 6785811 h 6785811"/>
                  <a:gd name="connsiteX0" fmla="*/ 1159996 w 1159996"/>
                  <a:gd name="connsiteY0" fmla="*/ 0 h 6785811"/>
                  <a:gd name="connsiteX1" fmla="*/ 125280 w 1159996"/>
                  <a:gd name="connsiteY1" fmla="*/ 3380874 h 6785811"/>
                  <a:gd name="connsiteX2" fmla="*/ 101217 w 1159996"/>
                  <a:gd name="connsiteY2" fmla="*/ 4547937 h 6785811"/>
                  <a:gd name="connsiteX3" fmla="*/ 402675 w 1159996"/>
                  <a:gd name="connsiteY3" fmla="*/ 6136105 h 6785811"/>
                  <a:gd name="connsiteX4" fmla="*/ 462164 w 1159996"/>
                  <a:gd name="connsiteY4" fmla="*/ 6785811 h 6785811"/>
                  <a:gd name="connsiteX0" fmla="*/ 1159996 w 1159996"/>
                  <a:gd name="connsiteY0" fmla="*/ 0 h 6785811"/>
                  <a:gd name="connsiteX1" fmla="*/ 125280 w 1159996"/>
                  <a:gd name="connsiteY1" fmla="*/ 3380874 h 6785811"/>
                  <a:gd name="connsiteX2" fmla="*/ 101217 w 1159996"/>
                  <a:gd name="connsiteY2" fmla="*/ 4547937 h 6785811"/>
                  <a:gd name="connsiteX3" fmla="*/ 402675 w 1159996"/>
                  <a:gd name="connsiteY3" fmla="*/ 6136105 h 6785811"/>
                  <a:gd name="connsiteX4" fmla="*/ 462164 w 1159996"/>
                  <a:gd name="connsiteY4" fmla="*/ 6785811 h 6785811"/>
                  <a:gd name="connsiteX0" fmla="*/ 1159996 w 1159996"/>
                  <a:gd name="connsiteY0" fmla="*/ 0 h 6785811"/>
                  <a:gd name="connsiteX1" fmla="*/ 125280 w 1159996"/>
                  <a:gd name="connsiteY1" fmla="*/ 3380874 h 6785811"/>
                  <a:gd name="connsiteX2" fmla="*/ 101217 w 1159996"/>
                  <a:gd name="connsiteY2" fmla="*/ 4547937 h 6785811"/>
                  <a:gd name="connsiteX3" fmla="*/ 402675 w 1159996"/>
                  <a:gd name="connsiteY3" fmla="*/ 6136105 h 6785811"/>
                  <a:gd name="connsiteX4" fmla="*/ 462164 w 1159996"/>
                  <a:gd name="connsiteY4" fmla="*/ 6785811 h 6785811"/>
                  <a:gd name="connsiteX0" fmla="*/ 1159996 w 1159996"/>
                  <a:gd name="connsiteY0" fmla="*/ 0 h 6785811"/>
                  <a:gd name="connsiteX1" fmla="*/ 125280 w 1159996"/>
                  <a:gd name="connsiteY1" fmla="*/ 3380874 h 6785811"/>
                  <a:gd name="connsiteX2" fmla="*/ 101217 w 1159996"/>
                  <a:gd name="connsiteY2" fmla="*/ 4547937 h 6785811"/>
                  <a:gd name="connsiteX3" fmla="*/ 402675 w 1159996"/>
                  <a:gd name="connsiteY3" fmla="*/ 6136105 h 6785811"/>
                  <a:gd name="connsiteX4" fmla="*/ 462164 w 1159996"/>
                  <a:gd name="connsiteY4" fmla="*/ 6785811 h 6785811"/>
                  <a:gd name="connsiteX0" fmla="*/ 1159996 w 1159996"/>
                  <a:gd name="connsiteY0" fmla="*/ 0 h 6785811"/>
                  <a:gd name="connsiteX1" fmla="*/ 125280 w 1159996"/>
                  <a:gd name="connsiteY1" fmla="*/ 3380874 h 6785811"/>
                  <a:gd name="connsiteX2" fmla="*/ 101217 w 1159996"/>
                  <a:gd name="connsiteY2" fmla="*/ 4547937 h 6785811"/>
                  <a:gd name="connsiteX3" fmla="*/ 402675 w 1159996"/>
                  <a:gd name="connsiteY3" fmla="*/ 6136105 h 6785811"/>
                  <a:gd name="connsiteX4" fmla="*/ 462164 w 1159996"/>
                  <a:gd name="connsiteY4" fmla="*/ 6785811 h 67858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59996" h="6785811">
                    <a:moveTo>
                      <a:pt x="1159996" y="0"/>
                    </a:moveTo>
                    <a:lnTo>
                      <a:pt x="125280" y="3380874"/>
                    </a:lnTo>
                    <a:cubicBezTo>
                      <a:pt x="-92291" y="3941345"/>
                      <a:pt x="23513" y="4149391"/>
                      <a:pt x="101217" y="4547937"/>
                    </a:cubicBezTo>
                    <a:lnTo>
                      <a:pt x="402675" y="6136105"/>
                    </a:lnTo>
                    <a:cubicBezTo>
                      <a:pt x="547388" y="6828924"/>
                      <a:pt x="469851" y="6708942"/>
                      <a:pt x="462164" y="6785811"/>
                    </a:cubicBezTo>
                  </a:path>
                </a:pathLst>
              </a:custGeom>
              <a:noFill/>
              <a:ln w="9525" cap="rnd" cmpd="sng" algn="ctr">
                <a:solidFill>
                  <a:sysClr val="window" lastClr="FFFFFF"/>
                </a:solidFill>
                <a:prstDash val="solid"/>
                <a:round/>
                <a:headEnd type="none" w="med" len="med"/>
                <a:tailEnd type="none" w="med" len="me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mn-lt"/>
                  <a:ea typeface="+mn-ea"/>
                  <a:cs typeface="+mn-cs"/>
                  <a:sym typeface="+mn-lt"/>
                </a:endParaRPr>
              </a:p>
            </p:txBody>
          </p:sp>
          <p:sp>
            <p:nvSpPr>
              <p:cNvPr id="16" name="Freeform 7">
                <a:extLst>
                  <a:ext uri="{FF2B5EF4-FFF2-40B4-BE49-F238E27FC236}">
                    <a16:creationId xmlns:a16="http://schemas.microsoft.com/office/drawing/2014/main" id="{C53B124A-62ED-40FE-BD8C-84B8A582CE2B}"/>
                  </a:ext>
                </a:extLst>
              </p:cNvPr>
              <p:cNvSpPr/>
              <p:nvPr userDrawn="1"/>
            </p:nvSpPr>
            <p:spPr>
              <a:xfrm>
                <a:off x="5613863" y="12111"/>
                <a:ext cx="911931" cy="6823771"/>
              </a:xfrm>
              <a:custGeom>
                <a:avLst/>
                <a:gdLst>
                  <a:gd name="connsiteX0" fmla="*/ 1058779 w 1058779"/>
                  <a:gd name="connsiteY0" fmla="*/ 0 h 6785811"/>
                  <a:gd name="connsiteX1" fmla="*/ 24063 w 1058779"/>
                  <a:gd name="connsiteY1" fmla="*/ 3380874 h 6785811"/>
                  <a:gd name="connsiteX2" fmla="*/ 0 w 1058779"/>
                  <a:gd name="connsiteY2" fmla="*/ 4547937 h 6785811"/>
                  <a:gd name="connsiteX3" fmla="*/ 288758 w 1058779"/>
                  <a:gd name="connsiteY3" fmla="*/ 6136105 h 6785811"/>
                  <a:gd name="connsiteX4" fmla="*/ 360947 w 1058779"/>
                  <a:gd name="connsiteY4" fmla="*/ 6785811 h 6785811"/>
                  <a:gd name="connsiteX0" fmla="*/ 1165680 w 1165680"/>
                  <a:gd name="connsiteY0" fmla="*/ 0 h 6785811"/>
                  <a:gd name="connsiteX1" fmla="*/ 130964 w 1165680"/>
                  <a:gd name="connsiteY1" fmla="*/ 3380874 h 6785811"/>
                  <a:gd name="connsiteX2" fmla="*/ 106901 w 1165680"/>
                  <a:gd name="connsiteY2" fmla="*/ 4547937 h 6785811"/>
                  <a:gd name="connsiteX3" fmla="*/ 395659 w 1165680"/>
                  <a:gd name="connsiteY3" fmla="*/ 6136105 h 6785811"/>
                  <a:gd name="connsiteX4" fmla="*/ 467848 w 1165680"/>
                  <a:gd name="connsiteY4" fmla="*/ 6785811 h 6785811"/>
                  <a:gd name="connsiteX0" fmla="*/ 1188376 w 1188376"/>
                  <a:gd name="connsiteY0" fmla="*/ 0 h 6785811"/>
                  <a:gd name="connsiteX1" fmla="*/ 153660 w 1188376"/>
                  <a:gd name="connsiteY1" fmla="*/ 3380874 h 6785811"/>
                  <a:gd name="connsiteX2" fmla="*/ 129597 w 1188376"/>
                  <a:gd name="connsiteY2" fmla="*/ 4547937 h 6785811"/>
                  <a:gd name="connsiteX3" fmla="*/ 418355 w 1188376"/>
                  <a:gd name="connsiteY3" fmla="*/ 6136105 h 6785811"/>
                  <a:gd name="connsiteX4" fmla="*/ 490544 w 1188376"/>
                  <a:gd name="connsiteY4" fmla="*/ 6785811 h 6785811"/>
                  <a:gd name="connsiteX0" fmla="*/ 1159996 w 1159996"/>
                  <a:gd name="connsiteY0" fmla="*/ 0 h 6785811"/>
                  <a:gd name="connsiteX1" fmla="*/ 125280 w 1159996"/>
                  <a:gd name="connsiteY1" fmla="*/ 3380874 h 6785811"/>
                  <a:gd name="connsiteX2" fmla="*/ 101217 w 1159996"/>
                  <a:gd name="connsiteY2" fmla="*/ 4547937 h 6785811"/>
                  <a:gd name="connsiteX3" fmla="*/ 389975 w 1159996"/>
                  <a:gd name="connsiteY3" fmla="*/ 6136105 h 6785811"/>
                  <a:gd name="connsiteX4" fmla="*/ 462164 w 1159996"/>
                  <a:gd name="connsiteY4" fmla="*/ 6785811 h 6785811"/>
                  <a:gd name="connsiteX0" fmla="*/ 931396 w 931396"/>
                  <a:gd name="connsiteY0" fmla="*/ 0 h 6785811"/>
                  <a:gd name="connsiteX1" fmla="*/ 125280 w 931396"/>
                  <a:gd name="connsiteY1" fmla="*/ 3380874 h 6785811"/>
                  <a:gd name="connsiteX2" fmla="*/ 101217 w 931396"/>
                  <a:gd name="connsiteY2" fmla="*/ 4547937 h 6785811"/>
                  <a:gd name="connsiteX3" fmla="*/ 389975 w 931396"/>
                  <a:gd name="connsiteY3" fmla="*/ 6136105 h 6785811"/>
                  <a:gd name="connsiteX4" fmla="*/ 462164 w 931396"/>
                  <a:gd name="connsiteY4" fmla="*/ 6785811 h 6785811"/>
                  <a:gd name="connsiteX0" fmla="*/ 931396 w 931396"/>
                  <a:gd name="connsiteY0" fmla="*/ 0 h 6779461"/>
                  <a:gd name="connsiteX1" fmla="*/ 125280 w 931396"/>
                  <a:gd name="connsiteY1" fmla="*/ 3380874 h 6779461"/>
                  <a:gd name="connsiteX2" fmla="*/ 101217 w 931396"/>
                  <a:gd name="connsiteY2" fmla="*/ 4547937 h 6779461"/>
                  <a:gd name="connsiteX3" fmla="*/ 389975 w 931396"/>
                  <a:gd name="connsiteY3" fmla="*/ 6136105 h 6779461"/>
                  <a:gd name="connsiteX4" fmla="*/ 538364 w 931396"/>
                  <a:gd name="connsiteY4" fmla="*/ 6779461 h 6779461"/>
                  <a:gd name="connsiteX0" fmla="*/ 931396 w 931396"/>
                  <a:gd name="connsiteY0" fmla="*/ 0 h 6779461"/>
                  <a:gd name="connsiteX1" fmla="*/ 125280 w 931396"/>
                  <a:gd name="connsiteY1" fmla="*/ 3380874 h 6779461"/>
                  <a:gd name="connsiteX2" fmla="*/ 101217 w 931396"/>
                  <a:gd name="connsiteY2" fmla="*/ 4547937 h 6779461"/>
                  <a:gd name="connsiteX3" fmla="*/ 504275 w 931396"/>
                  <a:gd name="connsiteY3" fmla="*/ 6136105 h 6779461"/>
                  <a:gd name="connsiteX4" fmla="*/ 538364 w 931396"/>
                  <a:gd name="connsiteY4" fmla="*/ 6779461 h 6779461"/>
                  <a:gd name="connsiteX0" fmla="*/ 931396 w 931396"/>
                  <a:gd name="connsiteY0" fmla="*/ 0 h 6779461"/>
                  <a:gd name="connsiteX1" fmla="*/ 125280 w 931396"/>
                  <a:gd name="connsiteY1" fmla="*/ 3380874 h 6779461"/>
                  <a:gd name="connsiteX2" fmla="*/ 101217 w 931396"/>
                  <a:gd name="connsiteY2" fmla="*/ 4547937 h 6779461"/>
                  <a:gd name="connsiteX3" fmla="*/ 504275 w 931396"/>
                  <a:gd name="connsiteY3" fmla="*/ 6136105 h 6779461"/>
                  <a:gd name="connsiteX4" fmla="*/ 538364 w 931396"/>
                  <a:gd name="connsiteY4" fmla="*/ 6779461 h 6779461"/>
                  <a:gd name="connsiteX0" fmla="*/ 931396 w 931396"/>
                  <a:gd name="connsiteY0" fmla="*/ 0 h 6779461"/>
                  <a:gd name="connsiteX1" fmla="*/ 125280 w 931396"/>
                  <a:gd name="connsiteY1" fmla="*/ 3380874 h 6779461"/>
                  <a:gd name="connsiteX2" fmla="*/ 101217 w 931396"/>
                  <a:gd name="connsiteY2" fmla="*/ 4547937 h 6779461"/>
                  <a:gd name="connsiteX3" fmla="*/ 504275 w 931396"/>
                  <a:gd name="connsiteY3" fmla="*/ 6136105 h 6779461"/>
                  <a:gd name="connsiteX4" fmla="*/ 538364 w 931396"/>
                  <a:gd name="connsiteY4" fmla="*/ 6779461 h 6779461"/>
                  <a:gd name="connsiteX0" fmla="*/ 931396 w 931396"/>
                  <a:gd name="connsiteY0" fmla="*/ 0 h 6779461"/>
                  <a:gd name="connsiteX1" fmla="*/ 125280 w 931396"/>
                  <a:gd name="connsiteY1" fmla="*/ 3380874 h 6779461"/>
                  <a:gd name="connsiteX2" fmla="*/ 101217 w 931396"/>
                  <a:gd name="connsiteY2" fmla="*/ 4547937 h 6779461"/>
                  <a:gd name="connsiteX3" fmla="*/ 504275 w 931396"/>
                  <a:gd name="connsiteY3" fmla="*/ 6136105 h 6779461"/>
                  <a:gd name="connsiteX4" fmla="*/ 538364 w 931396"/>
                  <a:gd name="connsiteY4" fmla="*/ 6779461 h 6779461"/>
                  <a:gd name="connsiteX0" fmla="*/ 931396 w 931396"/>
                  <a:gd name="connsiteY0" fmla="*/ 0 h 6779461"/>
                  <a:gd name="connsiteX1" fmla="*/ 125280 w 931396"/>
                  <a:gd name="connsiteY1" fmla="*/ 3380874 h 6779461"/>
                  <a:gd name="connsiteX2" fmla="*/ 101217 w 931396"/>
                  <a:gd name="connsiteY2" fmla="*/ 4547937 h 6779461"/>
                  <a:gd name="connsiteX3" fmla="*/ 504275 w 931396"/>
                  <a:gd name="connsiteY3" fmla="*/ 6136105 h 6779461"/>
                  <a:gd name="connsiteX4" fmla="*/ 538364 w 931396"/>
                  <a:gd name="connsiteY4" fmla="*/ 6779461 h 6779461"/>
                  <a:gd name="connsiteX0" fmla="*/ 931396 w 931396"/>
                  <a:gd name="connsiteY0" fmla="*/ 0 h 6779461"/>
                  <a:gd name="connsiteX1" fmla="*/ 125280 w 931396"/>
                  <a:gd name="connsiteY1" fmla="*/ 3380874 h 6779461"/>
                  <a:gd name="connsiteX2" fmla="*/ 101217 w 931396"/>
                  <a:gd name="connsiteY2" fmla="*/ 4547937 h 6779461"/>
                  <a:gd name="connsiteX3" fmla="*/ 491575 w 931396"/>
                  <a:gd name="connsiteY3" fmla="*/ 6136105 h 6779461"/>
                  <a:gd name="connsiteX4" fmla="*/ 538364 w 931396"/>
                  <a:gd name="connsiteY4" fmla="*/ 6779461 h 6779461"/>
                  <a:gd name="connsiteX0" fmla="*/ 940867 w 940867"/>
                  <a:gd name="connsiteY0" fmla="*/ 0 h 6779461"/>
                  <a:gd name="connsiteX1" fmla="*/ 119511 w 940867"/>
                  <a:gd name="connsiteY1" fmla="*/ 3358014 h 6779461"/>
                  <a:gd name="connsiteX2" fmla="*/ 110688 w 940867"/>
                  <a:gd name="connsiteY2" fmla="*/ 4547937 h 6779461"/>
                  <a:gd name="connsiteX3" fmla="*/ 501046 w 940867"/>
                  <a:gd name="connsiteY3" fmla="*/ 6136105 h 6779461"/>
                  <a:gd name="connsiteX4" fmla="*/ 547835 w 940867"/>
                  <a:gd name="connsiteY4" fmla="*/ 6779461 h 6779461"/>
                  <a:gd name="connsiteX0" fmla="*/ 911931 w 911931"/>
                  <a:gd name="connsiteY0" fmla="*/ 0 h 6779461"/>
                  <a:gd name="connsiteX1" fmla="*/ 90575 w 911931"/>
                  <a:gd name="connsiteY1" fmla="*/ 3358014 h 6779461"/>
                  <a:gd name="connsiteX2" fmla="*/ 81752 w 911931"/>
                  <a:gd name="connsiteY2" fmla="*/ 4547937 h 6779461"/>
                  <a:gd name="connsiteX3" fmla="*/ 472110 w 911931"/>
                  <a:gd name="connsiteY3" fmla="*/ 6136105 h 6779461"/>
                  <a:gd name="connsiteX4" fmla="*/ 518899 w 911931"/>
                  <a:gd name="connsiteY4" fmla="*/ 6779461 h 6779461"/>
                  <a:gd name="connsiteX0" fmla="*/ 911931 w 911931"/>
                  <a:gd name="connsiteY0" fmla="*/ 0 h 6779461"/>
                  <a:gd name="connsiteX1" fmla="*/ 90575 w 911931"/>
                  <a:gd name="connsiteY1" fmla="*/ 3358014 h 6779461"/>
                  <a:gd name="connsiteX2" fmla="*/ 81752 w 911931"/>
                  <a:gd name="connsiteY2" fmla="*/ 4547937 h 6779461"/>
                  <a:gd name="connsiteX3" fmla="*/ 472110 w 911931"/>
                  <a:gd name="connsiteY3" fmla="*/ 6136105 h 6779461"/>
                  <a:gd name="connsiteX4" fmla="*/ 518899 w 911931"/>
                  <a:gd name="connsiteY4" fmla="*/ 6779461 h 67794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1931" h="6779461">
                    <a:moveTo>
                      <a:pt x="911931" y="0"/>
                    </a:moveTo>
                    <a:cubicBezTo>
                      <a:pt x="638146" y="1119338"/>
                      <a:pt x="387220" y="2238676"/>
                      <a:pt x="90575" y="3358014"/>
                    </a:cubicBezTo>
                    <a:cubicBezTo>
                      <a:pt x="-58416" y="4002305"/>
                      <a:pt x="4048" y="4149391"/>
                      <a:pt x="81752" y="4547937"/>
                    </a:cubicBezTo>
                    <a:lnTo>
                      <a:pt x="472110" y="6136105"/>
                    </a:lnTo>
                    <a:cubicBezTo>
                      <a:pt x="616823" y="6725207"/>
                      <a:pt x="539286" y="6749159"/>
                      <a:pt x="518899" y="6779461"/>
                    </a:cubicBezTo>
                  </a:path>
                </a:pathLst>
              </a:custGeom>
              <a:noFill/>
              <a:ln w="9525" cap="rnd" cmpd="sng" algn="ctr">
                <a:solidFill>
                  <a:sysClr val="window" lastClr="FFFFFF"/>
                </a:solidFill>
                <a:prstDash val="solid"/>
                <a:round/>
                <a:headEnd type="none" w="med" len="med"/>
                <a:tailEnd type="none" w="med" len="me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mn-lt"/>
                  <a:ea typeface="+mn-ea"/>
                  <a:cs typeface="+mn-cs"/>
                  <a:sym typeface="+mn-lt"/>
                </a:endParaRPr>
              </a:p>
            </p:txBody>
          </p:sp>
          <p:sp>
            <p:nvSpPr>
              <p:cNvPr id="17" name="Freeform 8">
                <a:extLst>
                  <a:ext uri="{FF2B5EF4-FFF2-40B4-BE49-F238E27FC236}">
                    <a16:creationId xmlns:a16="http://schemas.microsoft.com/office/drawing/2014/main" id="{0EF19ADC-6BEB-457A-980F-F800552D6F7B}"/>
                  </a:ext>
                </a:extLst>
              </p:cNvPr>
              <p:cNvSpPr/>
              <p:nvPr userDrawn="1"/>
            </p:nvSpPr>
            <p:spPr>
              <a:xfrm>
                <a:off x="5720080" y="1625998"/>
                <a:ext cx="568102" cy="5031391"/>
              </a:xfrm>
              <a:custGeom>
                <a:avLst/>
                <a:gdLst>
                  <a:gd name="connsiteX0" fmla="*/ 281940 w 510540"/>
                  <a:gd name="connsiteY0" fmla="*/ 0 h 4998720"/>
                  <a:gd name="connsiteX1" fmla="*/ 304800 w 510540"/>
                  <a:gd name="connsiteY1" fmla="*/ 998220 h 4998720"/>
                  <a:gd name="connsiteX2" fmla="*/ 510540 w 510540"/>
                  <a:gd name="connsiteY2" fmla="*/ 2727960 h 4998720"/>
                  <a:gd name="connsiteX3" fmla="*/ 464820 w 510540"/>
                  <a:gd name="connsiteY3" fmla="*/ 3848100 h 4998720"/>
                  <a:gd name="connsiteX4" fmla="*/ 0 w 510540"/>
                  <a:gd name="connsiteY4" fmla="*/ 4998720 h 4998720"/>
                  <a:gd name="connsiteX0" fmla="*/ 281940 w 585809"/>
                  <a:gd name="connsiteY0" fmla="*/ 0 h 4998720"/>
                  <a:gd name="connsiteX1" fmla="*/ 304800 w 585809"/>
                  <a:gd name="connsiteY1" fmla="*/ 998220 h 4998720"/>
                  <a:gd name="connsiteX2" fmla="*/ 510540 w 585809"/>
                  <a:gd name="connsiteY2" fmla="*/ 2727960 h 4998720"/>
                  <a:gd name="connsiteX3" fmla="*/ 464820 w 585809"/>
                  <a:gd name="connsiteY3" fmla="*/ 3848100 h 4998720"/>
                  <a:gd name="connsiteX4" fmla="*/ 0 w 585809"/>
                  <a:gd name="connsiteY4" fmla="*/ 4998720 h 4998720"/>
                  <a:gd name="connsiteX0" fmla="*/ 281940 w 612461"/>
                  <a:gd name="connsiteY0" fmla="*/ 0 h 4998720"/>
                  <a:gd name="connsiteX1" fmla="*/ 304800 w 612461"/>
                  <a:gd name="connsiteY1" fmla="*/ 998220 h 4998720"/>
                  <a:gd name="connsiteX2" fmla="*/ 510540 w 612461"/>
                  <a:gd name="connsiteY2" fmla="*/ 2727960 h 4998720"/>
                  <a:gd name="connsiteX3" fmla="*/ 464820 w 612461"/>
                  <a:gd name="connsiteY3" fmla="*/ 3848100 h 4998720"/>
                  <a:gd name="connsiteX4" fmla="*/ 0 w 612461"/>
                  <a:gd name="connsiteY4" fmla="*/ 4998720 h 4998720"/>
                  <a:gd name="connsiteX0" fmla="*/ 281940 w 581999"/>
                  <a:gd name="connsiteY0" fmla="*/ 0 h 4998720"/>
                  <a:gd name="connsiteX1" fmla="*/ 304800 w 581999"/>
                  <a:gd name="connsiteY1" fmla="*/ 998220 h 4998720"/>
                  <a:gd name="connsiteX2" fmla="*/ 510540 w 581999"/>
                  <a:gd name="connsiteY2" fmla="*/ 2727960 h 4998720"/>
                  <a:gd name="connsiteX3" fmla="*/ 464820 w 581999"/>
                  <a:gd name="connsiteY3" fmla="*/ 3848100 h 4998720"/>
                  <a:gd name="connsiteX4" fmla="*/ 0 w 581999"/>
                  <a:gd name="connsiteY4" fmla="*/ 4998720 h 4998720"/>
                  <a:gd name="connsiteX0" fmla="*/ 281940 w 568102"/>
                  <a:gd name="connsiteY0" fmla="*/ 0 h 4998720"/>
                  <a:gd name="connsiteX1" fmla="*/ 304800 w 568102"/>
                  <a:gd name="connsiteY1" fmla="*/ 998220 h 4998720"/>
                  <a:gd name="connsiteX2" fmla="*/ 510540 w 568102"/>
                  <a:gd name="connsiteY2" fmla="*/ 2727960 h 4998720"/>
                  <a:gd name="connsiteX3" fmla="*/ 464820 w 568102"/>
                  <a:gd name="connsiteY3" fmla="*/ 3848100 h 4998720"/>
                  <a:gd name="connsiteX4" fmla="*/ 0 w 568102"/>
                  <a:gd name="connsiteY4" fmla="*/ 4998720 h 4998720"/>
                  <a:gd name="connsiteX0" fmla="*/ 281940 w 568102"/>
                  <a:gd name="connsiteY0" fmla="*/ 0 h 4998720"/>
                  <a:gd name="connsiteX1" fmla="*/ 304800 w 568102"/>
                  <a:gd name="connsiteY1" fmla="*/ 998220 h 4998720"/>
                  <a:gd name="connsiteX2" fmla="*/ 510540 w 568102"/>
                  <a:gd name="connsiteY2" fmla="*/ 2727960 h 4998720"/>
                  <a:gd name="connsiteX3" fmla="*/ 464820 w 568102"/>
                  <a:gd name="connsiteY3" fmla="*/ 3848100 h 4998720"/>
                  <a:gd name="connsiteX4" fmla="*/ 0 w 568102"/>
                  <a:gd name="connsiteY4" fmla="*/ 4998720 h 4998720"/>
                  <a:gd name="connsiteX0" fmla="*/ 281940 w 568102"/>
                  <a:gd name="connsiteY0" fmla="*/ 0 h 4998720"/>
                  <a:gd name="connsiteX1" fmla="*/ 304800 w 568102"/>
                  <a:gd name="connsiteY1" fmla="*/ 998220 h 4998720"/>
                  <a:gd name="connsiteX2" fmla="*/ 510540 w 568102"/>
                  <a:gd name="connsiteY2" fmla="*/ 2727960 h 4998720"/>
                  <a:gd name="connsiteX3" fmla="*/ 464820 w 568102"/>
                  <a:gd name="connsiteY3" fmla="*/ 3848100 h 4998720"/>
                  <a:gd name="connsiteX4" fmla="*/ 0 w 568102"/>
                  <a:gd name="connsiteY4" fmla="*/ 4998720 h 49987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8102" h="4998720">
                    <a:moveTo>
                      <a:pt x="281940" y="0"/>
                    </a:moveTo>
                    <a:cubicBezTo>
                      <a:pt x="251460" y="302260"/>
                      <a:pt x="198120" y="299720"/>
                      <a:pt x="304800" y="998220"/>
                    </a:cubicBezTo>
                    <a:lnTo>
                      <a:pt x="510540" y="2727960"/>
                    </a:lnTo>
                    <a:cubicBezTo>
                      <a:pt x="586740" y="3505200"/>
                      <a:pt x="601980" y="3474720"/>
                      <a:pt x="464820" y="3848100"/>
                    </a:cubicBezTo>
                    <a:lnTo>
                      <a:pt x="0" y="4998720"/>
                    </a:lnTo>
                  </a:path>
                </a:pathLst>
              </a:custGeom>
              <a:noFill/>
              <a:ln w="9525" cap="rnd" cmpd="sng" algn="ctr">
                <a:solidFill>
                  <a:sysClr val="window" lastClr="FFFFFF"/>
                </a:solidFill>
                <a:prstDash val="solid"/>
                <a:round/>
                <a:headEnd type="none" w="med" len="med"/>
                <a:tailEnd type="none" w="med" len="me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mn-lt"/>
                  <a:ea typeface="+mn-ea"/>
                  <a:cs typeface="+mn-cs"/>
                  <a:sym typeface="+mn-lt"/>
                </a:endParaRPr>
              </a:p>
            </p:txBody>
          </p:sp>
          <p:sp>
            <p:nvSpPr>
              <p:cNvPr id="18" name="Freeform 9">
                <a:extLst>
                  <a:ext uri="{FF2B5EF4-FFF2-40B4-BE49-F238E27FC236}">
                    <a16:creationId xmlns:a16="http://schemas.microsoft.com/office/drawing/2014/main" id="{57C04823-BEC0-4B00-BD06-E447BCABEA28}"/>
                  </a:ext>
                </a:extLst>
              </p:cNvPr>
              <p:cNvSpPr/>
              <p:nvPr userDrawn="1"/>
            </p:nvSpPr>
            <p:spPr>
              <a:xfrm>
                <a:off x="5706951" y="1756385"/>
                <a:ext cx="522382" cy="4839646"/>
              </a:xfrm>
              <a:custGeom>
                <a:avLst/>
                <a:gdLst>
                  <a:gd name="connsiteX0" fmla="*/ 281940 w 510540"/>
                  <a:gd name="connsiteY0" fmla="*/ 0 h 4998720"/>
                  <a:gd name="connsiteX1" fmla="*/ 304800 w 510540"/>
                  <a:gd name="connsiteY1" fmla="*/ 998220 h 4998720"/>
                  <a:gd name="connsiteX2" fmla="*/ 510540 w 510540"/>
                  <a:gd name="connsiteY2" fmla="*/ 2727960 h 4998720"/>
                  <a:gd name="connsiteX3" fmla="*/ 464820 w 510540"/>
                  <a:gd name="connsiteY3" fmla="*/ 3848100 h 4998720"/>
                  <a:gd name="connsiteX4" fmla="*/ 0 w 510540"/>
                  <a:gd name="connsiteY4" fmla="*/ 4998720 h 4998720"/>
                  <a:gd name="connsiteX0" fmla="*/ 281940 w 585809"/>
                  <a:gd name="connsiteY0" fmla="*/ 0 h 4998720"/>
                  <a:gd name="connsiteX1" fmla="*/ 304800 w 585809"/>
                  <a:gd name="connsiteY1" fmla="*/ 998220 h 4998720"/>
                  <a:gd name="connsiteX2" fmla="*/ 510540 w 585809"/>
                  <a:gd name="connsiteY2" fmla="*/ 2727960 h 4998720"/>
                  <a:gd name="connsiteX3" fmla="*/ 464820 w 585809"/>
                  <a:gd name="connsiteY3" fmla="*/ 3848100 h 4998720"/>
                  <a:gd name="connsiteX4" fmla="*/ 0 w 585809"/>
                  <a:gd name="connsiteY4" fmla="*/ 4998720 h 4998720"/>
                  <a:gd name="connsiteX0" fmla="*/ 281940 w 612461"/>
                  <a:gd name="connsiteY0" fmla="*/ 0 h 4998720"/>
                  <a:gd name="connsiteX1" fmla="*/ 304800 w 612461"/>
                  <a:gd name="connsiteY1" fmla="*/ 998220 h 4998720"/>
                  <a:gd name="connsiteX2" fmla="*/ 510540 w 612461"/>
                  <a:gd name="connsiteY2" fmla="*/ 2727960 h 4998720"/>
                  <a:gd name="connsiteX3" fmla="*/ 464820 w 612461"/>
                  <a:gd name="connsiteY3" fmla="*/ 3848100 h 4998720"/>
                  <a:gd name="connsiteX4" fmla="*/ 0 w 612461"/>
                  <a:gd name="connsiteY4" fmla="*/ 4998720 h 4998720"/>
                  <a:gd name="connsiteX0" fmla="*/ 281940 w 581999"/>
                  <a:gd name="connsiteY0" fmla="*/ 0 h 4998720"/>
                  <a:gd name="connsiteX1" fmla="*/ 304800 w 581999"/>
                  <a:gd name="connsiteY1" fmla="*/ 998220 h 4998720"/>
                  <a:gd name="connsiteX2" fmla="*/ 510540 w 581999"/>
                  <a:gd name="connsiteY2" fmla="*/ 2727960 h 4998720"/>
                  <a:gd name="connsiteX3" fmla="*/ 464820 w 581999"/>
                  <a:gd name="connsiteY3" fmla="*/ 3848100 h 4998720"/>
                  <a:gd name="connsiteX4" fmla="*/ 0 w 581999"/>
                  <a:gd name="connsiteY4" fmla="*/ 4998720 h 4998720"/>
                  <a:gd name="connsiteX0" fmla="*/ 281940 w 568102"/>
                  <a:gd name="connsiteY0" fmla="*/ 0 h 4998720"/>
                  <a:gd name="connsiteX1" fmla="*/ 304800 w 568102"/>
                  <a:gd name="connsiteY1" fmla="*/ 998220 h 4998720"/>
                  <a:gd name="connsiteX2" fmla="*/ 510540 w 568102"/>
                  <a:gd name="connsiteY2" fmla="*/ 2727960 h 4998720"/>
                  <a:gd name="connsiteX3" fmla="*/ 464820 w 568102"/>
                  <a:gd name="connsiteY3" fmla="*/ 3848100 h 4998720"/>
                  <a:gd name="connsiteX4" fmla="*/ 0 w 568102"/>
                  <a:gd name="connsiteY4" fmla="*/ 4998720 h 4998720"/>
                  <a:gd name="connsiteX0" fmla="*/ 281940 w 568102"/>
                  <a:gd name="connsiteY0" fmla="*/ 0 h 4998720"/>
                  <a:gd name="connsiteX1" fmla="*/ 304800 w 568102"/>
                  <a:gd name="connsiteY1" fmla="*/ 998220 h 4998720"/>
                  <a:gd name="connsiteX2" fmla="*/ 510540 w 568102"/>
                  <a:gd name="connsiteY2" fmla="*/ 2727960 h 4998720"/>
                  <a:gd name="connsiteX3" fmla="*/ 464820 w 568102"/>
                  <a:gd name="connsiteY3" fmla="*/ 3848100 h 4998720"/>
                  <a:gd name="connsiteX4" fmla="*/ 0 w 568102"/>
                  <a:gd name="connsiteY4" fmla="*/ 4998720 h 4998720"/>
                  <a:gd name="connsiteX0" fmla="*/ 281940 w 568102"/>
                  <a:gd name="connsiteY0" fmla="*/ 0 h 4998720"/>
                  <a:gd name="connsiteX1" fmla="*/ 304800 w 568102"/>
                  <a:gd name="connsiteY1" fmla="*/ 998220 h 4998720"/>
                  <a:gd name="connsiteX2" fmla="*/ 510540 w 568102"/>
                  <a:gd name="connsiteY2" fmla="*/ 2727960 h 4998720"/>
                  <a:gd name="connsiteX3" fmla="*/ 464820 w 568102"/>
                  <a:gd name="connsiteY3" fmla="*/ 3848100 h 4998720"/>
                  <a:gd name="connsiteX4" fmla="*/ 0 w 568102"/>
                  <a:gd name="connsiteY4" fmla="*/ 4998720 h 4998720"/>
                  <a:gd name="connsiteX0" fmla="*/ 236220 w 522382"/>
                  <a:gd name="connsiteY0" fmla="*/ 0 h 4943875"/>
                  <a:gd name="connsiteX1" fmla="*/ 259080 w 522382"/>
                  <a:gd name="connsiteY1" fmla="*/ 998220 h 4943875"/>
                  <a:gd name="connsiteX2" fmla="*/ 464820 w 522382"/>
                  <a:gd name="connsiteY2" fmla="*/ 2727960 h 4943875"/>
                  <a:gd name="connsiteX3" fmla="*/ 419100 w 522382"/>
                  <a:gd name="connsiteY3" fmla="*/ 3848100 h 4943875"/>
                  <a:gd name="connsiteX4" fmla="*/ 0 w 522382"/>
                  <a:gd name="connsiteY4" fmla="*/ 4943875 h 4943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382" h="4943875">
                    <a:moveTo>
                      <a:pt x="236220" y="0"/>
                    </a:moveTo>
                    <a:cubicBezTo>
                      <a:pt x="205740" y="302260"/>
                      <a:pt x="152400" y="299720"/>
                      <a:pt x="259080" y="998220"/>
                    </a:cubicBezTo>
                    <a:lnTo>
                      <a:pt x="464820" y="2727960"/>
                    </a:lnTo>
                    <a:cubicBezTo>
                      <a:pt x="541020" y="3505200"/>
                      <a:pt x="556260" y="3474720"/>
                      <a:pt x="419100" y="3848100"/>
                    </a:cubicBezTo>
                    <a:lnTo>
                      <a:pt x="0" y="4943875"/>
                    </a:lnTo>
                  </a:path>
                </a:pathLst>
              </a:custGeom>
              <a:noFill/>
              <a:ln w="9525" cap="rnd" cmpd="sng" algn="ctr">
                <a:solidFill>
                  <a:sysClr val="window" lastClr="FFFFFF"/>
                </a:solidFill>
                <a:prstDash val="solid"/>
                <a:round/>
                <a:headEnd type="none" w="med" len="med"/>
                <a:tailEnd type="none" w="med" len="me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mn-lt"/>
                  <a:ea typeface="+mn-ea"/>
                  <a:cs typeface="+mn-cs"/>
                  <a:sym typeface="+mn-lt"/>
                </a:endParaRPr>
              </a:p>
            </p:txBody>
          </p:sp>
        </p:grpSp>
        <p:sp>
          <p:nvSpPr>
            <p:cNvPr id="13" name="Freeform 5">
              <a:extLst>
                <a:ext uri="{FF2B5EF4-FFF2-40B4-BE49-F238E27FC236}">
                  <a16:creationId xmlns:a16="http://schemas.microsoft.com/office/drawing/2014/main" id="{26009BC5-7CD2-415B-B821-CA3A8BEFC389}"/>
                </a:ext>
              </a:extLst>
            </p:cNvPr>
            <p:cNvSpPr/>
            <p:nvPr userDrawn="1"/>
          </p:nvSpPr>
          <p:spPr>
            <a:xfrm>
              <a:off x="5973758" y="-12700"/>
              <a:ext cx="2357442" cy="6858000"/>
            </a:xfrm>
            <a:custGeom>
              <a:avLst/>
              <a:gdLst>
                <a:gd name="connsiteX0" fmla="*/ 1651000 w 2247900"/>
                <a:gd name="connsiteY0" fmla="*/ 6819900 h 6819900"/>
                <a:gd name="connsiteX1" fmla="*/ 381000 w 2247900"/>
                <a:gd name="connsiteY1" fmla="*/ 6819900 h 6819900"/>
                <a:gd name="connsiteX2" fmla="*/ 0 w 2247900"/>
                <a:gd name="connsiteY2" fmla="*/ 4724400 h 6819900"/>
                <a:gd name="connsiteX3" fmla="*/ 762000 w 2247900"/>
                <a:gd name="connsiteY3" fmla="*/ 1968500 h 6819900"/>
                <a:gd name="connsiteX4" fmla="*/ 1727200 w 2247900"/>
                <a:gd name="connsiteY4" fmla="*/ 0 h 6819900"/>
                <a:gd name="connsiteX5" fmla="*/ 2247900 w 2247900"/>
                <a:gd name="connsiteY5" fmla="*/ 0 h 6819900"/>
                <a:gd name="connsiteX6" fmla="*/ 1524000 w 2247900"/>
                <a:gd name="connsiteY6" fmla="*/ 1968500 h 6819900"/>
                <a:gd name="connsiteX7" fmla="*/ 1016000 w 2247900"/>
                <a:gd name="connsiteY7" fmla="*/ 4521200 h 6819900"/>
                <a:gd name="connsiteX8" fmla="*/ 1651000 w 2247900"/>
                <a:gd name="connsiteY8" fmla="*/ 6819900 h 6819900"/>
                <a:gd name="connsiteX0" fmla="*/ 1651000 w 2247900"/>
                <a:gd name="connsiteY0" fmla="*/ 6819900 h 6819900"/>
                <a:gd name="connsiteX1" fmla="*/ 381000 w 2247900"/>
                <a:gd name="connsiteY1" fmla="*/ 6819900 h 6819900"/>
                <a:gd name="connsiteX2" fmla="*/ 0 w 2247900"/>
                <a:gd name="connsiteY2" fmla="*/ 4724400 h 6819900"/>
                <a:gd name="connsiteX3" fmla="*/ 762000 w 2247900"/>
                <a:gd name="connsiteY3" fmla="*/ 1968500 h 6819900"/>
                <a:gd name="connsiteX4" fmla="*/ 1727200 w 2247900"/>
                <a:gd name="connsiteY4" fmla="*/ 0 h 6819900"/>
                <a:gd name="connsiteX5" fmla="*/ 2247900 w 2247900"/>
                <a:gd name="connsiteY5" fmla="*/ 0 h 6819900"/>
                <a:gd name="connsiteX6" fmla="*/ 1524000 w 2247900"/>
                <a:gd name="connsiteY6" fmla="*/ 1968500 h 6819900"/>
                <a:gd name="connsiteX7" fmla="*/ 1168400 w 2247900"/>
                <a:gd name="connsiteY7" fmla="*/ 4711700 h 6819900"/>
                <a:gd name="connsiteX8" fmla="*/ 1651000 w 2247900"/>
                <a:gd name="connsiteY8" fmla="*/ 6819900 h 6819900"/>
                <a:gd name="connsiteX0" fmla="*/ 1651000 w 2247900"/>
                <a:gd name="connsiteY0" fmla="*/ 6819900 h 6819900"/>
                <a:gd name="connsiteX1" fmla="*/ 381000 w 2247900"/>
                <a:gd name="connsiteY1" fmla="*/ 6819900 h 6819900"/>
                <a:gd name="connsiteX2" fmla="*/ 0 w 2247900"/>
                <a:gd name="connsiteY2" fmla="*/ 4724400 h 6819900"/>
                <a:gd name="connsiteX3" fmla="*/ 762000 w 2247900"/>
                <a:gd name="connsiteY3" fmla="*/ 1968500 h 6819900"/>
                <a:gd name="connsiteX4" fmla="*/ 1727200 w 2247900"/>
                <a:gd name="connsiteY4" fmla="*/ 0 h 6819900"/>
                <a:gd name="connsiteX5" fmla="*/ 2247900 w 2247900"/>
                <a:gd name="connsiteY5" fmla="*/ 0 h 6819900"/>
                <a:gd name="connsiteX6" fmla="*/ 1524000 w 2247900"/>
                <a:gd name="connsiteY6" fmla="*/ 1968500 h 6819900"/>
                <a:gd name="connsiteX7" fmla="*/ 1168400 w 2247900"/>
                <a:gd name="connsiteY7" fmla="*/ 4711700 h 6819900"/>
                <a:gd name="connsiteX8" fmla="*/ 1651000 w 2247900"/>
                <a:gd name="connsiteY8" fmla="*/ 6819900 h 6819900"/>
                <a:gd name="connsiteX0" fmla="*/ 1651000 w 2247900"/>
                <a:gd name="connsiteY0" fmla="*/ 6819900 h 6819900"/>
                <a:gd name="connsiteX1" fmla="*/ 381000 w 2247900"/>
                <a:gd name="connsiteY1" fmla="*/ 6819900 h 6819900"/>
                <a:gd name="connsiteX2" fmla="*/ 0 w 2247900"/>
                <a:gd name="connsiteY2" fmla="*/ 4724400 h 6819900"/>
                <a:gd name="connsiteX3" fmla="*/ 762000 w 2247900"/>
                <a:gd name="connsiteY3" fmla="*/ 1968500 h 6819900"/>
                <a:gd name="connsiteX4" fmla="*/ 1727200 w 2247900"/>
                <a:gd name="connsiteY4" fmla="*/ 0 h 6819900"/>
                <a:gd name="connsiteX5" fmla="*/ 2247900 w 2247900"/>
                <a:gd name="connsiteY5" fmla="*/ 0 h 6819900"/>
                <a:gd name="connsiteX6" fmla="*/ 1524000 w 2247900"/>
                <a:gd name="connsiteY6" fmla="*/ 1968500 h 6819900"/>
                <a:gd name="connsiteX7" fmla="*/ 1244600 w 2247900"/>
                <a:gd name="connsiteY7" fmla="*/ 4724400 h 6819900"/>
                <a:gd name="connsiteX8" fmla="*/ 1651000 w 2247900"/>
                <a:gd name="connsiteY8" fmla="*/ 6819900 h 6819900"/>
                <a:gd name="connsiteX0" fmla="*/ 1651000 w 2247900"/>
                <a:gd name="connsiteY0" fmla="*/ 6819900 h 6819900"/>
                <a:gd name="connsiteX1" fmla="*/ 381000 w 2247900"/>
                <a:gd name="connsiteY1" fmla="*/ 6819900 h 6819900"/>
                <a:gd name="connsiteX2" fmla="*/ 0 w 2247900"/>
                <a:gd name="connsiteY2" fmla="*/ 4724400 h 6819900"/>
                <a:gd name="connsiteX3" fmla="*/ 762000 w 2247900"/>
                <a:gd name="connsiteY3" fmla="*/ 1968500 h 6819900"/>
                <a:gd name="connsiteX4" fmla="*/ 1727200 w 2247900"/>
                <a:gd name="connsiteY4" fmla="*/ 0 h 6819900"/>
                <a:gd name="connsiteX5" fmla="*/ 2247900 w 2247900"/>
                <a:gd name="connsiteY5" fmla="*/ 0 h 6819900"/>
                <a:gd name="connsiteX6" fmla="*/ 1524000 w 2247900"/>
                <a:gd name="connsiteY6" fmla="*/ 1968500 h 6819900"/>
                <a:gd name="connsiteX7" fmla="*/ 1244600 w 2247900"/>
                <a:gd name="connsiteY7" fmla="*/ 4724400 h 6819900"/>
                <a:gd name="connsiteX8" fmla="*/ 1651000 w 2247900"/>
                <a:gd name="connsiteY8" fmla="*/ 6819900 h 6819900"/>
                <a:gd name="connsiteX0" fmla="*/ 1651000 w 2247900"/>
                <a:gd name="connsiteY0" fmla="*/ 6819900 h 6819900"/>
                <a:gd name="connsiteX1" fmla="*/ 381000 w 2247900"/>
                <a:gd name="connsiteY1" fmla="*/ 6819900 h 6819900"/>
                <a:gd name="connsiteX2" fmla="*/ 0 w 2247900"/>
                <a:gd name="connsiteY2" fmla="*/ 4724400 h 6819900"/>
                <a:gd name="connsiteX3" fmla="*/ 762000 w 2247900"/>
                <a:gd name="connsiteY3" fmla="*/ 1968500 h 6819900"/>
                <a:gd name="connsiteX4" fmla="*/ 1727200 w 2247900"/>
                <a:gd name="connsiteY4" fmla="*/ 0 h 6819900"/>
                <a:gd name="connsiteX5" fmla="*/ 2247900 w 2247900"/>
                <a:gd name="connsiteY5" fmla="*/ 0 h 6819900"/>
                <a:gd name="connsiteX6" fmla="*/ 1524000 w 2247900"/>
                <a:gd name="connsiteY6" fmla="*/ 1968500 h 6819900"/>
                <a:gd name="connsiteX7" fmla="*/ 1244600 w 2247900"/>
                <a:gd name="connsiteY7" fmla="*/ 4724400 h 6819900"/>
                <a:gd name="connsiteX8" fmla="*/ 1651000 w 2247900"/>
                <a:gd name="connsiteY8" fmla="*/ 6819900 h 6819900"/>
                <a:gd name="connsiteX0" fmla="*/ 1651000 w 2247900"/>
                <a:gd name="connsiteY0" fmla="*/ 6819900 h 6819900"/>
                <a:gd name="connsiteX1" fmla="*/ 381000 w 2247900"/>
                <a:gd name="connsiteY1" fmla="*/ 6819900 h 6819900"/>
                <a:gd name="connsiteX2" fmla="*/ 0 w 2247900"/>
                <a:gd name="connsiteY2" fmla="*/ 4724400 h 6819900"/>
                <a:gd name="connsiteX3" fmla="*/ 762000 w 2247900"/>
                <a:gd name="connsiteY3" fmla="*/ 1968500 h 6819900"/>
                <a:gd name="connsiteX4" fmla="*/ 1727200 w 2247900"/>
                <a:gd name="connsiteY4" fmla="*/ 0 h 6819900"/>
                <a:gd name="connsiteX5" fmla="*/ 2247900 w 2247900"/>
                <a:gd name="connsiteY5" fmla="*/ 0 h 6819900"/>
                <a:gd name="connsiteX6" fmla="*/ 1524000 w 2247900"/>
                <a:gd name="connsiteY6" fmla="*/ 1968500 h 6819900"/>
                <a:gd name="connsiteX7" fmla="*/ 1308100 w 2247900"/>
                <a:gd name="connsiteY7" fmla="*/ 4699000 h 6819900"/>
                <a:gd name="connsiteX8" fmla="*/ 1651000 w 2247900"/>
                <a:gd name="connsiteY8" fmla="*/ 6819900 h 6819900"/>
                <a:gd name="connsiteX0" fmla="*/ 1651000 w 2247900"/>
                <a:gd name="connsiteY0" fmla="*/ 6819900 h 6819900"/>
                <a:gd name="connsiteX1" fmla="*/ 381000 w 2247900"/>
                <a:gd name="connsiteY1" fmla="*/ 6819900 h 6819900"/>
                <a:gd name="connsiteX2" fmla="*/ 0 w 2247900"/>
                <a:gd name="connsiteY2" fmla="*/ 4724400 h 6819900"/>
                <a:gd name="connsiteX3" fmla="*/ 762000 w 2247900"/>
                <a:gd name="connsiteY3" fmla="*/ 1968500 h 6819900"/>
                <a:gd name="connsiteX4" fmla="*/ 1727200 w 2247900"/>
                <a:gd name="connsiteY4" fmla="*/ 0 h 6819900"/>
                <a:gd name="connsiteX5" fmla="*/ 2247900 w 2247900"/>
                <a:gd name="connsiteY5" fmla="*/ 0 h 6819900"/>
                <a:gd name="connsiteX6" fmla="*/ 1638300 w 2247900"/>
                <a:gd name="connsiteY6" fmla="*/ 2032000 h 6819900"/>
                <a:gd name="connsiteX7" fmla="*/ 1308100 w 2247900"/>
                <a:gd name="connsiteY7" fmla="*/ 4699000 h 6819900"/>
                <a:gd name="connsiteX8" fmla="*/ 1651000 w 2247900"/>
                <a:gd name="connsiteY8" fmla="*/ 6819900 h 6819900"/>
                <a:gd name="connsiteX0" fmla="*/ 1651000 w 2247900"/>
                <a:gd name="connsiteY0" fmla="*/ 6819900 h 6819900"/>
                <a:gd name="connsiteX1" fmla="*/ 381000 w 2247900"/>
                <a:gd name="connsiteY1" fmla="*/ 6819900 h 6819900"/>
                <a:gd name="connsiteX2" fmla="*/ 0 w 2247900"/>
                <a:gd name="connsiteY2" fmla="*/ 4724400 h 6819900"/>
                <a:gd name="connsiteX3" fmla="*/ 762000 w 2247900"/>
                <a:gd name="connsiteY3" fmla="*/ 1968500 h 6819900"/>
                <a:gd name="connsiteX4" fmla="*/ 1727200 w 2247900"/>
                <a:gd name="connsiteY4" fmla="*/ 0 h 6819900"/>
                <a:gd name="connsiteX5" fmla="*/ 2247900 w 2247900"/>
                <a:gd name="connsiteY5" fmla="*/ 0 h 6819900"/>
                <a:gd name="connsiteX6" fmla="*/ 1638300 w 2247900"/>
                <a:gd name="connsiteY6" fmla="*/ 2032000 h 6819900"/>
                <a:gd name="connsiteX7" fmla="*/ 1308100 w 2247900"/>
                <a:gd name="connsiteY7" fmla="*/ 4699000 h 6819900"/>
                <a:gd name="connsiteX8" fmla="*/ 1651000 w 2247900"/>
                <a:gd name="connsiteY8" fmla="*/ 6819900 h 6819900"/>
                <a:gd name="connsiteX0" fmla="*/ 1651000 w 2247900"/>
                <a:gd name="connsiteY0" fmla="*/ 6819900 h 6819900"/>
                <a:gd name="connsiteX1" fmla="*/ 381000 w 2247900"/>
                <a:gd name="connsiteY1" fmla="*/ 6819900 h 6819900"/>
                <a:gd name="connsiteX2" fmla="*/ 0 w 2247900"/>
                <a:gd name="connsiteY2" fmla="*/ 4724400 h 6819900"/>
                <a:gd name="connsiteX3" fmla="*/ 762000 w 2247900"/>
                <a:gd name="connsiteY3" fmla="*/ 1968500 h 6819900"/>
                <a:gd name="connsiteX4" fmla="*/ 1727200 w 2247900"/>
                <a:gd name="connsiteY4" fmla="*/ 0 h 6819900"/>
                <a:gd name="connsiteX5" fmla="*/ 2247900 w 2247900"/>
                <a:gd name="connsiteY5" fmla="*/ 0 h 6819900"/>
                <a:gd name="connsiteX6" fmla="*/ 1638300 w 2247900"/>
                <a:gd name="connsiteY6" fmla="*/ 2032000 h 6819900"/>
                <a:gd name="connsiteX7" fmla="*/ 1308100 w 2247900"/>
                <a:gd name="connsiteY7" fmla="*/ 4699000 h 6819900"/>
                <a:gd name="connsiteX8" fmla="*/ 1651000 w 2247900"/>
                <a:gd name="connsiteY8" fmla="*/ 6819900 h 6819900"/>
                <a:gd name="connsiteX0" fmla="*/ 1651000 w 2247900"/>
                <a:gd name="connsiteY0" fmla="*/ 6819900 h 6819900"/>
                <a:gd name="connsiteX1" fmla="*/ 381000 w 2247900"/>
                <a:gd name="connsiteY1" fmla="*/ 6819900 h 6819900"/>
                <a:gd name="connsiteX2" fmla="*/ 0 w 2247900"/>
                <a:gd name="connsiteY2" fmla="*/ 4724400 h 6819900"/>
                <a:gd name="connsiteX3" fmla="*/ 762000 w 2247900"/>
                <a:gd name="connsiteY3" fmla="*/ 1968500 h 6819900"/>
                <a:gd name="connsiteX4" fmla="*/ 1727200 w 2247900"/>
                <a:gd name="connsiteY4" fmla="*/ 0 h 6819900"/>
                <a:gd name="connsiteX5" fmla="*/ 2247900 w 2247900"/>
                <a:gd name="connsiteY5" fmla="*/ 0 h 6819900"/>
                <a:gd name="connsiteX6" fmla="*/ 1638300 w 2247900"/>
                <a:gd name="connsiteY6" fmla="*/ 2032000 h 6819900"/>
                <a:gd name="connsiteX7" fmla="*/ 1308100 w 2247900"/>
                <a:gd name="connsiteY7" fmla="*/ 4699000 h 6819900"/>
                <a:gd name="connsiteX8" fmla="*/ 1651000 w 2247900"/>
                <a:gd name="connsiteY8" fmla="*/ 6819900 h 6819900"/>
                <a:gd name="connsiteX0" fmla="*/ 1651000 w 2286000"/>
                <a:gd name="connsiteY0" fmla="*/ 6832600 h 6832600"/>
                <a:gd name="connsiteX1" fmla="*/ 381000 w 2286000"/>
                <a:gd name="connsiteY1" fmla="*/ 6832600 h 6832600"/>
                <a:gd name="connsiteX2" fmla="*/ 0 w 2286000"/>
                <a:gd name="connsiteY2" fmla="*/ 4737100 h 6832600"/>
                <a:gd name="connsiteX3" fmla="*/ 762000 w 2286000"/>
                <a:gd name="connsiteY3" fmla="*/ 1981200 h 6832600"/>
                <a:gd name="connsiteX4" fmla="*/ 1727200 w 2286000"/>
                <a:gd name="connsiteY4" fmla="*/ 12700 h 6832600"/>
                <a:gd name="connsiteX5" fmla="*/ 2286000 w 2286000"/>
                <a:gd name="connsiteY5" fmla="*/ 0 h 6832600"/>
                <a:gd name="connsiteX6" fmla="*/ 1638300 w 2286000"/>
                <a:gd name="connsiteY6" fmla="*/ 2044700 h 6832600"/>
                <a:gd name="connsiteX7" fmla="*/ 1308100 w 2286000"/>
                <a:gd name="connsiteY7" fmla="*/ 4711700 h 6832600"/>
                <a:gd name="connsiteX8" fmla="*/ 1651000 w 2286000"/>
                <a:gd name="connsiteY8" fmla="*/ 6832600 h 6832600"/>
                <a:gd name="connsiteX0" fmla="*/ 1651000 w 2286000"/>
                <a:gd name="connsiteY0" fmla="*/ 6832600 h 6832600"/>
                <a:gd name="connsiteX1" fmla="*/ 381000 w 2286000"/>
                <a:gd name="connsiteY1" fmla="*/ 6832600 h 6832600"/>
                <a:gd name="connsiteX2" fmla="*/ 0 w 2286000"/>
                <a:gd name="connsiteY2" fmla="*/ 4737100 h 6832600"/>
                <a:gd name="connsiteX3" fmla="*/ 863600 w 2286000"/>
                <a:gd name="connsiteY3" fmla="*/ 1993900 h 6832600"/>
                <a:gd name="connsiteX4" fmla="*/ 1727200 w 2286000"/>
                <a:gd name="connsiteY4" fmla="*/ 12700 h 6832600"/>
                <a:gd name="connsiteX5" fmla="*/ 2286000 w 2286000"/>
                <a:gd name="connsiteY5" fmla="*/ 0 h 6832600"/>
                <a:gd name="connsiteX6" fmla="*/ 1638300 w 2286000"/>
                <a:gd name="connsiteY6" fmla="*/ 2044700 h 6832600"/>
                <a:gd name="connsiteX7" fmla="*/ 1308100 w 2286000"/>
                <a:gd name="connsiteY7" fmla="*/ 4711700 h 6832600"/>
                <a:gd name="connsiteX8" fmla="*/ 1651000 w 2286000"/>
                <a:gd name="connsiteY8" fmla="*/ 6832600 h 6832600"/>
                <a:gd name="connsiteX0" fmla="*/ 1651000 w 2286000"/>
                <a:gd name="connsiteY0" fmla="*/ 6832600 h 6832600"/>
                <a:gd name="connsiteX1" fmla="*/ 381000 w 2286000"/>
                <a:gd name="connsiteY1" fmla="*/ 6832600 h 6832600"/>
                <a:gd name="connsiteX2" fmla="*/ 0 w 2286000"/>
                <a:gd name="connsiteY2" fmla="*/ 4737100 h 6832600"/>
                <a:gd name="connsiteX3" fmla="*/ 863600 w 2286000"/>
                <a:gd name="connsiteY3" fmla="*/ 1993900 h 6832600"/>
                <a:gd name="connsiteX4" fmla="*/ 1727200 w 2286000"/>
                <a:gd name="connsiteY4" fmla="*/ 12700 h 6832600"/>
                <a:gd name="connsiteX5" fmla="*/ 2286000 w 2286000"/>
                <a:gd name="connsiteY5" fmla="*/ 0 h 6832600"/>
                <a:gd name="connsiteX6" fmla="*/ 1638300 w 2286000"/>
                <a:gd name="connsiteY6" fmla="*/ 2044700 h 6832600"/>
                <a:gd name="connsiteX7" fmla="*/ 1308100 w 2286000"/>
                <a:gd name="connsiteY7" fmla="*/ 4711700 h 6832600"/>
                <a:gd name="connsiteX8" fmla="*/ 1651000 w 2286000"/>
                <a:gd name="connsiteY8" fmla="*/ 6832600 h 6832600"/>
                <a:gd name="connsiteX0" fmla="*/ 1651000 w 2286000"/>
                <a:gd name="connsiteY0" fmla="*/ 6832600 h 6832600"/>
                <a:gd name="connsiteX1" fmla="*/ 381000 w 2286000"/>
                <a:gd name="connsiteY1" fmla="*/ 6832600 h 6832600"/>
                <a:gd name="connsiteX2" fmla="*/ 0 w 2286000"/>
                <a:gd name="connsiteY2" fmla="*/ 4737100 h 6832600"/>
                <a:gd name="connsiteX3" fmla="*/ 863600 w 2286000"/>
                <a:gd name="connsiteY3" fmla="*/ 1993900 h 6832600"/>
                <a:gd name="connsiteX4" fmla="*/ 1600200 w 2286000"/>
                <a:gd name="connsiteY4" fmla="*/ 12700 h 6832600"/>
                <a:gd name="connsiteX5" fmla="*/ 2286000 w 2286000"/>
                <a:gd name="connsiteY5" fmla="*/ 0 h 6832600"/>
                <a:gd name="connsiteX6" fmla="*/ 1638300 w 2286000"/>
                <a:gd name="connsiteY6" fmla="*/ 2044700 h 6832600"/>
                <a:gd name="connsiteX7" fmla="*/ 1308100 w 2286000"/>
                <a:gd name="connsiteY7" fmla="*/ 4711700 h 6832600"/>
                <a:gd name="connsiteX8" fmla="*/ 1651000 w 2286000"/>
                <a:gd name="connsiteY8" fmla="*/ 6832600 h 6832600"/>
                <a:gd name="connsiteX0" fmla="*/ 1727976 w 2362976"/>
                <a:gd name="connsiteY0" fmla="*/ 6832600 h 6832600"/>
                <a:gd name="connsiteX1" fmla="*/ 457976 w 2362976"/>
                <a:gd name="connsiteY1" fmla="*/ 6832600 h 6832600"/>
                <a:gd name="connsiteX2" fmla="*/ 76976 w 2362976"/>
                <a:gd name="connsiteY2" fmla="*/ 4737100 h 6832600"/>
                <a:gd name="connsiteX3" fmla="*/ 940576 w 2362976"/>
                <a:gd name="connsiteY3" fmla="*/ 1993900 h 6832600"/>
                <a:gd name="connsiteX4" fmla="*/ 1677176 w 2362976"/>
                <a:gd name="connsiteY4" fmla="*/ 12700 h 6832600"/>
                <a:gd name="connsiteX5" fmla="*/ 2362976 w 2362976"/>
                <a:gd name="connsiteY5" fmla="*/ 0 h 6832600"/>
                <a:gd name="connsiteX6" fmla="*/ 1715276 w 2362976"/>
                <a:gd name="connsiteY6" fmla="*/ 2044700 h 6832600"/>
                <a:gd name="connsiteX7" fmla="*/ 1385076 w 2362976"/>
                <a:gd name="connsiteY7" fmla="*/ 4711700 h 6832600"/>
                <a:gd name="connsiteX8" fmla="*/ 1727976 w 2362976"/>
                <a:gd name="connsiteY8" fmla="*/ 6832600 h 6832600"/>
                <a:gd name="connsiteX0" fmla="*/ 1745560 w 2380560"/>
                <a:gd name="connsiteY0" fmla="*/ 6832600 h 6832600"/>
                <a:gd name="connsiteX1" fmla="*/ 475560 w 2380560"/>
                <a:gd name="connsiteY1" fmla="*/ 6832600 h 6832600"/>
                <a:gd name="connsiteX2" fmla="*/ 94560 w 2380560"/>
                <a:gd name="connsiteY2" fmla="*/ 4737100 h 6832600"/>
                <a:gd name="connsiteX3" fmla="*/ 958160 w 2380560"/>
                <a:gd name="connsiteY3" fmla="*/ 1993900 h 6832600"/>
                <a:gd name="connsiteX4" fmla="*/ 1694760 w 2380560"/>
                <a:gd name="connsiteY4" fmla="*/ 12700 h 6832600"/>
                <a:gd name="connsiteX5" fmla="*/ 2380560 w 2380560"/>
                <a:gd name="connsiteY5" fmla="*/ 0 h 6832600"/>
                <a:gd name="connsiteX6" fmla="*/ 1732860 w 2380560"/>
                <a:gd name="connsiteY6" fmla="*/ 2044700 h 6832600"/>
                <a:gd name="connsiteX7" fmla="*/ 1402660 w 2380560"/>
                <a:gd name="connsiteY7" fmla="*/ 4711700 h 6832600"/>
                <a:gd name="connsiteX8" fmla="*/ 1745560 w 2380560"/>
                <a:gd name="connsiteY8" fmla="*/ 6832600 h 6832600"/>
                <a:gd name="connsiteX0" fmla="*/ 1676931 w 2311931"/>
                <a:gd name="connsiteY0" fmla="*/ 6832600 h 6832600"/>
                <a:gd name="connsiteX1" fmla="*/ 406931 w 2311931"/>
                <a:gd name="connsiteY1" fmla="*/ 6832600 h 6832600"/>
                <a:gd name="connsiteX2" fmla="*/ 25931 w 2311931"/>
                <a:gd name="connsiteY2" fmla="*/ 4737100 h 6832600"/>
                <a:gd name="connsiteX3" fmla="*/ 889531 w 2311931"/>
                <a:gd name="connsiteY3" fmla="*/ 1993900 h 6832600"/>
                <a:gd name="connsiteX4" fmla="*/ 1626131 w 2311931"/>
                <a:gd name="connsiteY4" fmla="*/ 12700 h 6832600"/>
                <a:gd name="connsiteX5" fmla="*/ 2311931 w 2311931"/>
                <a:gd name="connsiteY5" fmla="*/ 0 h 6832600"/>
                <a:gd name="connsiteX6" fmla="*/ 1664231 w 2311931"/>
                <a:gd name="connsiteY6" fmla="*/ 2044700 h 6832600"/>
                <a:gd name="connsiteX7" fmla="*/ 1334031 w 2311931"/>
                <a:gd name="connsiteY7" fmla="*/ 4711700 h 6832600"/>
                <a:gd name="connsiteX8" fmla="*/ 1676931 w 2311931"/>
                <a:gd name="connsiteY8" fmla="*/ 6832600 h 6832600"/>
                <a:gd name="connsiteX0" fmla="*/ 1713441 w 2348441"/>
                <a:gd name="connsiteY0" fmla="*/ 6832600 h 6832600"/>
                <a:gd name="connsiteX1" fmla="*/ 443441 w 2348441"/>
                <a:gd name="connsiteY1" fmla="*/ 6832600 h 6832600"/>
                <a:gd name="connsiteX2" fmla="*/ 62441 w 2348441"/>
                <a:gd name="connsiteY2" fmla="*/ 4737100 h 6832600"/>
                <a:gd name="connsiteX3" fmla="*/ 926041 w 2348441"/>
                <a:gd name="connsiteY3" fmla="*/ 1993900 h 6832600"/>
                <a:gd name="connsiteX4" fmla="*/ 1662641 w 2348441"/>
                <a:gd name="connsiteY4" fmla="*/ 12700 h 6832600"/>
                <a:gd name="connsiteX5" fmla="*/ 2348441 w 2348441"/>
                <a:gd name="connsiteY5" fmla="*/ 0 h 6832600"/>
                <a:gd name="connsiteX6" fmla="*/ 1700741 w 2348441"/>
                <a:gd name="connsiteY6" fmla="*/ 2044700 h 6832600"/>
                <a:gd name="connsiteX7" fmla="*/ 1370541 w 2348441"/>
                <a:gd name="connsiteY7" fmla="*/ 4711700 h 6832600"/>
                <a:gd name="connsiteX8" fmla="*/ 1713441 w 2348441"/>
                <a:gd name="connsiteY8" fmla="*/ 6832600 h 6832600"/>
                <a:gd name="connsiteX0" fmla="*/ 1756980 w 2391980"/>
                <a:gd name="connsiteY0" fmla="*/ 6832600 h 6832600"/>
                <a:gd name="connsiteX1" fmla="*/ 486980 w 2391980"/>
                <a:gd name="connsiteY1" fmla="*/ 6832600 h 6832600"/>
                <a:gd name="connsiteX2" fmla="*/ 105980 w 2391980"/>
                <a:gd name="connsiteY2" fmla="*/ 4737100 h 6832600"/>
                <a:gd name="connsiteX3" fmla="*/ 969580 w 2391980"/>
                <a:gd name="connsiteY3" fmla="*/ 1993900 h 6832600"/>
                <a:gd name="connsiteX4" fmla="*/ 1706180 w 2391980"/>
                <a:gd name="connsiteY4" fmla="*/ 12700 h 6832600"/>
                <a:gd name="connsiteX5" fmla="*/ 2391980 w 2391980"/>
                <a:gd name="connsiteY5" fmla="*/ 0 h 6832600"/>
                <a:gd name="connsiteX6" fmla="*/ 1744280 w 2391980"/>
                <a:gd name="connsiteY6" fmla="*/ 2044700 h 6832600"/>
                <a:gd name="connsiteX7" fmla="*/ 1414080 w 2391980"/>
                <a:gd name="connsiteY7" fmla="*/ 4711700 h 6832600"/>
                <a:gd name="connsiteX8" fmla="*/ 1756980 w 2391980"/>
                <a:gd name="connsiteY8" fmla="*/ 6832600 h 6832600"/>
                <a:gd name="connsiteX0" fmla="*/ 1766447 w 2401447"/>
                <a:gd name="connsiteY0" fmla="*/ 6832600 h 6832600"/>
                <a:gd name="connsiteX1" fmla="*/ 496447 w 2401447"/>
                <a:gd name="connsiteY1" fmla="*/ 6832600 h 6832600"/>
                <a:gd name="connsiteX2" fmla="*/ 115447 w 2401447"/>
                <a:gd name="connsiteY2" fmla="*/ 4737100 h 6832600"/>
                <a:gd name="connsiteX3" fmla="*/ 928247 w 2401447"/>
                <a:gd name="connsiteY3" fmla="*/ 1993900 h 6832600"/>
                <a:gd name="connsiteX4" fmla="*/ 1715647 w 2401447"/>
                <a:gd name="connsiteY4" fmla="*/ 12700 h 6832600"/>
                <a:gd name="connsiteX5" fmla="*/ 2401447 w 2401447"/>
                <a:gd name="connsiteY5" fmla="*/ 0 h 6832600"/>
                <a:gd name="connsiteX6" fmla="*/ 1753747 w 2401447"/>
                <a:gd name="connsiteY6" fmla="*/ 2044700 h 6832600"/>
                <a:gd name="connsiteX7" fmla="*/ 1423547 w 2401447"/>
                <a:gd name="connsiteY7" fmla="*/ 4711700 h 6832600"/>
                <a:gd name="connsiteX8" fmla="*/ 1766447 w 2401447"/>
                <a:gd name="connsiteY8" fmla="*/ 6832600 h 6832600"/>
                <a:gd name="connsiteX0" fmla="*/ 1715508 w 2350508"/>
                <a:gd name="connsiteY0" fmla="*/ 6832600 h 6832600"/>
                <a:gd name="connsiteX1" fmla="*/ 445508 w 2350508"/>
                <a:gd name="connsiteY1" fmla="*/ 6832600 h 6832600"/>
                <a:gd name="connsiteX2" fmla="*/ 64508 w 2350508"/>
                <a:gd name="connsiteY2" fmla="*/ 4737100 h 6832600"/>
                <a:gd name="connsiteX3" fmla="*/ 877308 w 2350508"/>
                <a:gd name="connsiteY3" fmla="*/ 1993900 h 6832600"/>
                <a:gd name="connsiteX4" fmla="*/ 1664708 w 2350508"/>
                <a:gd name="connsiteY4" fmla="*/ 12700 h 6832600"/>
                <a:gd name="connsiteX5" fmla="*/ 2350508 w 2350508"/>
                <a:gd name="connsiteY5" fmla="*/ 0 h 6832600"/>
                <a:gd name="connsiteX6" fmla="*/ 1702808 w 2350508"/>
                <a:gd name="connsiteY6" fmla="*/ 2044700 h 6832600"/>
                <a:gd name="connsiteX7" fmla="*/ 1372608 w 2350508"/>
                <a:gd name="connsiteY7" fmla="*/ 4711700 h 6832600"/>
                <a:gd name="connsiteX8" fmla="*/ 1715508 w 2350508"/>
                <a:gd name="connsiteY8" fmla="*/ 6832600 h 6832600"/>
                <a:gd name="connsiteX0" fmla="*/ 1698933 w 2333933"/>
                <a:gd name="connsiteY0" fmla="*/ 6832600 h 6832600"/>
                <a:gd name="connsiteX1" fmla="*/ 428933 w 2333933"/>
                <a:gd name="connsiteY1" fmla="*/ 6832600 h 6832600"/>
                <a:gd name="connsiteX2" fmla="*/ 47933 w 2333933"/>
                <a:gd name="connsiteY2" fmla="*/ 4737100 h 6832600"/>
                <a:gd name="connsiteX3" fmla="*/ 860733 w 2333933"/>
                <a:gd name="connsiteY3" fmla="*/ 1993900 h 6832600"/>
                <a:gd name="connsiteX4" fmla="*/ 1648133 w 2333933"/>
                <a:gd name="connsiteY4" fmla="*/ 12700 h 6832600"/>
                <a:gd name="connsiteX5" fmla="*/ 2333933 w 2333933"/>
                <a:gd name="connsiteY5" fmla="*/ 0 h 6832600"/>
                <a:gd name="connsiteX6" fmla="*/ 1686233 w 2333933"/>
                <a:gd name="connsiteY6" fmla="*/ 2044700 h 6832600"/>
                <a:gd name="connsiteX7" fmla="*/ 1356033 w 2333933"/>
                <a:gd name="connsiteY7" fmla="*/ 4711700 h 6832600"/>
                <a:gd name="connsiteX8" fmla="*/ 1698933 w 2333933"/>
                <a:gd name="connsiteY8" fmla="*/ 6832600 h 6832600"/>
                <a:gd name="connsiteX0" fmla="*/ 1702652 w 2337652"/>
                <a:gd name="connsiteY0" fmla="*/ 6832600 h 6832600"/>
                <a:gd name="connsiteX1" fmla="*/ 432652 w 2337652"/>
                <a:gd name="connsiteY1" fmla="*/ 6832600 h 6832600"/>
                <a:gd name="connsiteX2" fmla="*/ 51652 w 2337652"/>
                <a:gd name="connsiteY2" fmla="*/ 4737100 h 6832600"/>
                <a:gd name="connsiteX3" fmla="*/ 788252 w 2337652"/>
                <a:gd name="connsiteY3" fmla="*/ 1968500 h 6832600"/>
                <a:gd name="connsiteX4" fmla="*/ 1651852 w 2337652"/>
                <a:gd name="connsiteY4" fmla="*/ 12700 h 6832600"/>
                <a:gd name="connsiteX5" fmla="*/ 2337652 w 2337652"/>
                <a:gd name="connsiteY5" fmla="*/ 0 h 6832600"/>
                <a:gd name="connsiteX6" fmla="*/ 1689952 w 2337652"/>
                <a:gd name="connsiteY6" fmla="*/ 2044700 h 6832600"/>
                <a:gd name="connsiteX7" fmla="*/ 1359752 w 2337652"/>
                <a:gd name="connsiteY7" fmla="*/ 4711700 h 6832600"/>
                <a:gd name="connsiteX8" fmla="*/ 1702652 w 2337652"/>
                <a:gd name="connsiteY8" fmla="*/ 6832600 h 6832600"/>
                <a:gd name="connsiteX0" fmla="*/ 1737855 w 2372855"/>
                <a:gd name="connsiteY0" fmla="*/ 6832600 h 6832600"/>
                <a:gd name="connsiteX1" fmla="*/ 467855 w 2372855"/>
                <a:gd name="connsiteY1" fmla="*/ 6832600 h 6832600"/>
                <a:gd name="connsiteX2" fmla="*/ 86855 w 2372855"/>
                <a:gd name="connsiteY2" fmla="*/ 4737100 h 6832600"/>
                <a:gd name="connsiteX3" fmla="*/ 823455 w 2372855"/>
                <a:gd name="connsiteY3" fmla="*/ 1968500 h 6832600"/>
                <a:gd name="connsiteX4" fmla="*/ 1687055 w 2372855"/>
                <a:gd name="connsiteY4" fmla="*/ 12700 h 6832600"/>
                <a:gd name="connsiteX5" fmla="*/ 2372855 w 2372855"/>
                <a:gd name="connsiteY5" fmla="*/ 0 h 6832600"/>
                <a:gd name="connsiteX6" fmla="*/ 1725155 w 2372855"/>
                <a:gd name="connsiteY6" fmla="*/ 2044700 h 6832600"/>
                <a:gd name="connsiteX7" fmla="*/ 1394955 w 2372855"/>
                <a:gd name="connsiteY7" fmla="*/ 4711700 h 6832600"/>
                <a:gd name="connsiteX8" fmla="*/ 1737855 w 2372855"/>
                <a:gd name="connsiteY8" fmla="*/ 6832600 h 6832600"/>
                <a:gd name="connsiteX0" fmla="*/ 1722442 w 2357442"/>
                <a:gd name="connsiteY0" fmla="*/ 6832600 h 6832600"/>
                <a:gd name="connsiteX1" fmla="*/ 452442 w 2357442"/>
                <a:gd name="connsiteY1" fmla="*/ 6832600 h 6832600"/>
                <a:gd name="connsiteX2" fmla="*/ 71442 w 2357442"/>
                <a:gd name="connsiteY2" fmla="*/ 4737100 h 6832600"/>
                <a:gd name="connsiteX3" fmla="*/ 808042 w 2357442"/>
                <a:gd name="connsiteY3" fmla="*/ 1968500 h 6832600"/>
                <a:gd name="connsiteX4" fmla="*/ 1671642 w 2357442"/>
                <a:gd name="connsiteY4" fmla="*/ 12700 h 6832600"/>
                <a:gd name="connsiteX5" fmla="*/ 2357442 w 2357442"/>
                <a:gd name="connsiteY5" fmla="*/ 0 h 6832600"/>
                <a:gd name="connsiteX6" fmla="*/ 1709742 w 2357442"/>
                <a:gd name="connsiteY6" fmla="*/ 2044700 h 6832600"/>
                <a:gd name="connsiteX7" fmla="*/ 1379542 w 2357442"/>
                <a:gd name="connsiteY7" fmla="*/ 4711700 h 6832600"/>
                <a:gd name="connsiteX8" fmla="*/ 1722442 w 2357442"/>
                <a:gd name="connsiteY8" fmla="*/ 6832600 h 6832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57442" h="6832600">
                  <a:moveTo>
                    <a:pt x="1722442" y="6832600"/>
                  </a:moveTo>
                  <a:lnTo>
                    <a:pt x="452442" y="6832600"/>
                  </a:lnTo>
                  <a:lnTo>
                    <a:pt x="71442" y="4737100"/>
                  </a:lnTo>
                  <a:cubicBezTo>
                    <a:pt x="-148691" y="3708400"/>
                    <a:pt x="151875" y="3352800"/>
                    <a:pt x="808042" y="1968500"/>
                  </a:cubicBezTo>
                  <a:cubicBezTo>
                    <a:pt x="1070509" y="1282700"/>
                    <a:pt x="1383775" y="673100"/>
                    <a:pt x="1671642" y="12700"/>
                  </a:cubicBezTo>
                  <a:lnTo>
                    <a:pt x="2357442" y="0"/>
                  </a:lnTo>
                  <a:lnTo>
                    <a:pt x="1709742" y="2044700"/>
                  </a:lnTo>
                  <a:cubicBezTo>
                    <a:pt x="1273709" y="3416300"/>
                    <a:pt x="1142475" y="3619500"/>
                    <a:pt x="1379542" y="4711700"/>
                  </a:cubicBezTo>
                  <a:lnTo>
                    <a:pt x="1722442" y="6832600"/>
                  </a:lnTo>
                  <a:close/>
                </a:path>
              </a:pathLst>
            </a:custGeom>
            <a:gradFill>
              <a:gsLst>
                <a:gs pos="0">
                  <a:srgbClr val="478D39"/>
                </a:gs>
                <a:gs pos="100000">
                  <a:srgbClr val="78B944"/>
                </a:gs>
              </a:gsLst>
              <a:lin ang="8100000" scaled="1"/>
            </a:gradFill>
            <a:ln w="10795" cap="flat" cmpd="sng" algn="ctr">
              <a:noFill/>
              <a:prstDash val="solid"/>
            </a:ln>
            <a:effectLst/>
          </p:spPr>
          <p:txBody>
            <a:bodyPr wrap="square" rtlCol="0" anchor="t">
              <a:noAutofit/>
            </a:bodyPr>
            <a:lstStyle/>
            <a:p>
              <a:pPr marL="0" marR="0" lvl="0" indent="0" defTabSz="914400" eaLnBrk="1" fontAlgn="auto" latinLnBrk="0" hangingPunct="1">
                <a:lnSpc>
                  <a:spcPct val="90000"/>
                </a:lnSpc>
                <a:spcBef>
                  <a:spcPts val="0"/>
                </a:spcBef>
                <a:spcAft>
                  <a:spcPts val="1000"/>
                </a:spcAft>
                <a:buClrTx/>
                <a:buSzTx/>
                <a:buFontTx/>
                <a:buNone/>
                <a:tabLst/>
                <a:defRPr/>
              </a:pPr>
              <a:r>
                <a:rPr kumimoji="0" lang="en-US" sz="1200" b="0" i="0" u="none" strike="noStrike" kern="0" cap="none" spc="0" normalizeH="0" baseline="0" noProof="0">
                  <a:ln>
                    <a:noFill/>
                  </a:ln>
                  <a:solidFill>
                    <a:prstClr val="white"/>
                  </a:solidFill>
                  <a:effectLst/>
                  <a:uLnTx/>
                  <a:uFillTx/>
                  <a:latin typeface="+mn-lt"/>
                  <a:ea typeface="+mn-ea"/>
                  <a:cs typeface="+mn-cs"/>
                  <a:sym typeface="+mn-lt"/>
                </a:rPr>
                <a:t>g</a:t>
              </a:r>
            </a:p>
          </p:txBody>
        </p:sp>
      </p:grpSp>
      <p:grpSp>
        <p:nvGrpSpPr>
          <p:cNvPr id="19" name="Group 18">
            <a:extLst>
              <a:ext uri="{FF2B5EF4-FFF2-40B4-BE49-F238E27FC236}">
                <a16:creationId xmlns:a16="http://schemas.microsoft.com/office/drawing/2014/main" id="{5903E39D-F847-4F1D-B0CD-42258F92C69F}"/>
              </a:ext>
            </a:extLst>
          </p:cNvPr>
          <p:cNvGrpSpPr/>
          <p:nvPr userDrawn="1"/>
        </p:nvGrpSpPr>
        <p:grpSpPr>
          <a:xfrm>
            <a:off x="0" y="6768738"/>
            <a:ext cx="12198348" cy="91440"/>
            <a:chOff x="0" y="6768738"/>
            <a:chExt cx="12198348" cy="91440"/>
          </a:xfrm>
        </p:grpSpPr>
        <p:sp>
          <p:nvSpPr>
            <p:cNvPr id="20" name="Rectangle 19">
              <a:extLst>
                <a:ext uri="{FF2B5EF4-FFF2-40B4-BE49-F238E27FC236}">
                  <a16:creationId xmlns:a16="http://schemas.microsoft.com/office/drawing/2014/main" id="{3F42D740-F646-4A44-8790-B7DC2BF8B3EC}"/>
                </a:ext>
              </a:extLst>
            </p:cNvPr>
            <p:cNvSpPr/>
            <p:nvPr userDrawn="1"/>
          </p:nvSpPr>
          <p:spPr>
            <a:xfrm>
              <a:off x="0" y="6814458"/>
              <a:ext cx="12198348" cy="45720"/>
            </a:xfrm>
            <a:prstGeom prst="rect">
              <a:avLst/>
            </a:prstGeom>
            <a:solidFill>
              <a:srgbClr val="B8D6AB"/>
            </a:solidFill>
            <a:ln w="9525" cap="rnd"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mn-lt"/>
                <a:ea typeface="+mn-ea"/>
                <a:cs typeface="+mn-cs"/>
                <a:sym typeface="+mn-lt"/>
              </a:endParaRPr>
            </a:p>
          </p:txBody>
        </p:sp>
        <p:sp>
          <p:nvSpPr>
            <p:cNvPr id="21" name="Rectangle 20">
              <a:extLst>
                <a:ext uri="{FF2B5EF4-FFF2-40B4-BE49-F238E27FC236}">
                  <a16:creationId xmlns:a16="http://schemas.microsoft.com/office/drawing/2014/main" id="{01CC8422-D213-4341-A6D9-38C8CB03C803}"/>
                </a:ext>
              </a:extLst>
            </p:cNvPr>
            <p:cNvSpPr/>
            <p:nvPr userDrawn="1"/>
          </p:nvSpPr>
          <p:spPr>
            <a:xfrm>
              <a:off x="0" y="6768738"/>
              <a:ext cx="12198348" cy="45720"/>
            </a:xfrm>
            <a:prstGeom prst="rect">
              <a:avLst/>
            </a:prstGeom>
            <a:solidFill>
              <a:srgbClr val="64A35A"/>
            </a:solidFill>
            <a:ln w="9525" cap="rnd"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mn-lt"/>
                <a:ea typeface="+mn-ea"/>
                <a:cs typeface="+mn-cs"/>
                <a:sym typeface="+mn-lt"/>
              </a:endParaRPr>
            </a:p>
          </p:txBody>
        </p:sp>
      </p:grpSp>
      <p:sp>
        <p:nvSpPr>
          <p:cNvPr id="22" name="TextBox 21">
            <a:extLst>
              <a:ext uri="{FF2B5EF4-FFF2-40B4-BE49-F238E27FC236}">
                <a16:creationId xmlns:a16="http://schemas.microsoft.com/office/drawing/2014/main" id="{047655C1-4DA8-48F6-A063-67241FC5AFFA}"/>
              </a:ext>
            </a:extLst>
          </p:cNvPr>
          <p:cNvSpPr txBox="1"/>
          <p:nvPr userDrawn="1"/>
        </p:nvSpPr>
        <p:spPr>
          <a:xfrm>
            <a:off x="630000" y="6369978"/>
            <a:ext cx="1878250" cy="170067"/>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04E2A"/>
                </a:solidFill>
                <a:effectLst/>
                <a:uLnTx/>
                <a:uFillTx/>
                <a:latin typeface="+mn-lt"/>
                <a:ea typeface="+mn-ea"/>
                <a:cs typeface="+mn-cs"/>
                <a:sym typeface="+mn-lt"/>
              </a:rPr>
              <a:t>www.vietcombank.com.vn</a:t>
            </a:r>
          </a:p>
        </p:txBody>
      </p:sp>
      <p:grpSp>
        <p:nvGrpSpPr>
          <p:cNvPr id="23" name="Group 22">
            <a:extLst>
              <a:ext uri="{FF2B5EF4-FFF2-40B4-BE49-F238E27FC236}">
                <a16:creationId xmlns:a16="http://schemas.microsoft.com/office/drawing/2014/main" id="{93165D5C-A7D7-406F-839E-92FD365239C8}"/>
              </a:ext>
            </a:extLst>
          </p:cNvPr>
          <p:cNvGrpSpPr/>
          <p:nvPr userDrawn="1"/>
        </p:nvGrpSpPr>
        <p:grpSpPr>
          <a:xfrm>
            <a:off x="630000" y="622800"/>
            <a:ext cx="4462732" cy="1884094"/>
            <a:chOff x="630000" y="622800"/>
            <a:chExt cx="1954766" cy="825271"/>
          </a:xfrm>
        </p:grpSpPr>
        <p:pic>
          <p:nvPicPr>
            <p:cNvPr id="24" name="Picture 54" descr="Image result for Vietcombank">
              <a:extLst>
                <a:ext uri="{FF2B5EF4-FFF2-40B4-BE49-F238E27FC236}">
                  <a16:creationId xmlns:a16="http://schemas.microsoft.com/office/drawing/2014/main" id="{FA9F5F49-E630-40E9-B764-2DA979629841}"/>
                </a:ext>
              </a:extLst>
            </p:cNvPr>
            <p:cNvPicPr>
              <a:picLocks noChangeAspect="1" noChangeArrowheads="1"/>
            </p:cNvPicPr>
            <p:nvPr userDrawn="1"/>
          </p:nvPicPr>
          <p:blipFill>
            <a:blip r:embed="rId5" cstate="print">
              <a:extLst>
                <a:ext uri="{28A0092B-C50C-407E-A947-70E740481C1C}">
                  <a14:useLocalDpi xmlns:a14="http://schemas.microsoft.com/office/drawing/2010/main"/>
                </a:ext>
              </a:extLst>
            </a:blip>
            <a:srcRect/>
            <a:stretch>
              <a:fillRect/>
            </a:stretch>
          </p:blipFill>
          <p:spPr bwMode="auto">
            <a:xfrm>
              <a:off x="630000" y="622800"/>
              <a:ext cx="1954766" cy="666248"/>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65" descr="Related image">
              <a:extLst>
                <a:ext uri="{FF2B5EF4-FFF2-40B4-BE49-F238E27FC236}">
                  <a16:creationId xmlns:a16="http://schemas.microsoft.com/office/drawing/2014/main" id="{CDF17B61-CFC7-4A3F-9339-B805B19EAA61}"/>
                </a:ext>
              </a:extLst>
            </p:cNvPr>
            <p:cNvPicPr>
              <a:picLocks noChangeAspect="1" noChangeArrowheads="1"/>
            </p:cNvPicPr>
            <p:nvPr userDrawn="1"/>
          </p:nvPicPr>
          <p:blipFill rotWithShape="1">
            <a:blip r:embed="rId6" cstate="print">
              <a:extLst>
                <a:ext uri="{28A0092B-C50C-407E-A947-70E740481C1C}">
                  <a14:useLocalDpi xmlns:a14="http://schemas.microsoft.com/office/drawing/2010/main"/>
                </a:ext>
              </a:extLst>
            </a:blip>
            <a:srcRect/>
            <a:stretch/>
          </p:blipFill>
          <p:spPr bwMode="auto">
            <a:xfrm>
              <a:off x="1269283" y="1317896"/>
              <a:ext cx="1315483" cy="130175"/>
            </a:xfrm>
            <a:prstGeom prst="rect">
              <a:avLst/>
            </a:prstGeom>
            <a:noFill/>
            <a:extLst>
              <a:ext uri="{909E8E84-426E-40DD-AFC4-6F175D3DCCD1}">
                <a14:hiddenFill xmlns:a14="http://schemas.microsoft.com/office/drawing/2010/main">
                  <a:solidFill>
                    <a:srgbClr val="FFFFFF"/>
                  </a:solidFill>
                </a14:hiddenFill>
              </a:ext>
            </a:extLst>
          </p:spPr>
        </p:pic>
      </p:grpSp>
      <p:sp>
        <p:nvSpPr>
          <p:cNvPr id="26" name="TextBox 25">
            <a:extLst>
              <a:ext uri="{FF2B5EF4-FFF2-40B4-BE49-F238E27FC236}">
                <a16:creationId xmlns:a16="http://schemas.microsoft.com/office/drawing/2014/main" id="{8F245861-8E98-414C-AC72-6321318634B8}"/>
              </a:ext>
            </a:extLst>
          </p:cNvPr>
          <p:cNvSpPr txBox="1"/>
          <p:nvPr userDrawn="1"/>
        </p:nvSpPr>
        <p:spPr>
          <a:xfrm>
            <a:off x="630000" y="3411995"/>
            <a:ext cx="4462732" cy="1751480"/>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5400" b="0" i="0" u="none" strike="noStrike" kern="0" cap="none" spc="0" normalizeH="0" baseline="0" noProof="0">
                <a:ln>
                  <a:noFill/>
                </a:ln>
                <a:solidFill>
                  <a:srgbClr val="000000"/>
                </a:solidFill>
                <a:effectLst/>
                <a:uLnTx/>
                <a:uFillTx/>
                <a:latin typeface="+mn-lt"/>
                <a:ea typeface="+mn-ea"/>
                <a:cs typeface="+mn-cs"/>
                <a:sym typeface="+mn-lt"/>
              </a:rPr>
              <a:t>Thank You</a:t>
            </a:r>
          </a:p>
        </p:txBody>
      </p:sp>
      <p:grpSp>
        <p:nvGrpSpPr>
          <p:cNvPr id="27" name="Group 26">
            <a:extLst>
              <a:ext uri="{FF2B5EF4-FFF2-40B4-BE49-F238E27FC236}">
                <a16:creationId xmlns:a16="http://schemas.microsoft.com/office/drawing/2014/main" id="{435D6EB0-4470-4AB7-8688-5A50E923C1E0}"/>
              </a:ext>
            </a:extLst>
          </p:cNvPr>
          <p:cNvGrpSpPr/>
          <p:nvPr userDrawn="1"/>
        </p:nvGrpSpPr>
        <p:grpSpPr>
          <a:xfrm>
            <a:off x="1508704" y="2918575"/>
            <a:ext cx="2705323" cy="914400"/>
            <a:chOff x="1911810" y="2918575"/>
            <a:chExt cx="2705323" cy="914400"/>
          </a:xfrm>
        </p:grpSpPr>
        <p:pic>
          <p:nvPicPr>
            <p:cNvPr id="28" name="Picture 27" descr="Diagram&#10;&#10;Description automatically generated">
              <a:extLst>
                <a:ext uri="{FF2B5EF4-FFF2-40B4-BE49-F238E27FC236}">
                  <a16:creationId xmlns:a16="http://schemas.microsoft.com/office/drawing/2014/main" id="{AC348C86-06AD-4577-9935-7C8B01C0DFE2}"/>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l="41793" t="2693" r="39762" b="65918"/>
            <a:stretch/>
          </p:blipFill>
          <p:spPr>
            <a:xfrm>
              <a:off x="1911810" y="2918575"/>
              <a:ext cx="955245" cy="914400"/>
            </a:xfrm>
            <a:prstGeom prst="rect">
              <a:avLst/>
            </a:prstGeom>
          </p:spPr>
        </p:pic>
        <p:sp>
          <p:nvSpPr>
            <p:cNvPr id="29" name="Freeform 5">
              <a:extLst>
                <a:ext uri="{FF2B5EF4-FFF2-40B4-BE49-F238E27FC236}">
                  <a16:creationId xmlns:a16="http://schemas.microsoft.com/office/drawing/2014/main" id="{F4E9A905-D58F-4A03-AD43-4856C0D91DF1}"/>
                </a:ext>
              </a:extLst>
            </p:cNvPr>
            <p:cNvSpPr>
              <a:spLocks noChangeAspect="1" noEditPoints="1"/>
            </p:cNvSpPr>
            <p:nvPr/>
          </p:nvSpPr>
          <p:spPr bwMode="auto">
            <a:xfrm>
              <a:off x="3285327" y="3101455"/>
              <a:ext cx="1331806" cy="548640"/>
            </a:xfrm>
            <a:custGeom>
              <a:avLst/>
              <a:gdLst>
                <a:gd name="T0" fmla="*/ 395 w 395"/>
                <a:gd name="T1" fmla="*/ 73 h 160"/>
                <a:gd name="T2" fmla="*/ 363 w 395"/>
                <a:gd name="T3" fmla="*/ 67 h 160"/>
                <a:gd name="T4" fmla="*/ 323 w 395"/>
                <a:gd name="T5" fmla="*/ 81 h 160"/>
                <a:gd name="T6" fmla="*/ 361 w 395"/>
                <a:gd name="T7" fmla="*/ 96 h 160"/>
                <a:gd name="T8" fmla="*/ 318 w 395"/>
                <a:gd name="T9" fmla="*/ 130 h 160"/>
                <a:gd name="T10" fmla="*/ 270 w 395"/>
                <a:gd name="T11" fmla="*/ 80 h 160"/>
                <a:gd name="T12" fmla="*/ 318 w 395"/>
                <a:gd name="T13" fmla="*/ 31 h 160"/>
                <a:gd name="T14" fmla="*/ 349 w 395"/>
                <a:gd name="T15" fmla="*/ 41 h 160"/>
                <a:gd name="T16" fmla="*/ 365 w 395"/>
                <a:gd name="T17" fmla="*/ 14 h 160"/>
                <a:gd name="T18" fmla="*/ 319 w 395"/>
                <a:gd name="T19" fmla="*/ 0 h 160"/>
                <a:gd name="T20" fmla="*/ 261 w 395"/>
                <a:gd name="T21" fmla="*/ 23 h 160"/>
                <a:gd name="T22" fmla="*/ 219 w 395"/>
                <a:gd name="T23" fmla="*/ 115 h 160"/>
                <a:gd name="T24" fmla="*/ 184 w 395"/>
                <a:gd name="T25" fmla="*/ 129 h 160"/>
                <a:gd name="T26" fmla="*/ 134 w 395"/>
                <a:gd name="T27" fmla="*/ 80 h 160"/>
                <a:gd name="T28" fmla="*/ 184 w 395"/>
                <a:gd name="T29" fmla="*/ 30 h 160"/>
                <a:gd name="T30" fmla="*/ 214 w 395"/>
                <a:gd name="T31" fmla="*/ 40 h 160"/>
                <a:gd name="T32" fmla="*/ 231 w 395"/>
                <a:gd name="T33" fmla="*/ 14 h 160"/>
                <a:gd name="T34" fmla="*/ 184 w 395"/>
                <a:gd name="T35" fmla="*/ 0 h 160"/>
                <a:gd name="T36" fmla="*/ 118 w 395"/>
                <a:gd name="T37" fmla="*/ 33 h 160"/>
                <a:gd name="T38" fmla="*/ 72 w 395"/>
                <a:gd name="T39" fmla="*/ 3 h 160"/>
                <a:gd name="T40" fmla="*/ 0 w 395"/>
                <a:gd name="T41" fmla="*/ 3 h 160"/>
                <a:gd name="T42" fmla="*/ 0 w 395"/>
                <a:gd name="T43" fmla="*/ 157 h 160"/>
                <a:gd name="T44" fmla="*/ 105 w 395"/>
                <a:gd name="T45" fmla="*/ 150 h 160"/>
                <a:gd name="T46" fmla="*/ 149 w 395"/>
                <a:gd name="T47" fmla="*/ 153 h 160"/>
                <a:gd name="T48" fmla="*/ 222 w 395"/>
                <a:gd name="T49" fmla="*/ 151 h 160"/>
                <a:gd name="T50" fmla="*/ 278 w 395"/>
                <a:gd name="T51" fmla="*/ 151 h 160"/>
                <a:gd name="T52" fmla="*/ 373 w 395"/>
                <a:gd name="T53" fmla="*/ 137 h 160"/>
                <a:gd name="T54" fmla="*/ 33 w 395"/>
                <a:gd name="T55" fmla="*/ 65 h 160"/>
                <a:gd name="T56" fmla="*/ 71 w 395"/>
                <a:gd name="T57" fmla="*/ 32 h 160"/>
                <a:gd name="T58" fmla="*/ 88 w 395"/>
                <a:gd name="T59" fmla="*/ 48 h 160"/>
                <a:gd name="T60" fmla="*/ 71 w 395"/>
                <a:gd name="T61" fmla="*/ 65 h 160"/>
                <a:gd name="T62" fmla="*/ 33 w 395"/>
                <a:gd name="T63" fmla="*/ 65 h 160"/>
                <a:gd name="T64" fmla="*/ 33 w 395"/>
                <a:gd name="T65" fmla="*/ 93 h 160"/>
                <a:gd name="T66" fmla="*/ 92 w 395"/>
                <a:gd name="T67" fmla="*/ 98 h 160"/>
                <a:gd name="T68" fmla="*/ 92 w 395"/>
                <a:gd name="T69" fmla="*/ 123 h 160"/>
                <a:gd name="T70" fmla="*/ 56 w 395"/>
                <a:gd name="T71" fmla="*/ 128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95" h="160">
                  <a:moveTo>
                    <a:pt x="395" y="80"/>
                  </a:moveTo>
                  <a:cubicBezTo>
                    <a:pt x="395" y="78"/>
                    <a:pt x="395" y="75"/>
                    <a:pt x="395" y="73"/>
                  </a:cubicBezTo>
                  <a:cubicBezTo>
                    <a:pt x="395" y="71"/>
                    <a:pt x="395" y="69"/>
                    <a:pt x="394" y="67"/>
                  </a:cubicBezTo>
                  <a:cubicBezTo>
                    <a:pt x="363" y="67"/>
                    <a:pt x="363" y="67"/>
                    <a:pt x="363" y="67"/>
                  </a:cubicBezTo>
                  <a:cubicBezTo>
                    <a:pt x="332" y="67"/>
                    <a:pt x="332" y="67"/>
                    <a:pt x="332" y="67"/>
                  </a:cubicBezTo>
                  <a:cubicBezTo>
                    <a:pt x="323" y="81"/>
                    <a:pt x="323" y="81"/>
                    <a:pt x="323" y="81"/>
                  </a:cubicBezTo>
                  <a:cubicBezTo>
                    <a:pt x="313" y="96"/>
                    <a:pt x="313" y="96"/>
                    <a:pt x="313" y="96"/>
                  </a:cubicBezTo>
                  <a:cubicBezTo>
                    <a:pt x="361" y="96"/>
                    <a:pt x="361" y="96"/>
                    <a:pt x="361" y="96"/>
                  </a:cubicBezTo>
                  <a:cubicBezTo>
                    <a:pt x="358" y="106"/>
                    <a:pt x="353" y="114"/>
                    <a:pt x="346" y="120"/>
                  </a:cubicBezTo>
                  <a:cubicBezTo>
                    <a:pt x="338" y="126"/>
                    <a:pt x="329" y="130"/>
                    <a:pt x="318" y="130"/>
                  </a:cubicBezTo>
                  <a:cubicBezTo>
                    <a:pt x="305" y="130"/>
                    <a:pt x="292" y="124"/>
                    <a:pt x="284" y="115"/>
                  </a:cubicBezTo>
                  <a:cubicBezTo>
                    <a:pt x="275" y="106"/>
                    <a:pt x="270" y="93"/>
                    <a:pt x="270" y="80"/>
                  </a:cubicBezTo>
                  <a:cubicBezTo>
                    <a:pt x="270" y="66"/>
                    <a:pt x="275" y="54"/>
                    <a:pt x="284" y="45"/>
                  </a:cubicBezTo>
                  <a:cubicBezTo>
                    <a:pt x="293" y="36"/>
                    <a:pt x="305" y="31"/>
                    <a:pt x="318" y="31"/>
                  </a:cubicBezTo>
                  <a:cubicBezTo>
                    <a:pt x="324" y="31"/>
                    <a:pt x="330" y="32"/>
                    <a:pt x="335" y="33"/>
                  </a:cubicBezTo>
                  <a:cubicBezTo>
                    <a:pt x="340" y="35"/>
                    <a:pt x="345" y="37"/>
                    <a:pt x="349" y="41"/>
                  </a:cubicBezTo>
                  <a:cubicBezTo>
                    <a:pt x="357" y="27"/>
                    <a:pt x="357" y="27"/>
                    <a:pt x="357" y="27"/>
                  </a:cubicBezTo>
                  <a:cubicBezTo>
                    <a:pt x="365" y="14"/>
                    <a:pt x="365" y="14"/>
                    <a:pt x="365" y="14"/>
                  </a:cubicBezTo>
                  <a:cubicBezTo>
                    <a:pt x="359" y="10"/>
                    <a:pt x="352" y="6"/>
                    <a:pt x="344" y="4"/>
                  </a:cubicBezTo>
                  <a:cubicBezTo>
                    <a:pt x="336" y="1"/>
                    <a:pt x="328" y="0"/>
                    <a:pt x="319" y="0"/>
                  </a:cubicBezTo>
                  <a:cubicBezTo>
                    <a:pt x="307" y="0"/>
                    <a:pt x="296" y="2"/>
                    <a:pt x="286" y="6"/>
                  </a:cubicBezTo>
                  <a:cubicBezTo>
                    <a:pt x="277" y="10"/>
                    <a:pt x="268" y="16"/>
                    <a:pt x="261" y="23"/>
                  </a:cubicBezTo>
                  <a:cubicBezTo>
                    <a:pt x="244" y="40"/>
                    <a:pt x="239" y="57"/>
                    <a:pt x="236" y="73"/>
                  </a:cubicBezTo>
                  <a:cubicBezTo>
                    <a:pt x="232" y="89"/>
                    <a:pt x="230" y="103"/>
                    <a:pt x="219" y="115"/>
                  </a:cubicBezTo>
                  <a:cubicBezTo>
                    <a:pt x="214" y="119"/>
                    <a:pt x="209" y="123"/>
                    <a:pt x="203" y="126"/>
                  </a:cubicBezTo>
                  <a:cubicBezTo>
                    <a:pt x="197" y="128"/>
                    <a:pt x="191" y="129"/>
                    <a:pt x="184" y="129"/>
                  </a:cubicBezTo>
                  <a:cubicBezTo>
                    <a:pt x="170" y="129"/>
                    <a:pt x="158" y="124"/>
                    <a:pt x="149" y="115"/>
                  </a:cubicBezTo>
                  <a:cubicBezTo>
                    <a:pt x="140" y="106"/>
                    <a:pt x="134" y="93"/>
                    <a:pt x="134" y="80"/>
                  </a:cubicBezTo>
                  <a:cubicBezTo>
                    <a:pt x="134" y="67"/>
                    <a:pt x="140" y="54"/>
                    <a:pt x="149" y="45"/>
                  </a:cubicBezTo>
                  <a:cubicBezTo>
                    <a:pt x="158" y="36"/>
                    <a:pt x="170" y="31"/>
                    <a:pt x="184" y="30"/>
                  </a:cubicBezTo>
                  <a:cubicBezTo>
                    <a:pt x="190" y="31"/>
                    <a:pt x="195" y="31"/>
                    <a:pt x="200" y="33"/>
                  </a:cubicBezTo>
                  <a:cubicBezTo>
                    <a:pt x="205" y="35"/>
                    <a:pt x="210" y="37"/>
                    <a:pt x="214" y="40"/>
                  </a:cubicBezTo>
                  <a:cubicBezTo>
                    <a:pt x="222" y="27"/>
                    <a:pt x="222" y="27"/>
                    <a:pt x="222" y="27"/>
                  </a:cubicBezTo>
                  <a:cubicBezTo>
                    <a:pt x="231" y="14"/>
                    <a:pt x="231" y="14"/>
                    <a:pt x="231" y="14"/>
                  </a:cubicBezTo>
                  <a:cubicBezTo>
                    <a:pt x="224" y="9"/>
                    <a:pt x="217" y="6"/>
                    <a:pt x="209" y="3"/>
                  </a:cubicBezTo>
                  <a:cubicBezTo>
                    <a:pt x="202" y="1"/>
                    <a:pt x="193" y="0"/>
                    <a:pt x="184" y="0"/>
                  </a:cubicBezTo>
                  <a:cubicBezTo>
                    <a:pt x="170" y="0"/>
                    <a:pt x="157" y="3"/>
                    <a:pt x="146" y="9"/>
                  </a:cubicBezTo>
                  <a:cubicBezTo>
                    <a:pt x="135" y="15"/>
                    <a:pt x="125" y="23"/>
                    <a:pt x="118" y="33"/>
                  </a:cubicBezTo>
                  <a:cubicBezTo>
                    <a:pt x="115" y="25"/>
                    <a:pt x="109" y="17"/>
                    <a:pt x="101" y="12"/>
                  </a:cubicBezTo>
                  <a:cubicBezTo>
                    <a:pt x="93" y="6"/>
                    <a:pt x="83" y="3"/>
                    <a:pt x="72" y="3"/>
                  </a:cubicBezTo>
                  <a:cubicBezTo>
                    <a:pt x="36" y="3"/>
                    <a:pt x="36" y="3"/>
                    <a:pt x="36" y="3"/>
                  </a:cubicBezTo>
                  <a:cubicBezTo>
                    <a:pt x="0" y="3"/>
                    <a:pt x="0" y="3"/>
                    <a:pt x="0" y="3"/>
                  </a:cubicBezTo>
                  <a:cubicBezTo>
                    <a:pt x="0" y="80"/>
                    <a:pt x="0" y="80"/>
                    <a:pt x="0" y="80"/>
                  </a:cubicBezTo>
                  <a:cubicBezTo>
                    <a:pt x="0" y="157"/>
                    <a:pt x="0" y="157"/>
                    <a:pt x="0" y="157"/>
                  </a:cubicBezTo>
                  <a:cubicBezTo>
                    <a:pt x="79" y="157"/>
                    <a:pt x="79" y="157"/>
                    <a:pt x="79" y="157"/>
                  </a:cubicBezTo>
                  <a:cubicBezTo>
                    <a:pt x="89" y="157"/>
                    <a:pt x="98" y="154"/>
                    <a:pt x="105" y="150"/>
                  </a:cubicBezTo>
                  <a:cubicBezTo>
                    <a:pt x="113" y="146"/>
                    <a:pt x="119" y="140"/>
                    <a:pt x="123" y="133"/>
                  </a:cubicBezTo>
                  <a:cubicBezTo>
                    <a:pt x="130" y="142"/>
                    <a:pt x="139" y="148"/>
                    <a:pt x="149" y="153"/>
                  </a:cubicBezTo>
                  <a:cubicBezTo>
                    <a:pt x="159" y="157"/>
                    <a:pt x="171" y="160"/>
                    <a:pt x="183" y="160"/>
                  </a:cubicBezTo>
                  <a:cubicBezTo>
                    <a:pt x="197" y="160"/>
                    <a:pt x="210" y="157"/>
                    <a:pt x="222" y="151"/>
                  </a:cubicBezTo>
                  <a:cubicBezTo>
                    <a:pt x="233" y="145"/>
                    <a:pt x="243" y="136"/>
                    <a:pt x="250" y="126"/>
                  </a:cubicBezTo>
                  <a:cubicBezTo>
                    <a:pt x="257" y="136"/>
                    <a:pt x="267" y="145"/>
                    <a:pt x="278" y="151"/>
                  </a:cubicBezTo>
                  <a:cubicBezTo>
                    <a:pt x="290" y="157"/>
                    <a:pt x="303" y="160"/>
                    <a:pt x="317" y="160"/>
                  </a:cubicBezTo>
                  <a:cubicBezTo>
                    <a:pt x="339" y="160"/>
                    <a:pt x="359" y="151"/>
                    <a:pt x="373" y="137"/>
                  </a:cubicBezTo>
                  <a:cubicBezTo>
                    <a:pt x="387" y="122"/>
                    <a:pt x="395" y="102"/>
                    <a:pt x="395" y="80"/>
                  </a:cubicBezTo>
                  <a:close/>
                  <a:moveTo>
                    <a:pt x="33" y="65"/>
                  </a:moveTo>
                  <a:cubicBezTo>
                    <a:pt x="33" y="32"/>
                    <a:pt x="33" y="32"/>
                    <a:pt x="33" y="32"/>
                  </a:cubicBezTo>
                  <a:cubicBezTo>
                    <a:pt x="71" y="32"/>
                    <a:pt x="71" y="32"/>
                    <a:pt x="71" y="32"/>
                  </a:cubicBezTo>
                  <a:cubicBezTo>
                    <a:pt x="76" y="32"/>
                    <a:pt x="80" y="34"/>
                    <a:pt x="83" y="36"/>
                  </a:cubicBezTo>
                  <a:cubicBezTo>
                    <a:pt x="86" y="39"/>
                    <a:pt x="88" y="44"/>
                    <a:pt x="88" y="48"/>
                  </a:cubicBezTo>
                  <a:cubicBezTo>
                    <a:pt x="88" y="53"/>
                    <a:pt x="86" y="57"/>
                    <a:pt x="83" y="60"/>
                  </a:cubicBezTo>
                  <a:cubicBezTo>
                    <a:pt x="80" y="64"/>
                    <a:pt x="76" y="65"/>
                    <a:pt x="71" y="65"/>
                  </a:cubicBezTo>
                  <a:cubicBezTo>
                    <a:pt x="52" y="65"/>
                    <a:pt x="52" y="65"/>
                    <a:pt x="52" y="65"/>
                  </a:cubicBezTo>
                  <a:cubicBezTo>
                    <a:pt x="33" y="65"/>
                    <a:pt x="33" y="65"/>
                    <a:pt x="33" y="65"/>
                  </a:cubicBezTo>
                  <a:close/>
                  <a:moveTo>
                    <a:pt x="33" y="128"/>
                  </a:moveTo>
                  <a:cubicBezTo>
                    <a:pt x="33" y="93"/>
                    <a:pt x="33" y="93"/>
                    <a:pt x="33" y="93"/>
                  </a:cubicBezTo>
                  <a:cubicBezTo>
                    <a:pt x="79" y="93"/>
                    <a:pt x="79" y="93"/>
                    <a:pt x="79" y="93"/>
                  </a:cubicBezTo>
                  <a:cubicBezTo>
                    <a:pt x="84" y="93"/>
                    <a:pt x="88" y="95"/>
                    <a:pt x="92" y="98"/>
                  </a:cubicBezTo>
                  <a:cubicBezTo>
                    <a:pt x="95" y="101"/>
                    <a:pt x="97" y="106"/>
                    <a:pt x="97" y="111"/>
                  </a:cubicBezTo>
                  <a:cubicBezTo>
                    <a:pt x="97" y="116"/>
                    <a:pt x="95" y="120"/>
                    <a:pt x="92" y="123"/>
                  </a:cubicBezTo>
                  <a:cubicBezTo>
                    <a:pt x="88" y="126"/>
                    <a:pt x="84" y="128"/>
                    <a:pt x="79" y="128"/>
                  </a:cubicBezTo>
                  <a:cubicBezTo>
                    <a:pt x="56" y="128"/>
                    <a:pt x="56" y="128"/>
                    <a:pt x="56" y="128"/>
                  </a:cubicBezTo>
                  <a:cubicBezTo>
                    <a:pt x="33" y="128"/>
                    <a:pt x="33" y="128"/>
                    <a:pt x="33" y="128"/>
                  </a:cubicBezTo>
                  <a:close/>
                </a:path>
              </a:pathLst>
            </a:custGeom>
            <a:solidFill>
              <a:srgbClr val="177B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grpSp>
    </p:spTree>
    <p:extLst>
      <p:ext uri="{BB962C8B-B14F-4D97-AF65-F5344CB8AC3E}">
        <p14:creationId xmlns:p14="http://schemas.microsoft.com/office/powerpoint/2010/main" val="28269665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userDrawn="1">
  <p:cSld name="1_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a:solidFill>
                <a:srgbClr val="FFFFFF"/>
              </a:solidFill>
              <a:latin typeface="+mn-lt"/>
              <a:ea typeface="+mn-ea"/>
              <a:cs typeface="+mn-cs"/>
              <a:sym typeface="Trebuchet MS" panose="020B0603020202020204" pitchFamily="34" charset="0"/>
            </a:endParaRPr>
          </a:p>
        </p:txBody>
      </p:sp>
      <p:pic>
        <p:nvPicPr>
          <p:cNvPr id="16" name="Picture 15" descr="Diagram&#10;&#10;Description automatically generated">
            <a:extLst>
              <a:ext uri="{FF2B5EF4-FFF2-40B4-BE49-F238E27FC236}">
                <a16:creationId xmlns:a16="http://schemas.microsoft.com/office/drawing/2014/main" id="{840166C5-E8A7-4369-BA53-1FA22B9BFAE1}"/>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8309718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2_D. 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308B5D5-CE6A-4172-9599-AC0DDC0C180C}"/>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C308B5D5-CE6A-4172-9599-AC0DDC0C180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3 by Boston Consulting Group. All rights reserved.</a:t>
            </a:r>
          </a:p>
        </p:txBody>
      </p:sp>
      <p:sp>
        <p:nvSpPr>
          <p:cNvPr id="8" name="Title 7"/>
          <p:cNvSpPr>
            <a:spLocks noGrp="1"/>
          </p:cNvSpPr>
          <p:nvPr>
            <p:ph type="title" hasCustomPrompt="1"/>
          </p:nvPr>
        </p:nvSpPr>
        <p:spPr>
          <a:xfrm>
            <a:off x="630000" y="622800"/>
            <a:ext cx="10933350" cy="332399"/>
          </a:xfrm>
        </p:spPr>
        <p:txBody>
          <a:bodyPr vert="horz"/>
          <a:lstStyle>
            <a:lvl1pPr>
              <a:defRPr>
                <a:latin typeface="+mj-lt"/>
                <a:ea typeface="+mj-ea"/>
                <a:cs typeface="+mj-cs"/>
                <a:sym typeface="Trebuchet MS" panose="020B0603020202020204" pitchFamily="34" charset="0"/>
              </a:defRPr>
            </a:lvl1pPr>
          </a:lstStyle>
          <a:p>
            <a:r>
              <a:rPr lang="en-US"/>
              <a:t>Click to add title</a:t>
            </a:r>
          </a:p>
        </p:txBody>
      </p:sp>
      <p:pic>
        <p:nvPicPr>
          <p:cNvPr id="9" name="Graphic 8">
            <a:extLst>
              <a:ext uri="{FF2B5EF4-FFF2-40B4-BE49-F238E27FC236}">
                <a16:creationId xmlns:a16="http://schemas.microsoft.com/office/drawing/2014/main" id="{EA47667D-B007-4F48-BCF4-15A4920D45B8}"/>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428018" y="6271005"/>
            <a:ext cx="498632" cy="517662"/>
          </a:xfrm>
          <a:prstGeom prst="rect">
            <a:avLst/>
          </a:prstGeom>
        </p:spPr>
      </p:pic>
    </p:spTree>
    <p:extLst>
      <p:ext uri="{BB962C8B-B14F-4D97-AF65-F5344CB8AC3E}">
        <p14:creationId xmlns:p14="http://schemas.microsoft.com/office/powerpoint/2010/main" val="39758946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2_D. Title and Tex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B8243C5-1977-4E9B-BCEB-FB7FA7E360DE}"/>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5" name="Object 4" hidden="1">
                        <a:extLst>
                          <a:ext uri="{FF2B5EF4-FFF2-40B4-BE49-F238E27FC236}">
                            <a16:creationId xmlns:a16="http://schemas.microsoft.com/office/drawing/2014/main" id="{3B8243C5-1977-4E9B-BCEB-FB7FA7E360D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vert="horz"/>
          <a:lstStyle>
            <a:lvl1pPr>
              <a:defRPr>
                <a:latin typeface="+mj-lt"/>
                <a:ea typeface="+mj-ea"/>
                <a:cs typeface="+mj-cs"/>
              </a:defRPr>
            </a:lvl1pPr>
          </a:lstStyle>
          <a:p>
            <a:r>
              <a:rPr lang="en-US"/>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atin typeface="+mn-lt"/>
                <a:ea typeface="+mn-ea"/>
                <a:cs typeface="+mn-cs"/>
              </a:defRPr>
            </a:lvl1pPr>
            <a:lvl2pPr>
              <a:lnSpc>
                <a:spcPct val="100000"/>
              </a:lnSpc>
              <a:spcBef>
                <a:spcPts val="0"/>
              </a:spcBef>
              <a:spcAft>
                <a:spcPts val="0"/>
              </a:spcAft>
              <a:defRPr>
                <a:latin typeface="+mn-lt"/>
                <a:ea typeface="+mn-ea"/>
                <a:cs typeface="+mn-cs"/>
              </a:defRPr>
            </a:lvl2pPr>
            <a:lvl3pPr>
              <a:lnSpc>
                <a:spcPct val="100000"/>
              </a:lnSpc>
              <a:spcBef>
                <a:spcPts val="0"/>
              </a:spcBef>
              <a:spcAft>
                <a:spcPts val="0"/>
              </a:spcAft>
              <a:defRPr>
                <a:latin typeface="+mn-lt"/>
                <a:ea typeface="+mn-ea"/>
                <a:cs typeface="+mn-cs"/>
              </a:defRPr>
            </a:lvl3pPr>
            <a:lvl4pPr>
              <a:lnSpc>
                <a:spcPct val="100000"/>
              </a:lnSpc>
              <a:spcBef>
                <a:spcPts val="0"/>
              </a:spcBef>
              <a:spcAft>
                <a:spcPts val="0"/>
              </a:spcAft>
              <a:defRPr>
                <a:latin typeface="+mn-lt"/>
                <a:ea typeface="+mn-ea"/>
                <a:cs typeface="+mn-cs"/>
              </a:defRPr>
            </a:lvl4pPr>
            <a:lvl5pPr>
              <a:lnSpc>
                <a:spcPct val="100000"/>
              </a:lnSpc>
              <a:spcBef>
                <a:spcPts val="0"/>
              </a:spcBef>
              <a:spcAft>
                <a:spcPts val="0"/>
              </a:spcAft>
              <a:defRPr>
                <a:latin typeface="+mn-lt"/>
                <a:ea typeface="+mn-ea"/>
                <a:cs typeface="+mn-cs"/>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3 by Boston Consulting Group. All rights reserved.</a:t>
            </a:r>
          </a:p>
        </p:txBody>
      </p:sp>
      <p:pic>
        <p:nvPicPr>
          <p:cNvPr id="7" name="Graphic 6">
            <a:extLst>
              <a:ext uri="{FF2B5EF4-FFF2-40B4-BE49-F238E27FC236}">
                <a16:creationId xmlns:a16="http://schemas.microsoft.com/office/drawing/2014/main" id="{A6FC2081-5E36-4422-8C5E-784D309F84BC}"/>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428018" y="6271005"/>
            <a:ext cx="498632" cy="517662"/>
          </a:xfrm>
          <a:prstGeom prst="rect">
            <a:avLst/>
          </a:prstGeom>
        </p:spPr>
      </p:pic>
    </p:spTree>
    <p:extLst>
      <p:ext uri="{BB962C8B-B14F-4D97-AF65-F5344CB8AC3E}">
        <p14:creationId xmlns:p14="http://schemas.microsoft.com/office/powerpoint/2010/main" val="26716780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Title Only">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8AFC886-5AC5-4758-9097-08BB21B48A8A}"/>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a:extLst>
                          <a:ext uri="{FF2B5EF4-FFF2-40B4-BE49-F238E27FC236}">
                            <a16:creationId xmlns:a16="http://schemas.microsoft.com/office/drawing/2014/main" id="{C8AFC886-5AC5-4758-9097-08BB21B48A8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3 by Boston Consulting Group. All rights reserved.</a:t>
            </a: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ea typeface="+mj-ea"/>
                <a:cs typeface="+mj-cs"/>
                <a:sym typeface="Trebuchet MS" panose="020B0603020202020204" pitchFamily="34" charset="0"/>
              </a:defRPr>
            </a:lvl1pPr>
          </a:lstStyle>
          <a:p>
            <a:pPr lvl="0"/>
            <a:r>
              <a:rPr lang="en-US"/>
              <a:t>Click to add title</a:t>
            </a:r>
          </a:p>
        </p:txBody>
      </p:sp>
      <p:pic>
        <p:nvPicPr>
          <p:cNvPr id="8" name="Graphic 7">
            <a:extLst>
              <a:ext uri="{FF2B5EF4-FFF2-40B4-BE49-F238E27FC236}">
                <a16:creationId xmlns:a16="http://schemas.microsoft.com/office/drawing/2014/main" id="{7654ED8D-7BE0-4546-B5D0-54061F8EA0D4}"/>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428018" y="6271005"/>
            <a:ext cx="498632" cy="517662"/>
          </a:xfrm>
          <a:prstGeom prst="rect">
            <a:avLst/>
          </a:prstGeom>
        </p:spPr>
      </p:pic>
    </p:spTree>
    <p:extLst>
      <p:ext uri="{BB962C8B-B14F-4D97-AF65-F5344CB8AC3E}">
        <p14:creationId xmlns:p14="http://schemas.microsoft.com/office/powerpoint/2010/main" val="42710749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userDrawn="1">
  <p:cSld name="2_D. Green left arrow">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B621046-ED60-4E65-AC39-F99A800D8AF5}"/>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FB621046-ED60-4E65-AC39-F99A800D8AF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rgbClr val="004E2A"/>
              </a:gs>
              <a:gs pos="100000">
                <a:srgbClr val="78B944"/>
              </a:gs>
            </a:gsLst>
            <a:lin ang="8100000" scaled="1"/>
          </a:gra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008C4F"/>
                </a:solidFill>
                <a:prstDash val="solid"/>
                <a:round/>
                <a:headEnd type="none" w="med" len="med"/>
                <a:tailEnd type="none" w="med" len="med"/>
              </a14:hiddenLine>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fontAlgn="base">
              <a:spcBef>
                <a:spcPct val="0"/>
              </a:spcBef>
              <a:spcAft>
                <a:spcPct val="0"/>
              </a:spcAft>
            </a:pPr>
            <a:endParaRPr lang="en-US" sz="1200" kern="0">
              <a:solidFill>
                <a:srgbClr val="FFFFFF"/>
              </a:solidFill>
              <a:latin typeface="+mn-lt"/>
              <a:ea typeface="+mn-ea"/>
              <a:cs typeface="+mn-cs"/>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vert="horz" anchor="ctr" anchorCtr="0">
            <a:noAutofit/>
          </a:bodyPr>
          <a:lstStyle>
            <a:lvl1pPr>
              <a:defRPr>
                <a:solidFill>
                  <a:srgbClr val="FFFFFF"/>
                </a:solidFill>
                <a:latin typeface="+mj-lt"/>
                <a:ea typeface="+mj-ea"/>
                <a:cs typeface="+mj-cs"/>
              </a:defRPr>
            </a:lvl1pPr>
          </a:lstStyle>
          <a:p>
            <a:r>
              <a:rPr lang="en-US"/>
              <a:t>Click to add title</a:t>
            </a: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3 by Boston Consulting Group.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pic>
        <p:nvPicPr>
          <p:cNvPr id="11" name="Graphic 10">
            <a:extLst>
              <a:ext uri="{FF2B5EF4-FFF2-40B4-BE49-F238E27FC236}">
                <a16:creationId xmlns:a16="http://schemas.microsoft.com/office/drawing/2014/main" id="{5E9A8F04-435B-49AB-9F48-BEDFEEE7CF80}"/>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428018" y="6271005"/>
            <a:ext cx="498632" cy="517662"/>
          </a:xfrm>
          <a:prstGeom prst="rect">
            <a:avLst/>
          </a:prstGeom>
        </p:spPr>
      </p:pic>
    </p:spTree>
    <p:extLst>
      <p:ext uri="{BB962C8B-B14F-4D97-AF65-F5344CB8AC3E}">
        <p14:creationId xmlns:p14="http://schemas.microsoft.com/office/powerpoint/2010/main" val="23016246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preserve="1" userDrawn="1">
  <p:cSld name="2_D. Green arrow one thir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CC8594D-7A00-4E04-AE75-22435AC62092}"/>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8CC8594D-7A00-4E04-AE75-22435AC6209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9" name="Pentagon 3"/>
          <p:cNvSpPr/>
          <p:nvPr userDrawn="1"/>
        </p:nvSpPr>
        <p:spPr bwMode="white">
          <a:xfrm>
            <a:off x="1" y="0"/>
            <a:ext cx="5426920" cy="6858000"/>
          </a:xfrm>
          <a:prstGeom prst="homePlate">
            <a:avLst>
              <a:gd name="adj" fmla="val 12939"/>
            </a:avLst>
          </a:prstGeom>
          <a:gradFill>
            <a:gsLst>
              <a:gs pos="0">
                <a:srgbClr val="004E2A"/>
              </a:gs>
              <a:gs pos="100000">
                <a:srgbClr val="78B944"/>
              </a:gs>
            </a:gsLst>
            <a:lin ang="8100000" scaled="1"/>
          </a:gra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008C4F"/>
                </a:solidFill>
                <a:prstDash val="solid"/>
                <a:round/>
                <a:headEnd type="none" w="med" len="med"/>
                <a:tailEnd type="none" w="med" len="med"/>
              </a14:hiddenLine>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fontAlgn="base">
              <a:spcBef>
                <a:spcPct val="0"/>
              </a:spcBef>
              <a:spcAft>
                <a:spcPct val="0"/>
              </a:spcAft>
            </a:pPr>
            <a:endParaRPr lang="en-US" sz="1200" kern="0">
              <a:solidFill>
                <a:srgbClr val="FFFFFF"/>
              </a:solidFill>
              <a:latin typeface="+mn-lt"/>
              <a:ea typeface="+mn-ea"/>
              <a:cs typeface="+mn-cs"/>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vert="horz" anchor="ctr">
            <a:noAutofit/>
          </a:bodyPr>
          <a:lstStyle>
            <a:lvl1pPr>
              <a:defRPr sz="4400" b="0">
                <a:solidFill>
                  <a:srgbClr val="FFFFFF"/>
                </a:solidFill>
                <a:latin typeface="+mj-lt"/>
                <a:ea typeface="+mj-ea"/>
                <a:cs typeface="+mj-cs"/>
                <a:sym typeface="Trebuchet MS" panose="020B0603020202020204" pitchFamily="34" charset="0"/>
              </a:defRPr>
            </a:lvl1pPr>
          </a:lstStyle>
          <a:p>
            <a:r>
              <a:rPr lang="en-US"/>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3 by Boston Consulting Group.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pic>
        <p:nvPicPr>
          <p:cNvPr id="11" name="Graphic 10">
            <a:extLst>
              <a:ext uri="{FF2B5EF4-FFF2-40B4-BE49-F238E27FC236}">
                <a16:creationId xmlns:a16="http://schemas.microsoft.com/office/drawing/2014/main" id="{1FFEA053-AA7F-4306-87CC-86CF132F9C5C}"/>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428018" y="6271005"/>
            <a:ext cx="498632" cy="517662"/>
          </a:xfrm>
          <a:prstGeom prst="rect">
            <a:avLst/>
          </a:prstGeom>
        </p:spPr>
      </p:pic>
    </p:spTree>
    <p:extLst>
      <p:ext uri="{BB962C8B-B14F-4D97-AF65-F5344CB8AC3E}">
        <p14:creationId xmlns:p14="http://schemas.microsoft.com/office/powerpoint/2010/main" val="35077550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preserve="1" userDrawn="1">
  <p:cSld name="2_D. Green arrow half">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CEBDADB-CDD1-4644-B05C-BADB21575A56}"/>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a:extLst>
                          <a:ext uri="{FF2B5EF4-FFF2-40B4-BE49-F238E27FC236}">
                            <a16:creationId xmlns:a16="http://schemas.microsoft.com/office/drawing/2014/main" id="{5CEBDADB-CDD1-4644-B05C-BADB21575A5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entagon 8"/>
          <p:cNvSpPr/>
          <p:nvPr/>
        </p:nvSpPr>
        <p:spPr bwMode="white">
          <a:xfrm>
            <a:off x="0" y="0"/>
            <a:ext cx="6363546" cy="6858000"/>
          </a:xfrm>
          <a:prstGeom prst="homePlate">
            <a:avLst>
              <a:gd name="adj" fmla="val 12939"/>
            </a:avLst>
          </a:prstGeom>
          <a:gradFill>
            <a:gsLst>
              <a:gs pos="0">
                <a:srgbClr val="004E2A"/>
              </a:gs>
              <a:gs pos="100000">
                <a:srgbClr val="78B944"/>
              </a:gs>
            </a:gsLst>
            <a:lin ang="8100000" scaled="1"/>
          </a:gra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008C4F"/>
                </a:solidFill>
                <a:prstDash val="solid"/>
                <a:round/>
                <a:headEnd type="none" w="med" len="med"/>
                <a:tailEnd type="none" w="med" len="med"/>
              </a14:hiddenLine>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fontAlgn="base">
              <a:spcBef>
                <a:spcPct val="0"/>
              </a:spcBef>
              <a:spcAft>
                <a:spcPct val="0"/>
              </a:spcAft>
            </a:pPr>
            <a:endParaRPr lang="en-US" sz="1200" kern="0">
              <a:solidFill>
                <a:srgbClr val="FFFFFF"/>
              </a:solidFill>
              <a:latin typeface="+mn-lt"/>
              <a:ea typeface="+mn-ea"/>
              <a:cs typeface="+mn-cs"/>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vert="horz"/>
          <a:lstStyle>
            <a:lvl1pPr>
              <a:defRPr>
                <a:solidFill>
                  <a:srgbClr val="FFFFFF"/>
                </a:solidFill>
                <a:latin typeface="+mj-lt"/>
                <a:ea typeface="+mj-ea"/>
                <a:cs typeface="+mj-cs"/>
                <a:sym typeface="Trebuchet MS" panose="020B0603020202020204" pitchFamily="34" charset="0"/>
              </a:defRPr>
            </a:lvl1pPr>
          </a:lstStyle>
          <a:p>
            <a:r>
              <a:rPr lang="en-US"/>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3 by Boston Consulting Group. All rights reserved.</a:t>
            </a:r>
          </a:p>
        </p:txBody>
      </p:sp>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pic>
        <p:nvPicPr>
          <p:cNvPr id="12" name="Graphic 11">
            <a:extLst>
              <a:ext uri="{FF2B5EF4-FFF2-40B4-BE49-F238E27FC236}">
                <a16:creationId xmlns:a16="http://schemas.microsoft.com/office/drawing/2014/main" id="{F888D64E-5E13-4456-90AA-FAC596F41CE2}"/>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428018" y="6271005"/>
            <a:ext cx="498632" cy="517662"/>
          </a:xfrm>
          <a:prstGeom prst="rect">
            <a:avLst/>
          </a:prstGeom>
        </p:spPr>
      </p:pic>
    </p:spTree>
    <p:extLst>
      <p:ext uri="{BB962C8B-B14F-4D97-AF65-F5344CB8AC3E}">
        <p14:creationId xmlns:p14="http://schemas.microsoft.com/office/powerpoint/2010/main" val="34414940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userDrawn="1">
  <p:cSld name="2_D. Green arrow two thir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AC31678-2AEA-49FE-889E-2C10C57607E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a:extLst>
                          <a:ext uri="{FF2B5EF4-FFF2-40B4-BE49-F238E27FC236}">
                            <a16:creationId xmlns:a16="http://schemas.microsoft.com/office/drawing/2014/main" id="{6AC31678-2AEA-49FE-889E-2C10C57607E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rgbClr val="004E2A"/>
              </a:gs>
              <a:gs pos="100000">
                <a:srgbClr val="78B944"/>
              </a:gs>
            </a:gsLst>
            <a:lin ang="8100000" scaled="1"/>
          </a:gra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008C4F"/>
                </a:solidFill>
                <a:prstDash val="solid"/>
                <a:round/>
                <a:headEnd type="none" w="med" len="med"/>
                <a:tailEnd type="none" w="med" len="med"/>
              </a14:hiddenLine>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fontAlgn="base">
              <a:spcBef>
                <a:spcPct val="0"/>
              </a:spcBef>
              <a:spcAft>
                <a:spcPct val="0"/>
              </a:spcAft>
            </a:pPr>
            <a:endParaRPr lang="en-US" sz="1200" kern="0">
              <a:solidFill>
                <a:srgbClr val="FFFFFF"/>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vert="horz"/>
          <a:lstStyle>
            <a:lvl1pPr>
              <a:defRPr>
                <a:solidFill>
                  <a:srgbClr val="FFFFFF"/>
                </a:solidFill>
                <a:latin typeface="+mj-lt"/>
                <a:ea typeface="+mj-ea"/>
                <a:cs typeface="+mj-cs"/>
                <a:sym typeface="Trebuchet MS" panose="020B0603020202020204" pitchFamily="34" charset="0"/>
              </a:defRPr>
            </a:lvl1pPr>
          </a:lstStyle>
          <a:p>
            <a:r>
              <a:rPr lang="en-US"/>
              <a:t>Click to add title</a:t>
            </a: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3 by Boston Consulting Group.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pic>
        <p:nvPicPr>
          <p:cNvPr id="11" name="Graphic 10">
            <a:extLst>
              <a:ext uri="{FF2B5EF4-FFF2-40B4-BE49-F238E27FC236}">
                <a16:creationId xmlns:a16="http://schemas.microsoft.com/office/drawing/2014/main" id="{3D99ACF5-E947-45F9-8831-DD9C380CE8C4}"/>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428018" y="6271005"/>
            <a:ext cx="498632" cy="517662"/>
          </a:xfrm>
          <a:prstGeom prst="rect">
            <a:avLst/>
          </a:prstGeom>
        </p:spPr>
      </p:pic>
    </p:spTree>
    <p:extLst>
      <p:ext uri="{BB962C8B-B14F-4D97-AF65-F5344CB8AC3E}">
        <p14:creationId xmlns:p14="http://schemas.microsoft.com/office/powerpoint/2010/main" val="6229159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preserve="1" userDrawn="1">
  <p:cSld name="1_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78B944"/>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ea typeface="+mn-ea"/>
              <a:cs typeface="+mn-cs"/>
              <a:sym typeface="Trebuchet MS" panose="020B0603020202020204" pitchFamily="34" charset="0"/>
            </a:endParaRPr>
          </a:p>
        </p:txBody>
      </p:sp>
      <p:pic>
        <p:nvPicPr>
          <p:cNvPr id="8" name="Graphic 7">
            <a:extLst>
              <a:ext uri="{FF2B5EF4-FFF2-40B4-BE49-F238E27FC236}">
                <a16:creationId xmlns:a16="http://schemas.microsoft.com/office/drawing/2014/main" id="{23F0CE0F-3982-4650-8CE2-26018FA20232}"/>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428018" y="6271005"/>
            <a:ext cx="498632" cy="517662"/>
          </a:xfrm>
          <a:prstGeom prst="rect">
            <a:avLst/>
          </a:prstGeom>
        </p:spPr>
      </p:pic>
    </p:spTree>
    <p:extLst>
      <p:ext uri="{BB962C8B-B14F-4D97-AF65-F5344CB8AC3E}">
        <p14:creationId xmlns:p14="http://schemas.microsoft.com/office/powerpoint/2010/main" val="8060893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type="blank" preserve="1">
  <p:cSld name="1_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grpSp>
        <p:nvGrpSpPr>
          <p:cNvPr id="7" name="Group 6">
            <a:extLst>
              <a:ext uri="{FF2B5EF4-FFF2-40B4-BE49-F238E27FC236}">
                <a16:creationId xmlns:a16="http://schemas.microsoft.com/office/drawing/2014/main" id="{7A62D01E-9E87-468C-AD27-C7158D22EB56}"/>
              </a:ext>
            </a:extLst>
          </p:cNvPr>
          <p:cNvGrpSpPr/>
          <p:nvPr userDrawn="1"/>
        </p:nvGrpSpPr>
        <p:grpSpPr>
          <a:xfrm>
            <a:off x="5986458" y="-12701"/>
            <a:ext cx="6211891" cy="6737351"/>
            <a:chOff x="5973758" y="-12700"/>
            <a:chExt cx="6211891" cy="6858000"/>
          </a:xfrm>
        </p:grpSpPr>
        <p:sp>
          <p:nvSpPr>
            <p:cNvPr id="11" name="Freeform 3">
              <a:extLst>
                <a:ext uri="{FF2B5EF4-FFF2-40B4-BE49-F238E27FC236}">
                  <a16:creationId xmlns:a16="http://schemas.microsoft.com/office/drawing/2014/main" id="{34EB357D-6B43-47A0-A553-6F9986B894CB}"/>
                </a:ext>
              </a:extLst>
            </p:cNvPr>
            <p:cNvSpPr/>
            <p:nvPr userDrawn="1"/>
          </p:nvSpPr>
          <p:spPr>
            <a:xfrm>
              <a:off x="7466628" y="0"/>
              <a:ext cx="4719021" cy="6845300"/>
            </a:xfrm>
            <a:custGeom>
              <a:avLst/>
              <a:gdLst>
                <a:gd name="connsiteX0" fmla="*/ 1123950 w 6781800"/>
                <a:gd name="connsiteY0" fmla="*/ 0 h 6838950"/>
                <a:gd name="connsiteX1" fmla="*/ 6781800 w 6781800"/>
                <a:gd name="connsiteY1" fmla="*/ 0 h 6838950"/>
                <a:gd name="connsiteX2" fmla="*/ 6781800 w 6781800"/>
                <a:gd name="connsiteY2" fmla="*/ 6838950 h 6838950"/>
                <a:gd name="connsiteX3" fmla="*/ 342900 w 6781800"/>
                <a:gd name="connsiteY3" fmla="*/ 6838950 h 6838950"/>
                <a:gd name="connsiteX4" fmla="*/ 0 w 6781800"/>
                <a:gd name="connsiteY4" fmla="*/ 4705350 h 6838950"/>
                <a:gd name="connsiteX5" fmla="*/ 419100 w 6781800"/>
                <a:gd name="connsiteY5" fmla="*/ 2152650 h 6838950"/>
                <a:gd name="connsiteX6" fmla="*/ 1123950 w 6781800"/>
                <a:gd name="connsiteY6" fmla="*/ 0 h 6838950"/>
                <a:gd name="connsiteX0" fmla="*/ 1215746 w 6873596"/>
                <a:gd name="connsiteY0" fmla="*/ 0 h 6838950"/>
                <a:gd name="connsiteX1" fmla="*/ 6873596 w 6873596"/>
                <a:gd name="connsiteY1" fmla="*/ 0 h 6838950"/>
                <a:gd name="connsiteX2" fmla="*/ 6873596 w 6873596"/>
                <a:gd name="connsiteY2" fmla="*/ 6838950 h 6838950"/>
                <a:gd name="connsiteX3" fmla="*/ 434696 w 6873596"/>
                <a:gd name="connsiteY3" fmla="*/ 6838950 h 6838950"/>
                <a:gd name="connsiteX4" fmla="*/ 91796 w 6873596"/>
                <a:gd name="connsiteY4" fmla="*/ 4705350 h 6838950"/>
                <a:gd name="connsiteX5" fmla="*/ 510896 w 6873596"/>
                <a:gd name="connsiteY5" fmla="*/ 2152650 h 6838950"/>
                <a:gd name="connsiteX6" fmla="*/ 1215746 w 6873596"/>
                <a:gd name="connsiteY6" fmla="*/ 0 h 6838950"/>
                <a:gd name="connsiteX0" fmla="*/ 1234581 w 6892431"/>
                <a:gd name="connsiteY0" fmla="*/ 0 h 6838950"/>
                <a:gd name="connsiteX1" fmla="*/ 6892431 w 6892431"/>
                <a:gd name="connsiteY1" fmla="*/ 0 h 6838950"/>
                <a:gd name="connsiteX2" fmla="*/ 6892431 w 6892431"/>
                <a:gd name="connsiteY2" fmla="*/ 6838950 h 6838950"/>
                <a:gd name="connsiteX3" fmla="*/ 453531 w 6892431"/>
                <a:gd name="connsiteY3" fmla="*/ 6838950 h 6838950"/>
                <a:gd name="connsiteX4" fmla="*/ 110631 w 6892431"/>
                <a:gd name="connsiteY4" fmla="*/ 4705350 h 6838950"/>
                <a:gd name="connsiteX5" fmla="*/ 529731 w 6892431"/>
                <a:gd name="connsiteY5" fmla="*/ 2152650 h 6838950"/>
                <a:gd name="connsiteX6" fmla="*/ 1234581 w 6892431"/>
                <a:gd name="connsiteY6" fmla="*/ 0 h 6838950"/>
                <a:gd name="connsiteX0" fmla="*/ 1254804 w 6912654"/>
                <a:gd name="connsiteY0" fmla="*/ 0 h 6838950"/>
                <a:gd name="connsiteX1" fmla="*/ 6912654 w 6912654"/>
                <a:gd name="connsiteY1" fmla="*/ 0 h 6838950"/>
                <a:gd name="connsiteX2" fmla="*/ 6912654 w 6912654"/>
                <a:gd name="connsiteY2" fmla="*/ 6838950 h 6838950"/>
                <a:gd name="connsiteX3" fmla="*/ 473754 w 6912654"/>
                <a:gd name="connsiteY3" fmla="*/ 6838950 h 6838950"/>
                <a:gd name="connsiteX4" fmla="*/ 130854 w 6912654"/>
                <a:gd name="connsiteY4" fmla="*/ 4705350 h 6838950"/>
                <a:gd name="connsiteX5" fmla="*/ 549954 w 6912654"/>
                <a:gd name="connsiteY5" fmla="*/ 2152650 h 6838950"/>
                <a:gd name="connsiteX6" fmla="*/ 1254804 w 6912654"/>
                <a:gd name="connsiteY6" fmla="*/ 0 h 6838950"/>
                <a:gd name="connsiteX0" fmla="*/ 1211631 w 6869481"/>
                <a:gd name="connsiteY0" fmla="*/ 0 h 6838950"/>
                <a:gd name="connsiteX1" fmla="*/ 6869481 w 6869481"/>
                <a:gd name="connsiteY1" fmla="*/ 0 h 6838950"/>
                <a:gd name="connsiteX2" fmla="*/ 6869481 w 6869481"/>
                <a:gd name="connsiteY2" fmla="*/ 6838950 h 6838950"/>
                <a:gd name="connsiteX3" fmla="*/ 430581 w 6869481"/>
                <a:gd name="connsiteY3" fmla="*/ 6838950 h 6838950"/>
                <a:gd name="connsiteX4" fmla="*/ 87681 w 6869481"/>
                <a:gd name="connsiteY4" fmla="*/ 4705350 h 6838950"/>
                <a:gd name="connsiteX5" fmla="*/ 506781 w 6869481"/>
                <a:gd name="connsiteY5" fmla="*/ 2152650 h 6838950"/>
                <a:gd name="connsiteX6" fmla="*/ 1211631 w 6869481"/>
                <a:gd name="connsiteY6" fmla="*/ 0 h 6838950"/>
                <a:gd name="connsiteX0" fmla="*/ 1225365 w 6883215"/>
                <a:gd name="connsiteY0" fmla="*/ 0 h 6838950"/>
                <a:gd name="connsiteX1" fmla="*/ 6883215 w 6883215"/>
                <a:gd name="connsiteY1" fmla="*/ 0 h 6838950"/>
                <a:gd name="connsiteX2" fmla="*/ 6883215 w 6883215"/>
                <a:gd name="connsiteY2" fmla="*/ 6838950 h 6838950"/>
                <a:gd name="connsiteX3" fmla="*/ 444315 w 6883215"/>
                <a:gd name="connsiteY3" fmla="*/ 6838950 h 6838950"/>
                <a:gd name="connsiteX4" fmla="*/ 101415 w 6883215"/>
                <a:gd name="connsiteY4" fmla="*/ 4705350 h 6838950"/>
                <a:gd name="connsiteX5" fmla="*/ 520515 w 6883215"/>
                <a:gd name="connsiteY5" fmla="*/ 2152650 h 6838950"/>
                <a:gd name="connsiteX6" fmla="*/ 1225365 w 6883215"/>
                <a:gd name="connsiteY6" fmla="*/ 0 h 6838950"/>
                <a:gd name="connsiteX0" fmla="*/ 1229999 w 6887849"/>
                <a:gd name="connsiteY0" fmla="*/ 0 h 6838950"/>
                <a:gd name="connsiteX1" fmla="*/ 6887849 w 6887849"/>
                <a:gd name="connsiteY1" fmla="*/ 0 h 6838950"/>
                <a:gd name="connsiteX2" fmla="*/ 6887849 w 6887849"/>
                <a:gd name="connsiteY2" fmla="*/ 6838950 h 6838950"/>
                <a:gd name="connsiteX3" fmla="*/ 448949 w 6887849"/>
                <a:gd name="connsiteY3" fmla="*/ 6838950 h 6838950"/>
                <a:gd name="connsiteX4" fmla="*/ 106049 w 6887849"/>
                <a:gd name="connsiteY4" fmla="*/ 4705350 h 6838950"/>
                <a:gd name="connsiteX5" fmla="*/ 525149 w 6887849"/>
                <a:gd name="connsiteY5" fmla="*/ 2152650 h 6838950"/>
                <a:gd name="connsiteX6" fmla="*/ 1229999 w 6887849"/>
                <a:gd name="connsiteY6" fmla="*/ 0 h 6838950"/>
                <a:gd name="connsiteX0" fmla="*/ 1238263 w 6896113"/>
                <a:gd name="connsiteY0" fmla="*/ 0 h 6838950"/>
                <a:gd name="connsiteX1" fmla="*/ 6896113 w 6896113"/>
                <a:gd name="connsiteY1" fmla="*/ 0 h 6838950"/>
                <a:gd name="connsiteX2" fmla="*/ 6896113 w 6896113"/>
                <a:gd name="connsiteY2" fmla="*/ 6838950 h 6838950"/>
                <a:gd name="connsiteX3" fmla="*/ 457213 w 6896113"/>
                <a:gd name="connsiteY3" fmla="*/ 6838950 h 6838950"/>
                <a:gd name="connsiteX4" fmla="*/ 114313 w 6896113"/>
                <a:gd name="connsiteY4" fmla="*/ 4705350 h 6838950"/>
                <a:gd name="connsiteX5" fmla="*/ 533413 w 6896113"/>
                <a:gd name="connsiteY5" fmla="*/ 2152650 h 6838950"/>
                <a:gd name="connsiteX6" fmla="*/ 1238263 w 6896113"/>
                <a:gd name="connsiteY6" fmla="*/ 0 h 6838950"/>
                <a:gd name="connsiteX0" fmla="*/ 1962216 w 6896113"/>
                <a:gd name="connsiteY0" fmla="*/ 0 h 6838950"/>
                <a:gd name="connsiteX1" fmla="*/ 6896113 w 6896113"/>
                <a:gd name="connsiteY1" fmla="*/ 0 h 6838950"/>
                <a:gd name="connsiteX2" fmla="*/ 6896113 w 6896113"/>
                <a:gd name="connsiteY2" fmla="*/ 6838950 h 6838950"/>
                <a:gd name="connsiteX3" fmla="*/ 457213 w 6896113"/>
                <a:gd name="connsiteY3" fmla="*/ 6838950 h 6838950"/>
                <a:gd name="connsiteX4" fmla="*/ 114313 w 6896113"/>
                <a:gd name="connsiteY4" fmla="*/ 4705350 h 6838950"/>
                <a:gd name="connsiteX5" fmla="*/ 533413 w 6896113"/>
                <a:gd name="connsiteY5" fmla="*/ 2152650 h 6838950"/>
                <a:gd name="connsiteX6" fmla="*/ 1962216 w 6896113"/>
                <a:gd name="connsiteY6" fmla="*/ 0 h 6838950"/>
                <a:gd name="connsiteX0" fmla="*/ 1925356 w 6859253"/>
                <a:gd name="connsiteY0" fmla="*/ 0 h 6838950"/>
                <a:gd name="connsiteX1" fmla="*/ 6859253 w 6859253"/>
                <a:gd name="connsiteY1" fmla="*/ 0 h 6838950"/>
                <a:gd name="connsiteX2" fmla="*/ 6859253 w 6859253"/>
                <a:gd name="connsiteY2" fmla="*/ 6838950 h 6838950"/>
                <a:gd name="connsiteX3" fmla="*/ 420353 w 6859253"/>
                <a:gd name="connsiteY3" fmla="*/ 6838950 h 6838950"/>
                <a:gd name="connsiteX4" fmla="*/ 77453 w 6859253"/>
                <a:gd name="connsiteY4" fmla="*/ 4705350 h 6838950"/>
                <a:gd name="connsiteX5" fmla="*/ 682182 w 6859253"/>
                <a:gd name="connsiteY5" fmla="*/ 2216091 h 6838950"/>
                <a:gd name="connsiteX6" fmla="*/ 1925356 w 6859253"/>
                <a:gd name="connsiteY6" fmla="*/ 0 h 6838950"/>
                <a:gd name="connsiteX0" fmla="*/ 1963636 w 6897533"/>
                <a:gd name="connsiteY0" fmla="*/ 0 h 6838950"/>
                <a:gd name="connsiteX1" fmla="*/ 6897533 w 6897533"/>
                <a:gd name="connsiteY1" fmla="*/ 0 h 6838950"/>
                <a:gd name="connsiteX2" fmla="*/ 6897533 w 6897533"/>
                <a:gd name="connsiteY2" fmla="*/ 6838950 h 6838950"/>
                <a:gd name="connsiteX3" fmla="*/ 458633 w 6897533"/>
                <a:gd name="connsiteY3" fmla="*/ 6838950 h 6838950"/>
                <a:gd name="connsiteX4" fmla="*/ 115733 w 6897533"/>
                <a:gd name="connsiteY4" fmla="*/ 4705350 h 6838950"/>
                <a:gd name="connsiteX5" fmla="*/ 720462 w 6897533"/>
                <a:gd name="connsiteY5" fmla="*/ 2216091 h 6838950"/>
                <a:gd name="connsiteX6" fmla="*/ 1963636 w 6897533"/>
                <a:gd name="connsiteY6" fmla="*/ 0 h 6838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897533" h="6838950">
                  <a:moveTo>
                    <a:pt x="1963636" y="0"/>
                  </a:moveTo>
                  <a:lnTo>
                    <a:pt x="6897533" y="0"/>
                  </a:lnTo>
                  <a:lnTo>
                    <a:pt x="6897533" y="6838950"/>
                  </a:lnTo>
                  <a:lnTo>
                    <a:pt x="458633" y="6838950"/>
                  </a:lnTo>
                  <a:lnTo>
                    <a:pt x="115733" y="4705350"/>
                  </a:lnTo>
                  <a:cubicBezTo>
                    <a:pt x="-102707" y="3471316"/>
                    <a:pt x="-68712" y="3864660"/>
                    <a:pt x="720462" y="2216091"/>
                  </a:cubicBezTo>
                  <a:lnTo>
                    <a:pt x="1963636" y="0"/>
                  </a:lnTo>
                  <a:close/>
                </a:path>
              </a:pathLst>
            </a:custGeom>
            <a:gradFill>
              <a:gsLst>
                <a:gs pos="0">
                  <a:srgbClr val="004E2A"/>
                </a:gs>
                <a:gs pos="100000">
                  <a:srgbClr val="78B944"/>
                </a:gs>
              </a:gsLst>
              <a:lin ang="8100000" scaled="1"/>
            </a:gradFill>
            <a:ln w="10795" cap="flat" cmpd="sng" algn="ctr">
              <a:noFill/>
              <a:prstDash val="solid"/>
            </a:ln>
            <a:effectLst/>
          </p:spPr>
          <p:txBody>
            <a:bodyPr wrap="square" rtlCol="0" anchor="t">
              <a:noAutofit/>
            </a:bodyPr>
            <a:lstStyle/>
            <a:p>
              <a:pPr marL="0" marR="0" lvl="0" indent="0" defTabSz="914400" eaLnBrk="1" fontAlgn="auto" latinLnBrk="0" hangingPunct="1">
                <a:lnSpc>
                  <a:spcPct val="90000"/>
                </a:lnSpc>
                <a:spcBef>
                  <a:spcPts val="0"/>
                </a:spcBef>
                <a:spcAft>
                  <a:spcPts val="1000"/>
                </a:spcAft>
                <a:buClrTx/>
                <a:buSzTx/>
                <a:buFontTx/>
                <a:buNone/>
                <a:tabLst/>
                <a:defRPr/>
              </a:pPr>
              <a:endParaRPr kumimoji="0" lang="en-US" sz="1200" b="0" i="0" u="none" strike="noStrike" kern="0" cap="none" spc="0" normalizeH="0" baseline="0" noProof="0">
                <a:ln>
                  <a:noFill/>
                </a:ln>
                <a:solidFill>
                  <a:prstClr val="white"/>
                </a:solidFill>
                <a:effectLst/>
                <a:uLnTx/>
                <a:uFillTx/>
                <a:latin typeface="+mn-lt"/>
                <a:ea typeface="+mn-ea"/>
                <a:cs typeface="+mn-cs"/>
                <a:sym typeface="+mn-lt"/>
              </a:endParaRPr>
            </a:p>
          </p:txBody>
        </p:sp>
        <p:grpSp>
          <p:nvGrpSpPr>
            <p:cNvPr id="12" name="Group 11">
              <a:extLst>
                <a:ext uri="{FF2B5EF4-FFF2-40B4-BE49-F238E27FC236}">
                  <a16:creationId xmlns:a16="http://schemas.microsoft.com/office/drawing/2014/main" id="{A3BFBFCE-5243-4C8D-85D7-4A604CA34687}"/>
                </a:ext>
              </a:extLst>
            </p:cNvPr>
            <p:cNvGrpSpPr/>
            <p:nvPr userDrawn="1"/>
          </p:nvGrpSpPr>
          <p:grpSpPr>
            <a:xfrm>
              <a:off x="7658563" y="0"/>
              <a:ext cx="1292932" cy="6835882"/>
              <a:chOff x="5613863" y="0"/>
              <a:chExt cx="1292932" cy="6835882"/>
            </a:xfrm>
          </p:grpSpPr>
          <p:sp>
            <p:nvSpPr>
              <p:cNvPr id="14" name="Freeform 6">
                <a:extLst>
                  <a:ext uri="{FF2B5EF4-FFF2-40B4-BE49-F238E27FC236}">
                    <a16:creationId xmlns:a16="http://schemas.microsoft.com/office/drawing/2014/main" id="{6BFAD8EC-763E-4122-ABA7-60C0B2EF0000}"/>
                  </a:ext>
                </a:extLst>
              </p:cNvPr>
              <p:cNvSpPr/>
              <p:nvPr userDrawn="1"/>
            </p:nvSpPr>
            <p:spPr>
              <a:xfrm>
                <a:off x="5746799" y="0"/>
                <a:ext cx="1159996" cy="6830163"/>
              </a:xfrm>
              <a:custGeom>
                <a:avLst/>
                <a:gdLst>
                  <a:gd name="connsiteX0" fmla="*/ 1058779 w 1058779"/>
                  <a:gd name="connsiteY0" fmla="*/ 0 h 6785811"/>
                  <a:gd name="connsiteX1" fmla="*/ 24063 w 1058779"/>
                  <a:gd name="connsiteY1" fmla="*/ 3380874 h 6785811"/>
                  <a:gd name="connsiteX2" fmla="*/ 0 w 1058779"/>
                  <a:gd name="connsiteY2" fmla="*/ 4547937 h 6785811"/>
                  <a:gd name="connsiteX3" fmla="*/ 288758 w 1058779"/>
                  <a:gd name="connsiteY3" fmla="*/ 6136105 h 6785811"/>
                  <a:gd name="connsiteX4" fmla="*/ 360947 w 1058779"/>
                  <a:gd name="connsiteY4" fmla="*/ 6785811 h 6785811"/>
                  <a:gd name="connsiteX0" fmla="*/ 1165680 w 1165680"/>
                  <a:gd name="connsiteY0" fmla="*/ 0 h 6785811"/>
                  <a:gd name="connsiteX1" fmla="*/ 130964 w 1165680"/>
                  <a:gd name="connsiteY1" fmla="*/ 3380874 h 6785811"/>
                  <a:gd name="connsiteX2" fmla="*/ 106901 w 1165680"/>
                  <a:gd name="connsiteY2" fmla="*/ 4547937 h 6785811"/>
                  <a:gd name="connsiteX3" fmla="*/ 395659 w 1165680"/>
                  <a:gd name="connsiteY3" fmla="*/ 6136105 h 6785811"/>
                  <a:gd name="connsiteX4" fmla="*/ 467848 w 1165680"/>
                  <a:gd name="connsiteY4" fmla="*/ 6785811 h 6785811"/>
                  <a:gd name="connsiteX0" fmla="*/ 1188376 w 1188376"/>
                  <a:gd name="connsiteY0" fmla="*/ 0 h 6785811"/>
                  <a:gd name="connsiteX1" fmla="*/ 153660 w 1188376"/>
                  <a:gd name="connsiteY1" fmla="*/ 3380874 h 6785811"/>
                  <a:gd name="connsiteX2" fmla="*/ 129597 w 1188376"/>
                  <a:gd name="connsiteY2" fmla="*/ 4547937 h 6785811"/>
                  <a:gd name="connsiteX3" fmla="*/ 418355 w 1188376"/>
                  <a:gd name="connsiteY3" fmla="*/ 6136105 h 6785811"/>
                  <a:gd name="connsiteX4" fmla="*/ 490544 w 1188376"/>
                  <a:gd name="connsiteY4" fmla="*/ 6785811 h 6785811"/>
                  <a:gd name="connsiteX0" fmla="*/ 1159996 w 1159996"/>
                  <a:gd name="connsiteY0" fmla="*/ 0 h 6785811"/>
                  <a:gd name="connsiteX1" fmla="*/ 125280 w 1159996"/>
                  <a:gd name="connsiteY1" fmla="*/ 3380874 h 6785811"/>
                  <a:gd name="connsiteX2" fmla="*/ 101217 w 1159996"/>
                  <a:gd name="connsiteY2" fmla="*/ 4547937 h 6785811"/>
                  <a:gd name="connsiteX3" fmla="*/ 389975 w 1159996"/>
                  <a:gd name="connsiteY3" fmla="*/ 6136105 h 6785811"/>
                  <a:gd name="connsiteX4" fmla="*/ 462164 w 1159996"/>
                  <a:gd name="connsiteY4" fmla="*/ 6785811 h 6785811"/>
                  <a:gd name="connsiteX0" fmla="*/ 1159996 w 1159996"/>
                  <a:gd name="connsiteY0" fmla="*/ 0 h 6785811"/>
                  <a:gd name="connsiteX1" fmla="*/ 125280 w 1159996"/>
                  <a:gd name="connsiteY1" fmla="*/ 3380874 h 6785811"/>
                  <a:gd name="connsiteX2" fmla="*/ 101217 w 1159996"/>
                  <a:gd name="connsiteY2" fmla="*/ 4547937 h 6785811"/>
                  <a:gd name="connsiteX3" fmla="*/ 389975 w 1159996"/>
                  <a:gd name="connsiteY3" fmla="*/ 6136105 h 6785811"/>
                  <a:gd name="connsiteX4" fmla="*/ 462164 w 1159996"/>
                  <a:gd name="connsiteY4" fmla="*/ 6785811 h 6785811"/>
                  <a:gd name="connsiteX0" fmla="*/ 1159996 w 1159996"/>
                  <a:gd name="connsiteY0" fmla="*/ 0 h 6785811"/>
                  <a:gd name="connsiteX1" fmla="*/ 125280 w 1159996"/>
                  <a:gd name="connsiteY1" fmla="*/ 3380874 h 6785811"/>
                  <a:gd name="connsiteX2" fmla="*/ 101217 w 1159996"/>
                  <a:gd name="connsiteY2" fmla="*/ 4547937 h 6785811"/>
                  <a:gd name="connsiteX3" fmla="*/ 389975 w 1159996"/>
                  <a:gd name="connsiteY3" fmla="*/ 6136105 h 6785811"/>
                  <a:gd name="connsiteX4" fmla="*/ 462164 w 1159996"/>
                  <a:gd name="connsiteY4" fmla="*/ 6785811 h 6785811"/>
                  <a:gd name="connsiteX0" fmla="*/ 1159996 w 1159996"/>
                  <a:gd name="connsiteY0" fmla="*/ 0 h 6785811"/>
                  <a:gd name="connsiteX1" fmla="*/ 125280 w 1159996"/>
                  <a:gd name="connsiteY1" fmla="*/ 3380874 h 6785811"/>
                  <a:gd name="connsiteX2" fmla="*/ 101217 w 1159996"/>
                  <a:gd name="connsiteY2" fmla="*/ 4547937 h 6785811"/>
                  <a:gd name="connsiteX3" fmla="*/ 402675 w 1159996"/>
                  <a:gd name="connsiteY3" fmla="*/ 6136105 h 6785811"/>
                  <a:gd name="connsiteX4" fmla="*/ 462164 w 1159996"/>
                  <a:gd name="connsiteY4" fmla="*/ 6785811 h 6785811"/>
                  <a:gd name="connsiteX0" fmla="*/ 1159996 w 1159996"/>
                  <a:gd name="connsiteY0" fmla="*/ 0 h 6785811"/>
                  <a:gd name="connsiteX1" fmla="*/ 125280 w 1159996"/>
                  <a:gd name="connsiteY1" fmla="*/ 3380874 h 6785811"/>
                  <a:gd name="connsiteX2" fmla="*/ 101217 w 1159996"/>
                  <a:gd name="connsiteY2" fmla="*/ 4547937 h 6785811"/>
                  <a:gd name="connsiteX3" fmla="*/ 402675 w 1159996"/>
                  <a:gd name="connsiteY3" fmla="*/ 6136105 h 6785811"/>
                  <a:gd name="connsiteX4" fmla="*/ 462164 w 1159996"/>
                  <a:gd name="connsiteY4" fmla="*/ 6785811 h 6785811"/>
                  <a:gd name="connsiteX0" fmla="*/ 1159996 w 1159996"/>
                  <a:gd name="connsiteY0" fmla="*/ 0 h 6785811"/>
                  <a:gd name="connsiteX1" fmla="*/ 125280 w 1159996"/>
                  <a:gd name="connsiteY1" fmla="*/ 3380874 h 6785811"/>
                  <a:gd name="connsiteX2" fmla="*/ 101217 w 1159996"/>
                  <a:gd name="connsiteY2" fmla="*/ 4547937 h 6785811"/>
                  <a:gd name="connsiteX3" fmla="*/ 402675 w 1159996"/>
                  <a:gd name="connsiteY3" fmla="*/ 6136105 h 6785811"/>
                  <a:gd name="connsiteX4" fmla="*/ 462164 w 1159996"/>
                  <a:gd name="connsiteY4" fmla="*/ 6785811 h 6785811"/>
                  <a:gd name="connsiteX0" fmla="*/ 1159996 w 1159996"/>
                  <a:gd name="connsiteY0" fmla="*/ 0 h 6785811"/>
                  <a:gd name="connsiteX1" fmla="*/ 125280 w 1159996"/>
                  <a:gd name="connsiteY1" fmla="*/ 3380874 h 6785811"/>
                  <a:gd name="connsiteX2" fmla="*/ 101217 w 1159996"/>
                  <a:gd name="connsiteY2" fmla="*/ 4547937 h 6785811"/>
                  <a:gd name="connsiteX3" fmla="*/ 402675 w 1159996"/>
                  <a:gd name="connsiteY3" fmla="*/ 6136105 h 6785811"/>
                  <a:gd name="connsiteX4" fmla="*/ 462164 w 1159996"/>
                  <a:gd name="connsiteY4" fmla="*/ 6785811 h 6785811"/>
                  <a:gd name="connsiteX0" fmla="*/ 1159996 w 1159996"/>
                  <a:gd name="connsiteY0" fmla="*/ 0 h 6785811"/>
                  <a:gd name="connsiteX1" fmla="*/ 125280 w 1159996"/>
                  <a:gd name="connsiteY1" fmla="*/ 3380874 h 6785811"/>
                  <a:gd name="connsiteX2" fmla="*/ 101217 w 1159996"/>
                  <a:gd name="connsiteY2" fmla="*/ 4547937 h 6785811"/>
                  <a:gd name="connsiteX3" fmla="*/ 402675 w 1159996"/>
                  <a:gd name="connsiteY3" fmla="*/ 6136105 h 6785811"/>
                  <a:gd name="connsiteX4" fmla="*/ 462164 w 1159996"/>
                  <a:gd name="connsiteY4" fmla="*/ 6785811 h 6785811"/>
                  <a:gd name="connsiteX0" fmla="*/ 1159996 w 1159996"/>
                  <a:gd name="connsiteY0" fmla="*/ 0 h 6785811"/>
                  <a:gd name="connsiteX1" fmla="*/ 125280 w 1159996"/>
                  <a:gd name="connsiteY1" fmla="*/ 3380874 h 6785811"/>
                  <a:gd name="connsiteX2" fmla="*/ 101217 w 1159996"/>
                  <a:gd name="connsiteY2" fmla="*/ 4547937 h 6785811"/>
                  <a:gd name="connsiteX3" fmla="*/ 402675 w 1159996"/>
                  <a:gd name="connsiteY3" fmla="*/ 6136105 h 6785811"/>
                  <a:gd name="connsiteX4" fmla="*/ 462164 w 1159996"/>
                  <a:gd name="connsiteY4" fmla="*/ 6785811 h 67858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59996" h="6785811">
                    <a:moveTo>
                      <a:pt x="1159996" y="0"/>
                    </a:moveTo>
                    <a:lnTo>
                      <a:pt x="125280" y="3380874"/>
                    </a:lnTo>
                    <a:cubicBezTo>
                      <a:pt x="-92291" y="3941345"/>
                      <a:pt x="23513" y="4149391"/>
                      <a:pt x="101217" y="4547937"/>
                    </a:cubicBezTo>
                    <a:lnTo>
                      <a:pt x="402675" y="6136105"/>
                    </a:lnTo>
                    <a:cubicBezTo>
                      <a:pt x="547388" y="6828924"/>
                      <a:pt x="469851" y="6708942"/>
                      <a:pt x="462164" y="6785811"/>
                    </a:cubicBezTo>
                  </a:path>
                </a:pathLst>
              </a:custGeom>
              <a:noFill/>
              <a:ln w="9525" cap="rnd" cmpd="sng" algn="ctr">
                <a:solidFill>
                  <a:sysClr val="window" lastClr="FFFFFF"/>
                </a:solidFill>
                <a:prstDash val="solid"/>
                <a:round/>
                <a:headEnd type="none" w="med" len="med"/>
                <a:tailEnd type="none" w="med" len="me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mn-lt"/>
                  <a:ea typeface="+mn-ea"/>
                  <a:cs typeface="+mn-cs"/>
                  <a:sym typeface="+mn-lt"/>
                </a:endParaRPr>
              </a:p>
            </p:txBody>
          </p:sp>
          <p:sp>
            <p:nvSpPr>
              <p:cNvPr id="16" name="Freeform 7">
                <a:extLst>
                  <a:ext uri="{FF2B5EF4-FFF2-40B4-BE49-F238E27FC236}">
                    <a16:creationId xmlns:a16="http://schemas.microsoft.com/office/drawing/2014/main" id="{A20A9DF1-ED63-49C7-931A-133FEAD47043}"/>
                  </a:ext>
                </a:extLst>
              </p:cNvPr>
              <p:cNvSpPr/>
              <p:nvPr userDrawn="1"/>
            </p:nvSpPr>
            <p:spPr>
              <a:xfrm>
                <a:off x="5613863" y="12111"/>
                <a:ext cx="911931" cy="6823771"/>
              </a:xfrm>
              <a:custGeom>
                <a:avLst/>
                <a:gdLst>
                  <a:gd name="connsiteX0" fmla="*/ 1058779 w 1058779"/>
                  <a:gd name="connsiteY0" fmla="*/ 0 h 6785811"/>
                  <a:gd name="connsiteX1" fmla="*/ 24063 w 1058779"/>
                  <a:gd name="connsiteY1" fmla="*/ 3380874 h 6785811"/>
                  <a:gd name="connsiteX2" fmla="*/ 0 w 1058779"/>
                  <a:gd name="connsiteY2" fmla="*/ 4547937 h 6785811"/>
                  <a:gd name="connsiteX3" fmla="*/ 288758 w 1058779"/>
                  <a:gd name="connsiteY3" fmla="*/ 6136105 h 6785811"/>
                  <a:gd name="connsiteX4" fmla="*/ 360947 w 1058779"/>
                  <a:gd name="connsiteY4" fmla="*/ 6785811 h 6785811"/>
                  <a:gd name="connsiteX0" fmla="*/ 1165680 w 1165680"/>
                  <a:gd name="connsiteY0" fmla="*/ 0 h 6785811"/>
                  <a:gd name="connsiteX1" fmla="*/ 130964 w 1165680"/>
                  <a:gd name="connsiteY1" fmla="*/ 3380874 h 6785811"/>
                  <a:gd name="connsiteX2" fmla="*/ 106901 w 1165680"/>
                  <a:gd name="connsiteY2" fmla="*/ 4547937 h 6785811"/>
                  <a:gd name="connsiteX3" fmla="*/ 395659 w 1165680"/>
                  <a:gd name="connsiteY3" fmla="*/ 6136105 h 6785811"/>
                  <a:gd name="connsiteX4" fmla="*/ 467848 w 1165680"/>
                  <a:gd name="connsiteY4" fmla="*/ 6785811 h 6785811"/>
                  <a:gd name="connsiteX0" fmla="*/ 1188376 w 1188376"/>
                  <a:gd name="connsiteY0" fmla="*/ 0 h 6785811"/>
                  <a:gd name="connsiteX1" fmla="*/ 153660 w 1188376"/>
                  <a:gd name="connsiteY1" fmla="*/ 3380874 h 6785811"/>
                  <a:gd name="connsiteX2" fmla="*/ 129597 w 1188376"/>
                  <a:gd name="connsiteY2" fmla="*/ 4547937 h 6785811"/>
                  <a:gd name="connsiteX3" fmla="*/ 418355 w 1188376"/>
                  <a:gd name="connsiteY3" fmla="*/ 6136105 h 6785811"/>
                  <a:gd name="connsiteX4" fmla="*/ 490544 w 1188376"/>
                  <a:gd name="connsiteY4" fmla="*/ 6785811 h 6785811"/>
                  <a:gd name="connsiteX0" fmla="*/ 1159996 w 1159996"/>
                  <a:gd name="connsiteY0" fmla="*/ 0 h 6785811"/>
                  <a:gd name="connsiteX1" fmla="*/ 125280 w 1159996"/>
                  <a:gd name="connsiteY1" fmla="*/ 3380874 h 6785811"/>
                  <a:gd name="connsiteX2" fmla="*/ 101217 w 1159996"/>
                  <a:gd name="connsiteY2" fmla="*/ 4547937 h 6785811"/>
                  <a:gd name="connsiteX3" fmla="*/ 389975 w 1159996"/>
                  <a:gd name="connsiteY3" fmla="*/ 6136105 h 6785811"/>
                  <a:gd name="connsiteX4" fmla="*/ 462164 w 1159996"/>
                  <a:gd name="connsiteY4" fmla="*/ 6785811 h 6785811"/>
                  <a:gd name="connsiteX0" fmla="*/ 931396 w 931396"/>
                  <a:gd name="connsiteY0" fmla="*/ 0 h 6785811"/>
                  <a:gd name="connsiteX1" fmla="*/ 125280 w 931396"/>
                  <a:gd name="connsiteY1" fmla="*/ 3380874 h 6785811"/>
                  <a:gd name="connsiteX2" fmla="*/ 101217 w 931396"/>
                  <a:gd name="connsiteY2" fmla="*/ 4547937 h 6785811"/>
                  <a:gd name="connsiteX3" fmla="*/ 389975 w 931396"/>
                  <a:gd name="connsiteY3" fmla="*/ 6136105 h 6785811"/>
                  <a:gd name="connsiteX4" fmla="*/ 462164 w 931396"/>
                  <a:gd name="connsiteY4" fmla="*/ 6785811 h 6785811"/>
                  <a:gd name="connsiteX0" fmla="*/ 931396 w 931396"/>
                  <a:gd name="connsiteY0" fmla="*/ 0 h 6779461"/>
                  <a:gd name="connsiteX1" fmla="*/ 125280 w 931396"/>
                  <a:gd name="connsiteY1" fmla="*/ 3380874 h 6779461"/>
                  <a:gd name="connsiteX2" fmla="*/ 101217 w 931396"/>
                  <a:gd name="connsiteY2" fmla="*/ 4547937 h 6779461"/>
                  <a:gd name="connsiteX3" fmla="*/ 389975 w 931396"/>
                  <a:gd name="connsiteY3" fmla="*/ 6136105 h 6779461"/>
                  <a:gd name="connsiteX4" fmla="*/ 538364 w 931396"/>
                  <a:gd name="connsiteY4" fmla="*/ 6779461 h 6779461"/>
                  <a:gd name="connsiteX0" fmla="*/ 931396 w 931396"/>
                  <a:gd name="connsiteY0" fmla="*/ 0 h 6779461"/>
                  <a:gd name="connsiteX1" fmla="*/ 125280 w 931396"/>
                  <a:gd name="connsiteY1" fmla="*/ 3380874 h 6779461"/>
                  <a:gd name="connsiteX2" fmla="*/ 101217 w 931396"/>
                  <a:gd name="connsiteY2" fmla="*/ 4547937 h 6779461"/>
                  <a:gd name="connsiteX3" fmla="*/ 504275 w 931396"/>
                  <a:gd name="connsiteY3" fmla="*/ 6136105 h 6779461"/>
                  <a:gd name="connsiteX4" fmla="*/ 538364 w 931396"/>
                  <a:gd name="connsiteY4" fmla="*/ 6779461 h 6779461"/>
                  <a:gd name="connsiteX0" fmla="*/ 931396 w 931396"/>
                  <a:gd name="connsiteY0" fmla="*/ 0 h 6779461"/>
                  <a:gd name="connsiteX1" fmla="*/ 125280 w 931396"/>
                  <a:gd name="connsiteY1" fmla="*/ 3380874 h 6779461"/>
                  <a:gd name="connsiteX2" fmla="*/ 101217 w 931396"/>
                  <a:gd name="connsiteY2" fmla="*/ 4547937 h 6779461"/>
                  <a:gd name="connsiteX3" fmla="*/ 504275 w 931396"/>
                  <a:gd name="connsiteY3" fmla="*/ 6136105 h 6779461"/>
                  <a:gd name="connsiteX4" fmla="*/ 538364 w 931396"/>
                  <a:gd name="connsiteY4" fmla="*/ 6779461 h 6779461"/>
                  <a:gd name="connsiteX0" fmla="*/ 931396 w 931396"/>
                  <a:gd name="connsiteY0" fmla="*/ 0 h 6779461"/>
                  <a:gd name="connsiteX1" fmla="*/ 125280 w 931396"/>
                  <a:gd name="connsiteY1" fmla="*/ 3380874 h 6779461"/>
                  <a:gd name="connsiteX2" fmla="*/ 101217 w 931396"/>
                  <a:gd name="connsiteY2" fmla="*/ 4547937 h 6779461"/>
                  <a:gd name="connsiteX3" fmla="*/ 504275 w 931396"/>
                  <a:gd name="connsiteY3" fmla="*/ 6136105 h 6779461"/>
                  <a:gd name="connsiteX4" fmla="*/ 538364 w 931396"/>
                  <a:gd name="connsiteY4" fmla="*/ 6779461 h 6779461"/>
                  <a:gd name="connsiteX0" fmla="*/ 931396 w 931396"/>
                  <a:gd name="connsiteY0" fmla="*/ 0 h 6779461"/>
                  <a:gd name="connsiteX1" fmla="*/ 125280 w 931396"/>
                  <a:gd name="connsiteY1" fmla="*/ 3380874 h 6779461"/>
                  <a:gd name="connsiteX2" fmla="*/ 101217 w 931396"/>
                  <a:gd name="connsiteY2" fmla="*/ 4547937 h 6779461"/>
                  <a:gd name="connsiteX3" fmla="*/ 504275 w 931396"/>
                  <a:gd name="connsiteY3" fmla="*/ 6136105 h 6779461"/>
                  <a:gd name="connsiteX4" fmla="*/ 538364 w 931396"/>
                  <a:gd name="connsiteY4" fmla="*/ 6779461 h 6779461"/>
                  <a:gd name="connsiteX0" fmla="*/ 931396 w 931396"/>
                  <a:gd name="connsiteY0" fmla="*/ 0 h 6779461"/>
                  <a:gd name="connsiteX1" fmla="*/ 125280 w 931396"/>
                  <a:gd name="connsiteY1" fmla="*/ 3380874 h 6779461"/>
                  <a:gd name="connsiteX2" fmla="*/ 101217 w 931396"/>
                  <a:gd name="connsiteY2" fmla="*/ 4547937 h 6779461"/>
                  <a:gd name="connsiteX3" fmla="*/ 504275 w 931396"/>
                  <a:gd name="connsiteY3" fmla="*/ 6136105 h 6779461"/>
                  <a:gd name="connsiteX4" fmla="*/ 538364 w 931396"/>
                  <a:gd name="connsiteY4" fmla="*/ 6779461 h 6779461"/>
                  <a:gd name="connsiteX0" fmla="*/ 931396 w 931396"/>
                  <a:gd name="connsiteY0" fmla="*/ 0 h 6779461"/>
                  <a:gd name="connsiteX1" fmla="*/ 125280 w 931396"/>
                  <a:gd name="connsiteY1" fmla="*/ 3380874 h 6779461"/>
                  <a:gd name="connsiteX2" fmla="*/ 101217 w 931396"/>
                  <a:gd name="connsiteY2" fmla="*/ 4547937 h 6779461"/>
                  <a:gd name="connsiteX3" fmla="*/ 491575 w 931396"/>
                  <a:gd name="connsiteY3" fmla="*/ 6136105 h 6779461"/>
                  <a:gd name="connsiteX4" fmla="*/ 538364 w 931396"/>
                  <a:gd name="connsiteY4" fmla="*/ 6779461 h 6779461"/>
                  <a:gd name="connsiteX0" fmla="*/ 940867 w 940867"/>
                  <a:gd name="connsiteY0" fmla="*/ 0 h 6779461"/>
                  <a:gd name="connsiteX1" fmla="*/ 119511 w 940867"/>
                  <a:gd name="connsiteY1" fmla="*/ 3358014 h 6779461"/>
                  <a:gd name="connsiteX2" fmla="*/ 110688 w 940867"/>
                  <a:gd name="connsiteY2" fmla="*/ 4547937 h 6779461"/>
                  <a:gd name="connsiteX3" fmla="*/ 501046 w 940867"/>
                  <a:gd name="connsiteY3" fmla="*/ 6136105 h 6779461"/>
                  <a:gd name="connsiteX4" fmla="*/ 547835 w 940867"/>
                  <a:gd name="connsiteY4" fmla="*/ 6779461 h 6779461"/>
                  <a:gd name="connsiteX0" fmla="*/ 911931 w 911931"/>
                  <a:gd name="connsiteY0" fmla="*/ 0 h 6779461"/>
                  <a:gd name="connsiteX1" fmla="*/ 90575 w 911931"/>
                  <a:gd name="connsiteY1" fmla="*/ 3358014 h 6779461"/>
                  <a:gd name="connsiteX2" fmla="*/ 81752 w 911931"/>
                  <a:gd name="connsiteY2" fmla="*/ 4547937 h 6779461"/>
                  <a:gd name="connsiteX3" fmla="*/ 472110 w 911931"/>
                  <a:gd name="connsiteY3" fmla="*/ 6136105 h 6779461"/>
                  <a:gd name="connsiteX4" fmla="*/ 518899 w 911931"/>
                  <a:gd name="connsiteY4" fmla="*/ 6779461 h 6779461"/>
                  <a:gd name="connsiteX0" fmla="*/ 911931 w 911931"/>
                  <a:gd name="connsiteY0" fmla="*/ 0 h 6779461"/>
                  <a:gd name="connsiteX1" fmla="*/ 90575 w 911931"/>
                  <a:gd name="connsiteY1" fmla="*/ 3358014 h 6779461"/>
                  <a:gd name="connsiteX2" fmla="*/ 81752 w 911931"/>
                  <a:gd name="connsiteY2" fmla="*/ 4547937 h 6779461"/>
                  <a:gd name="connsiteX3" fmla="*/ 472110 w 911931"/>
                  <a:gd name="connsiteY3" fmla="*/ 6136105 h 6779461"/>
                  <a:gd name="connsiteX4" fmla="*/ 518899 w 911931"/>
                  <a:gd name="connsiteY4" fmla="*/ 6779461 h 67794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1931" h="6779461">
                    <a:moveTo>
                      <a:pt x="911931" y="0"/>
                    </a:moveTo>
                    <a:cubicBezTo>
                      <a:pt x="638146" y="1119338"/>
                      <a:pt x="387220" y="2238676"/>
                      <a:pt x="90575" y="3358014"/>
                    </a:cubicBezTo>
                    <a:cubicBezTo>
                      <a:pt x="-58416" y="4002305"/>
                      <a:pt x="4048" y="4149391"/>
                      <a:pt x="81752" y="4547937"/>
                    </a:cubicBezTo>
                    <a:lnTo>
                      <a:pt x="472110" y="6136105"/>
                    </a:lnTo>
                    <a:cubicBezTo>
                      <a:pt x="616823" y="6725207"/>
                      <a:pt x="539286" y="6749159"/>
                      <a:pt x="518899" y="6779461"/>
                    </a:cubicBezTo>
                  </a:path>
                </a:pathLst>
              </a:custGeom>
              <a:noFill/>
              <a:ln w="9525" cap="rnd" cmpd="sng" algn="ctr">
                <a:solidFill>
                  <a:sysClr val="window" lastClr="FFFFFF"/>
                </a:solidFill>
                <a:prstDash val="solid"/>
                <a:round/>
                <a:headEnd type="none" w="med" len="med"/>
                <a:tailEnd type="none" w="med" len="me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mn-lt"/>
                  <a:ea typeface="+mn-ea"/>
                  <a:cs typeface="+mn-cs"/>
                  <a:sym typeface="+mn-lt"/>
                </a:endParaRPr>
              </a:p>
            </p:txBody>
          </p:sp>
          <p:sp>
            <p:nvSpPr>
              <p:cNvPr id="17" name="Freeform 8">
                <a:extLst>
                  <a:ext uri="{FF2B5EF4-FFF2-40B4-BE49-F238E27FC236}">
                    <a16:creationId xmlns:a16="http://schemas.microsoft.com/office/drawing/2014/main" id="{055598D3-EF93-4F1D-B4EE-7D0EBAD6B0C7}"/>
                  </a:ext>
                </a:extLst>
              </p:cNvPr>
              <p:cNvSpPr/>
              <p:nvPr userDrawn="1"/>
            </p:nvSpPr>
            <p:spPr>
              <a:xfrm>
                <a:off x="5720080" y="1625998"/>
                <a:ext cx="568102" cy="5031391"/>
              </a:xfrm>
              <a:custGeom>
                <a:avLst/>
                <a:gdLst>
                  <a:gd name="connsiteX0" fmla="*/ 281940 w 510540"/>
                  <a:gd name="connsiteY0" fmla="*/ 0 h 4998720"/>
                  <a:gd name="connsiteX1" fmla="*/ 304800 w 510540"/>
                  <a:gd name="connsiteY1" fmla="*/ 998220 h 4998720"/>
                  <a:gd name="connsiteX2" fmla="*/ 510540 w 510540"/>
                  <a:gd name="connsiteY2" fmla="*/ 2727960 h 4998720"/>
                  <a:gd name="connsiteX3" fmla="*/ 464820 w 510540"/>
                  <a:gd name="connsiteY3" fmla="*/ 3848100 h 4998720"/>
                  <a:gd name="connsiteX4" fmla="*/ 0 w 510540"/>
                  <a:gd name="connsiteY4" fmla="*/ 4998720 h 4998720"/>
                  <a:gd name="connsiteX0" fmla="*/ 281940 w 585809"/>
                  <a:gd name="connsiteY0" fmla="*/ 0 h 4998720"/>
                  <a:gd name="connsiteX1" fmla="*/ 304800 w 585809"/>
                  <a:gd name="connsiteY1" fmla="*/ 998220 h 4998720"/>
                  <a:gd name="connsiteX2" fmla="*/ 510540 w 585809"/>
                  <a:gd name="connsiteY2" fmla="*/ 2727960 h 4998720"/>
                  <a:gd name="connsiteX3" fmla="*/ 464820 w 585809"/>
                  <a:gd name="connsiteY3" fmla="*/ 3848100 h 4998720"/>
                  <a:gd name="connsiteX4" fmla="*/ 0 w 585809"/>
                  <a:gd name="connsiteY4" fmla="*/ 4998720 h 4998720"/>
                  <a:gd name="connsiteX0" fmla="*/ 281940 w 612461"/>
                  <a:gd name="connsiteY0" fmla="*/ 0 h 4998720"/>
                  <a:gd name="connsiteX1" fmla="*/ 304800 w 612461"/>
                  <a:gd name="connsiteY1" fmla="*/ 998220 h 4998720"/>
                  <a:gd name="connsiteX2" fmla="*/ 510540 w 612461"/>
                  <a:gd name="connsiteY2" fmla="*/ 2727960 h 4998720"/>
                  <a:gd name="connsiteX3" fmla="*/ 464820 w 612461"/>
                  <a:gd name="connsiteY3" fmla="*/ 3848100 h 4998720"/>
                  <a:gd name="connsiteX4" fmla="*/ 0 w 612461"/>
                  <a:gd name="connsiteY4" fmla="*/ 4998720 h 4998720"/>
                  <a:gd name="connsiteX0" fmla="*/ 281940 w 581999"/>
                  <a:gd name="connsiteY0" fmla="*/ 0 h 4998720"/>
                  <a:gd name="connsiteX1" fmla="*/ 304800 w 581999"/>
                  <a:gd name="connsiteY1" fmla="*/ 998220 h 4998720"/>
                  <a:gd name="connsiteX2" fmla="*/ 510540 w 581999"/>
                  <a:gd name="connsiteY2" fmla="*/ 2727960 h 4998720"/>
                  <a:gd name="connsiteX3" fmla="*/ 464820 w 581999"/>
                  <a:gd name="connsiteY3" fmla="*/ 3848100 h 4998720"/>
                  <a:gd name="connsiteX4" fmla="*/ 0 w 581999"/>
                  <a:gd name="connsiteY4" fmla="*/ 4998720 h 4998720"/>
                  <a:gd name="connsiteX0" fmla="*/ 281940 w 568102"/>
                  <a:gd name="connsiteY0" fmla="*/ 0 h 4998720"/>
                  <a:gd name="connsiteX1" fmla="*/ 304800 w 568102"/>
                  <a:gd name="connsiteY1" fmla="*/ 998220 h 4998720"/>
                  <a:gd name="connsiteX2" fmla="*/ 510540 w 568102"/>
                  <a:gd name="connsiteY2" fmla="*/ 2727960 h 4998720"/>
                  <a:gd name="connsiteX3" fmla="*/ 464820 w 568102"/>
                  <a:gd name="connsiteY3" fmla="*/ 3848100 h 4998720"/>
                  <a:gd name="connsiteX4" fmla="*/ 0 w 568102"/>
                  <a:gd name="connsiteY4" fmla="*/ 4998720 h 4998720"/>
                  <a:gd name="connsiteX0" fmla="*/ 281940 w 568102"/>
                  <a:gd name="connsiteY0" fmla="*/ 0 h 4998720"/>
                  <a:gd name="connsiteX1" fmla="*/ 304800 w 568102"/>
                  <a:gd name="connsiteY1" fmla="*/ 998220 h 4998720"/>
                  <a:gd name="connsiteX2" fmla="*/ 510540 w 568102"/>
                  <a:gd name="connsiteY2" fmla="*/ 2727960 h 4998720"/>
                  <a:gd name="connsiteX3" fmla="*/ 464820 w 568102"/>
                  <a:gd name="connsiteY3" fmla="*/ 3848100 h 4998720"/>
                  <a:gd name="connsiteX4" fmla="*/ 0 w 568102"/>
                  <a:gd name="connsiteY4" fmla="*/ 4998720 h 4998720"/>
                  <a:gd name="connsiteX0" fmla="*/ 281940 w 568102"/>
                  <a:gd name="connsiteY0" fmla="*/ 0 h 4998720"/>
                  <a:gd name="connsiteX1" fmla="*/ 304800 w 568102"/>
                  <a:gd name="connsiteY1" fmla="*/ 998220 h 4998720"/>
                  <a:gd name="connsiteX2" fmla="*/ 510540 w 568102"/>
                  <a:gd name="connsiteY2" fmla="*/ 2727960 h 4998720"/>
                  <a:gd name="connsiteX3" fmla="*/ 464820 w 568102"/>
                  <a:gd name="connsiteY3" fmla="*/ 3848100 h 4998720"/>
                  <a:gd name="connsiteX4" fmla="*/ 0 w 568102"/>
                  <a:gd name="connsiteY4" fmla="*/ 4998720 h 49987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8102" h="4998720">
                    <a:moveTo>
                      <a:pt x="281940" y="0"/>
                    </a:moveTo>
                    <a:cubicBezTo>
                      <a:pt x="251460" y="302260"/>
                      <a:pt x="198120" y="299720"/>
                      <a:pt x="304800" y="998220"/>
                    </a:cubicBezTo>
                    <a:lnTo>
                      <a:pt x="510540" y="2727960"/>
                    </a:lnTo>
                    <a:cubicBezTo>
                      <a:pt x="586740" y="3505200"/>
                      <a:pt x="601980" y="3474720"/>
                      <a:pt x="464820" y="3848100"/>
                    </a:cubicBezTo>
                    <a:lnTo>
                      <a:pt x="0" y="4998720"/>
                    </a:lnTo>
                  </a:path>
                </a:pathLst>
              </a:custGeom>
              <a:noFill/>
              <a:ln w="9525" cap="rnd" cmpd="sng" algn="ctr">
                <a:solidFill>
                  <a:sysClr val="window" lastClr="FFFFFF"/>
                </a:solidFill>
                <a:prstDash val="solid"/>
                <a:round/>
                <a:headEnd type="none" w="med" len="med"/>
                <a:tailEnd type="none" w="med" len="me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mn-lt"/>
                  <a:ea typeface="+mn-ea"/>
                  <a:cs typeface="+mn-cs"/>
                  <a:sym typeface="+mn-lt"/>
                </a:endParaRPr>
              </a:p>
            </p:txBody>
          </p:sp>
          <p:sp>
            <p:nvSpPr>
              <p:cNvPr id="18" name="Freeform 9">
                <a:extLst>
                  <a:ext uri="{FF2B5EF4-FFF2-40B4-BE49-F238E27FC236}">
                    <a16:creationId xmlns:a16="http://schemas.microsoft.com/office/drawing/2014/main" id="{38215FC7-C33D-4BEC-879F-0802930AD9E7}"/>
                  </a:ext>
                </a:extLst>
              </p:cNvPr>
              <p:cNvSpPr/>
              <p:nvPr userDrawn="1"/>
            </p:nvSpPr>
            <p:spPr>
              <a:xfrm>
                <a:off x="5706951" y="1756385"/>
                <a:ext cx="522382" cy="4839646"/>
              </a:xfrm>
              <a:custGeom>
                <a:avLst/>
                <a:gdLst>
                  <a:gd name="connsiteX0" fmla="*/ 281940 w 510540"/>
                  <a:gd name="connsiteY0" fmla="*/ 0 h 4998720"/>
                  <a:gd name="connsiteX1" fmla="*/ 304800 w 510540"/>
                  <a:gd name="connsiteY1" fmla="*/ 998220 h 4998720"/>
                  <a:gd name="connsiteX2" fmla="*/ 510540 w 510540"/>
                  <a:gd name="connsiteY2" fmla="*/ 2727960 h 4998720"/>
                  <a:gd name="connsiteX3" fmla="*/ 464820 w 510540"/>
                  <a:gd name="connsiteY3" fmla="*/ 3848100 h 4998720"/>
                  <a:gd name="connsiteX4" fmla="*/ 0 w 510540"/>
                  <a:gd name="connsiteY4" fmla="*/ 4998720 h 4998720"/>
                  <a:gd name="connsiteX0" fmla="*/ 281940 w 585809"/>
                  <a:gd name="connsiteY0" fmla="*/ 0 h 4998720"/>
                  <a:gd name="connsiteX1" fmla="*/ 304800 w 585809"/>
                  <a:gd name="connsiteY1" fmla="*/ 998220 h 4998720"/>
                  <a:gd name="connsiteX2" fmla="*/ 510540 w 585809"/>
                  <a:gd name="connsiteY2" fmla="*/ 2727960 h 4998720"/>
                  <a:gd name="connsiteX3" fmla="*/ 464820 w 585809"/>
                  <a:gd name="connsiteY3" fmla="*/ 3848100 h 4998720"/>
                  <a:gd name="connsiteX4" fmla="*/ 0 w 585809"/>
                  <a:gd name="connsiteY4" fmla="*/ 4998720 h 4998720"/>
                  <a:gd name="connsiteX0" fmla="*/ 281940 w 612461"/>
                  <a:gd name="connsiteY0" fmla="*/ 0 h 4998720"/>
                  <a:gd name="connsiteX1" fmla="*/ 304800 w 612461"/>
                  <a:gd name="connsiteY1" fmla="*/ 998220 h 4998720"/>
                  <a:gd name="connsiteX2" fmla="*/ 510540 w 612461"/>
                  <a:gd name="connsiteY2" fmla="*/ 2727960 h 4998720"/>
                  <a:gd name="connsiteX3" fmla="*/ 464820 w 612461"/>
                  <a:gd name="connsiteY3" fmla="*/ 3848100 h 4998720"/>
                  <a:gd name="connsiteX4" fmla="*/ 0 w 612461"/>
                  <a:gd name="connsiteY4" fmla="*/ 4998720 h 4998720"/>
                  <a:gd name="connsiteX0" fmla="*/ 281940 w 581999"/>
                  <a:gd name="connsiteY0" fmla="*/ 0 h 4998720"/>
                  <a:gd name="connsiteX1" fmla="*/ 304800 w 581999"/>
                  <a:gd name="connsiteY1" fmla="*/ 998220 h 4998720"/>
                  <a:gd name="connsiteX2" fmla="*/ 510540 w 581999"/>
                  <a:gd name="connsiteY2" fmla="*/ 2727960 h 4998720"/>
                  <a:gd name="connsiteX3" fmla="*/ 464820 w 581999"/>
                  <a:gd name="connsiteY3" fmla="*/ 3848100 h 4998720"/>
                  <a:gd name="connsiteX4" fmla="*/ 0 w 581999"/>
                  <a:gd name="connsiteY4" fmla="*/ 4998720 h 4998720"/>
                  <a:gd name="connsiteX0" fmla="*/ 281940 w 568102"/>
                  <a:gd name="connsiteY0" fmla="*/ 0 h 4998720"/>
                  <a:gd name="connsiteX1" fmla="*/ 304800 w 568102"/>
                  <a:gd name="connsiteY1" fmla="*/ 998220 h 4998720"/>
                  <a:gd name="connsiteX2" fmla="*/ 510540 w 568102"/>
                  <a:gd name="connsiteY2" fmla="*/ 2727960 h 4998720"/>
                  <a:gd name="connsiteX3" fmla="*/ 464820 w 568102"/>
                  <a:gd name="connsiteY3" fmla="*/ 3848100 h 4998720"/>
                  <a:gd name="connsiteX4" fmla="*/ 0 w 568102"/>
                  <a:gd name="connsiteY4" fmla="*/ 4998720 h 4998720"/>
                  <a:gd name="connsiteX0" fmla="*/ 281940 w 568102"/>
                  <a:gd name="connsiteY0" fmla="*/ 0 h 4998720"/>
                  <a:gd name="connsiteX1" fmla="*/ 304800 w 568102"/>
                  <a:gd name="connsiteY1" fmla="*/ 998220 h 4998720"/>
                  <a:gd name="connsiteX2" fmla="*/ 510540 w 568102"/>
                  <a:gd name="connsiteY2" fmla="*/ 2727960 h 4998720"/>
                  <a:gd name="connsiteX3" fmla="*/ 464820 w 568102"/>
                  <a:gd name="connsiteY3" fmla="*/ 3848100 h 4998720"/>
                  <a:gd name="connsiteX4" fmla="*/ 0 w 568102"/>
                  <a:gd name="connsiteY4" fmla="*/ 4998720 h 4998720"/>
                  <a:gd name="connsiteX0" fmla="*/ 281940 w 568102"/>
                  <a:gd name="connsiteY0" fmla="*/ 0 h 4998720"/>
                  <a:gd name="connsiteX1" fmla="*/ 304800 w 568102"/>
                  <a:gd name="connsiteY1" fmla="*/ 998220 h 4998720"/>
                  <a:gd name="connsiteX2" fmla="*/ 510540 w 568102"/>
                  <a:gd name="connsiteY2" fmla="*/ 2727960 h 4998720"/>
                  <a:gd name="connsiteX3" fmla="*/ 464820 w 568102"/>
                  <a:gd name="connsiteY3" fmla="*/ 3848100 h 4998720"/>
                  <a:gd name="connsiteX4" fmla="*/ 0 w 568102"/>
                  <a:gd name="connsiteY4" fmla="*/ 4998720 h 4998720"/>
                  <a:gd name="connsiteX0" fmla="*/ 236220 w 522382"/>
                  <a:gd name="connsiteY0" fmla="*/ 0 h 4943875"/>
                  <a:gd name="connsiteX1" fmla="*/ 259080 w 522382"/>
                  <a:gd name="connsiteY1" fmla="*/ 998220 h 4943875"/>
                  <a:gd name="connsiteX2" fmla="*/ 464820 w 522382"/>
                  <a:gd name="connsiteY2" fmla="*/ 2727960 h 4943875"/>
                  <a:gd name="connsiteX3" fmla="*/ 419100 w 522382"/>
                  <a:gd name="connsiteY3" fmla="*/ 3848100 h 4943875"/>
                  <a:gd name="connsiteX4" fmla="*/ 0 w 522382"/>
                  <a:gd name="connsiteY4" fmla="*/ 4943875 h 4943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382" h="4943875">
                    <a:moveTo>
                      <a:pt x="236220" y="0"/>
                    </a:moveTo>
                    <a:cubicBezTo>
                      <a:pt x="205740" y="302260"/>
                      <a:pt x="152400" y="299720"/>
                      <a:pt x="259080" y="998220"/>
                    </a:cubicBezTo>
                    <a:lnTo>
                      <a:pt x="464820" y="2727960"/>
                    </a:lnTo>
                    <a:cubicBezTo>
                      <a:pt x="541020" y="3505200"/>
                      <a:pt x="556260" y="3474720"/>
                      <a:pt x="419100" y="3848100"/>
                    </a:cubicBezTo>
                    <a:lnTo>
                      <a:pt x="0" y="4943875"/>
                    </a:lnTo>
                  </a:path>
                </a:pathLst>
              </a:custGeom>
              <a:noFill/>
              <a:ln w="9525" cap="rnd" cmpd="sng" algn="ctr">
                <a:solidFill>
                  <a:sysClr val="window" lastClr="FFFFFF"/>
                </a:solidFill>
                <a:prstDash val="solid"/>
                <a:round/>
                <a:headEnd type="none" w="med" len="med"/>
                <a:tailEnd type="none" w="med" len="me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mn-lt"/>
                  <a:ea typeface="+mn-ea"/>
                  <a:cs typeface="+mn-cs"/>
                  <a:sym typeface="+mn-lt"/>
                </a:endParaRPr>
              </a:p>
            </p:txBody>
          </p:sp>
        </p:grpSp>
        <p:sp>
          <p:nvSpPr>
            <p:cNvPr id="13" name="Freeform 5">
              <a:extLst>
                <a:ext uri="{FF2B5EF4-FFF2-40B4-BE49-F238E27FC236}">
                  <a16:creationId xmlns:a16="http://schemas.microsoft.com/office/drawing/2014/main" id="{DAF0FA26-15F1-4E67-AB37-60716047787E}"/>
                </a:ext>
              </a:extLst>
            </p:cNvPr>
            <p:cNvSpPr/>
            <p:nvPr userDrawn="1"/>
          </p:nvSpPr>
          <p:spPr>
            <a:xfrm>
              <a:off x="5973758" y="-12700"/>
              <a:ext cx="2357442" cy="6858000"/>
            </a:xfrm>
            <a:custGeom>
              <a:avLst/>
              <a:gdLst>
                <a:gd name="connsiteX0" fmla="*/ 1651000 w 2247900"/>
                <a:gd name="connsiteY0" fmla="*/ 6819900 h 6819900"/>
                <a:gd name="connsiteX1" fmla="*/ 381000 w 2247900"/>
                <a:gd name="connsiteY1" fmla="*/ 6819900 h 6819900"/>
                <a:gd name="connsiteX2" fmla="*/ 0 w 2247900"/>
                <a:gd name="connsiteY2" fmla="*/ 4724400 h 6819900"/>
                <a:gd name="connsiteX3" fmla="*/ 762000 w 2247900"/>
                <a:gd name="connsiteY3" fmla="*/ 1968500 h 6819900"/>
                <a:gd name="connsiteX4" fmla="*/ 1727200 w 2247900"/>
                <a:gd name="connsiteY4" fmla="*/ 0 h 6819900"/>
                <a:gd name="connsiteX5" fmla="*/ 2247900 w 2247900"/>
                <a:gd name="connsiteY5" fmla="*/ 0 h 6819900"/>
                <a:gd name="connsiteX6" fmla="*/ 1524000 w 2247900"/>
                <a:gd name="connsiteY6" fmla="*/ 1968500 h 6819900"/>
                <a:gd name="connsiteX7" fmla="*/ 1016000 w 2247900"/>
                <a:gd name="connsiteY7" fmla="*/ 4521200 h 6819900"/>
                <a:gd name="connsiteX8" fmla="*/ 1651000 w 2247900"/>
                <a:gd name="connsiteY8" fmla="*/ 6819900 h 6819900"/>
                <a:gd name="connsiteX0" fmla="*/ 1651000 w 2247900"/>
                <a:gd name="connsiteY0" fmla="*/ 6819900 h 6819900"/>
                <a:gd name="connsiteX1" fmla="*/ 381000 w 2247900"/>
                <a:gd name="connsiteY1" fmla="*/ 6819900 h 6819900"/>
                <a:gd name="connsiteX2" fmla="*/ 0 w 2247900"/>
                <a:gd name="connsiteY2" fmla="*/ 4724400 h 6819900"/>
                <a:gd name="connsiteX3" fmla="*/ 762000 w 2247900"/>
                <a:gd name="connsiteY3" fmla="*/ 1968500 h 6819900"/>
                <a:gd name="connsiteX4" fmla="*/ 1727200 w 2247900"/>
                <a:gd name="connsiteY4" fmla="*/ 0 h 6819900"/>
                <a:gd name="connsiteX5" fmla="*/ 2247900 w 2247900"/>
                <a:gd name="connsiteY5" fmla="*/ 0 h 6819900"/>
                <a:gd name="connsiteX6" fmla="*/ 1524000 w 2247900"/>
                <a:gd name="connsiteY6" fmla="*/ 1968500 h 6819900"/>
                <a:gd name="connsiteX7" fmla="*/ 1168400 w 2247900"/>
                <a:gd name="connsiteY7" fmla="*/ 4711700 h 6819900"/>
                <a:gd name="connsiteX8" fmla="*/ 1651000 w 2247900"/>
                <a:gd name="connsiteY8" fmla="*/ 6819900 h 6819900"/>
                <a:gd name="connsiteX0" fmla="*/ 1651000 w 2247900"/>
                <a:gd name="connsiteY0" fmla="*/ 6819900 h 6819900"/>
                <a:gd name="connsiteX1" fmla="*/ 381000 w 2247900"/>
                <a:gd name="connsiteY1" fmla="*/ 6819900 h 6819900"/>
                <a:gd name="connsiteX2" fmla="*/ 0 w 2247900"/>
                <a:gd name="connsiteY2" fmla="*/ 4724400 h 6819900"/>
                <a:gd name="connsiteX3" fmla="*/ 762000 w 2247900"/>
                <a:gd name="connsiteY3" fmla="*/ 1968500 h 6819900"/>
                <a:gd name="connsiteX4" fmla="*/ 1727200 w 2247900"/>
                <a:gd name="connsiteY4" fmla="*/ 0 h 6819900"/>
                <a:gd name="connsiteX5" fmla="*/ 2247900 w 2247900"/>
                <a:gd name="connsiteY5" fmla="*/ 0 h 6819900"/>
                <a:gd name="connsiteX6" fmla="*/ 1524000 w 2247900"/>
                <a:gd name="connsiteY6" fmla="*/ 1968500 h 6819900"/>
                <a:gd name="connsiteX7" fmla="*/ 1168400 w 2247900"/>
                <a:gd name="connsiteY7" fmla="*/ 4711700 h 6819900"/>
                <a:gd name="connsiteX8" fmla="*/ 1651000 w 2247900"/>
                <a:gd name="connsiteY8" fmla="*/ 6819900 h 6819900"/>
                <a:gd name="connsiteX0" fmla="*/ 1651000 w 2247900"/>
                <a:gd name="connsiteY0" fmla="*/ 6819900 h 6819900"/>
                <a:gd name="connsiteX1" fmla="*/ 381000 w 2247900"/>
                <a:gd name="connsiteY1" fmla="*/ 6819900 h 6819900"/>
                <a:gd name="connsiteX2" fmla="*/ 0 w 2247900"/>
                <a:gd name="connsiteY2" fmla="*/ 4724400 h 6819900"/>
                <a:gd name="connsiteX3" fmla="*/ 762000 w 2247900"/>
                <a:gd name="connsiteY3" fmla="*/ 1968500 h 6819900"/>
                <a:gd name="connsiteX4" fmla="*/ 1727200 w 2247900"/>
                <a:gd name="connsiteY4" fmla="*/ 0 h 6819900"/>
                <a:gd name="connsiteX5" fmla="*/ 2247900 w 2247900"/>
                <a:gd name="connsiteY5" fmla="*/ 0 h 6819900"/>
                <a:gd name="connsiteX6" fmla="*/ 1524000 w 2247900"/>
                <a:gd name="connsiteY6" fmla="*/ 1968500 h 6819900"/>
                <a:gd name="connsiteX7" fmla="*/ 1244600 w 2247900"/>
                <a:gd name="connsiteY7" fmla="*/ 4724400 h 6819900"/>
                <a:gd name="connsiteX8" fmla="*/ 1651000 w 2247900"/>
                <a:gd name="connsiteY8" fmla="*/ 6819900 h 6819900"/>
                <a:gd name="connsiteX0" fmla="*/ 1651000 w 2247900"/>
                <a:gd name="connsiteY0" fmla="*/ 6819900 h 6819900"/>
                <a:gd name="connsiteX1" fmla="*/ 381000 w 2247900"/>
                <a:gd name="connsiteY1" fmla="*/ 6819900 h 6819900"/>
                <a:gd name="connsiteX2" fmla="*/ 0 w 2247900"/>
                <a:gd name="connsiteY2" fmla="*/ 4724400 h 6819900"/>
                <a:gd name="connsiteX3" fmla="*/ 762000 w 2247900"/>
                <a:gd name="connsiteY3" fmla="*/ 1968500 h 6819900"/>
                <a:gd name="connsiteX4" fmla="*/ 1727200 w 2247900"/>
                <a:gd name="connsiteY4" fmla="*/ 0 h 6819900"/>
                <a:gd name="connsiteX5" fmla="*/ 2247900 w 2247900"/>
                <a:gd name="connsiteY5" fmla="*/ 0 h 6819900"/>
                <a:gd name="connsiteX6" fmla="*/ 1524000 w 2247900"/>
                <a:gd name="connsiteY6" fmla="*/ 1968500 h 6819900"/>
                <a:gd name="connsiteX7" fmla="*/ 1244600 w 2247900"/>
                <a:gd name="connsiteY7" fmla="*/ 4724400 h 6819900"/>
                <a:gd name="connsiteX8" fmla="*/ 1651000 w 2247900"/>
                <a:gd name="connsiteY8" fmla="*/ 6819900 h 6819900"/>
                <a:gd name="connsiteX0" fmla="*/ 1651000 w 2247900"/>
                <a:gd name="connsiteY0" fmla="*/ 6819900 h 6819900"/>
                <a:gd name="connsiteX1" fmla="*/ 381000 w 2247900"/>
                <a:gd name="connsiteY1" fmla="*/ 6819900 h 6819900"/>
                <a:gd name="connsiteX2" fmla="*/ 0 w 2247900"/>
                <a:gd name="connsiteY2" fmla="*/ 4724400 h 6819900"/>
                <a:gd name="connsiteX3" fmla="*/ 762000 w 2247900"/>
                <a:gd name="connsiteY3" fmla="*/ 1968500 h 6819900"/>
                <a:gd name="connsiteX4" fmla="*/ 1727200 w 2247900"/>
                <a:gd name="connsiteY4" fmla="*/ 0 h 6819900"/>
                <a:gd name="connsiteX5" fmla="*/ 2247900 w 2247900"/>
                <a:gd name="connsiteY5" fmla="*/ 0 h 6819900"/>
                <a:gd name="connsiteX6" fmla="*/ 1524000 w 2247900"/>
                <a:gd name="connsiteY6" fmla="*/ 1968500 h 6819900"/>
                <a:gd name="connsiteX7" fmla="*/ 1244600 w 2247900"/>
                <a:gd name="connsiteY7" fmla="*/ 4724400 h 6819900"/>
                <a:gd name="connsiteX8" fmla="*/ 1651000 w 2247900"/>
                <a:gd name="connsiteY8" fmla="*/ 6819900 h 6819900"/>
                <a:gd name="connsiteX0" fmla="*/ 1651000 w 2247900"/>
                <a:gd name="connsiteY0" fmla="*/ 6819900 h 6819900"/>
                <a:gd name="connsiteX1" fmla="*/ 381000 w 2247900"/>
                <a:gd name="connsiteY1" fmla="*/ 6819900 h 6819900"/>
                <a:gd name="connsiteX2" fmla="*/ 0 w 2247900"/>
                <a:gd name="connsiteY2" fmla="*/ 4724400 h 6819900"/>
                <a:gd name="connsiteX3" fmla="*/ 762000 w 2247900"/>
                <a:gd name="connsiteY3" fmla="*/ 1968500 h 6819900"/>
                <a:gd name="connsiteX4" fmla="*/ 1727200 w 2247900"/>
                <a:gd name="connsiteY4" fmla="*/ 0 h 6819900"/>
                <a:gd name="connsiteX5" fmla="*/ 2247900 w 2247900"/>
                <a:gd name="connsiteY5" fmla="*/ 0 h 6819900"/>
                <a:gd name="connsiteX6" fmla="*/ 1524000 w 2247900"/>
                <a:gd name="connsiteY6" fmla="*/ 1968500 h 6819900"/>
                <a:gd name="connsiteX7" fmla="*/ 1308100 w 2247900"/>
                <a:gd name="connsiteY7" fmla="*/ 4699000 h 6819900"/>
                <a:gd name="connsiteX8" fmla="*/ 1651000 w 2247900"/>
                <a:gd name="connsiteY8" fmla="*/ 6819900 h 6819900"/>
                <a:gd name="connsiteX0" fmla="*/ 1651000 w 2247900"/>
                <a:gd name="connsiteY0" fmla="*/ 6819900 h 6819900"/>
                <a:gd name="connsiteX1" fmla="*/ 381000 w 2247900"/>
                <a:gd name="connsiteY1" fmla="*/ 6819900 h 6819900"/>
                <a:gd name="connsiteX2" fmla="*/ 0 w 2247900"/>
                <a:gd name="connsiteY2" fmla="*/ 4724400 h 6819900"/>
                <a:gd name="connsiteX3" fmla="*/ 762000 w 2247900"/>
                <a:gd name="connsiteY3" fmla="*/ 1968500 h 6819900"/>
                <a:gd name="connsiteX4" fmla="*/ 1727200 w 2247900"/>
                <a:gd name="connsiteY4" fmla="*/ 0 h 6819900"/>
                <a:gd name="connsiteX5" fmla="*/ 2247900 w 2247900"/>
                <a:gd name="connsiteY5" fmla="*/ 0 h 6819900"/>
                <a:gd name="connsiteX6" fmla="*/ 1638300 w 2247900"/>
                <a:gd name="connsiteY6" fmla="*/ 2032000 h 6819900"/>
                <a:gd name="connsiteX7" fmla="*/ 1308100 w 2247900"/>
                <a:gd name="connsiteY7" fmla="*/ 4699000 h 6819900"/>
                <a:gd name="connsiteX8" fmla="*/ 1651000 w 2247900"/>
                <a:gd name="connsiteY8" fmla="*/ 6819900 h 6819900"/>
                <a:gd name="connsiteX0" fmla="*/ 1651000 w 2247900"/>
                <a:gd name="connsiteY0" fmla="*/ 6819900 h 6819900"/>
                <a:gd name="connsiteX1" fmla="*/ 381000 w 2247900"/>
                <a:gd name="connsiteY1" fmla="*/ 6819900 h 6819900"/>
                <a:gd name="connsiteX2" fmla="*/ 0 w 2247900"/>
                <a:gd name="connsiteY2" fmla="*/ 4724400 h 6819900"/>
                <a:gd name="connsiteX3" fmla="*/ 762000 w 2247900"/>
                <a:gd name="connsiteY3" fmla="*/ 1968500 h 6819900"/>
                <a:gd name="connsiteX4" fmla="*/ 1727200 w 2247900"/>
                <a:gd name="connsiteY4" fmla="*/ 0 h 6819900"/>
                <a:gd name="connsiteX5" fmla="*/ 2247900 w 2247900"/>
                <a:gd name="connsiteY5" fmla="*/ 0 h 6819900"/>
                <a:gd name="connsiteX6" fmla="*/ 1638300 w 2247900"/>
                <a:gd name="connsiteY6" fmla="*/ 2032000 h 6819900"/>
                <a:gd name="connsiteX7" fmla="*/ 1308100 w 2247900"/>
                <a:gd name="connsiteY7" fmla="*/ 4699000 h 6819900"/>
                <a:gd name="connsiteX8" fmla="*/ 1651000 w 2247900"/>
                <a:gd name="connsiteY8" fmla="*/ 6819900 h 6819900"/>
                <a:gd name="connsiteX0" fmla="*/ 1651000 w 2247900"/>
                <a:gd name="connsiteY0" fmla="*/ 6819900 h 6819900"/>
                <a:gd name="connsiteX1" fmla="*/ 381000 w 2247900"/>
                <a:gd name="connsiteY1" fmla="*/ 6819900 h 6819900"/>
                <a:gd name="connsiteX2" fmla="*/ 0 w 2247900"/>
                <a:gd name="connsiteY2" fmla="*/ 4724400 h 6819900"/>
                <a:gd name="connsiteX3" fmla="*/ 762000 w 2247900"/>
                <a:gd name="connsiteY3" fmla="*/ 1968500 h 6819900"/>
                <a:gd name="connsiteX4" fmla="*/ 1727200 w 2247900"/>
                <a:gd name="connsiteY4" fmla="*/ 0 h 6819900"/>
                <a:gd name="connsiteX5" fmla="*/ 2247900 w 2247900"/>
                <a:gd name="connsiteY5" fmla="*/ 0 h 6819900"/>
                <a:gd name="connsiteX6" fmla="*/ 1638300 w 2247900"/>
                <a:gd name="connsiteY6" fmla="*/ 2032000 h 6819900"/>
                <a:gd name="connsiteX7" fmla="*/ 1308100 w 2247900"/>
                <a:gd name="connsiteY7" fmla="*/ 4699000 h 6819900"/>
                <a:gd name="connsiteX8" fmla="*/ 1651000 w 2247900"/>
                <a:gd name="connsiteY8" fmla="*/ 6819900 h 6819900"/>
                <a:gd name="connsiteX0" fmla="*/ 1651000 w 2247900"/>
                <a:gd name="connsiteY0" fmla="*/ 6819900 h 6819900"/>
                <a:gd name="connsiteX1" fmla="*/ 381000 w 2247900"/>
                <a:gd name="connsiteY1" fmla="*/ 6819900 h 6819900"/>
                <a:gd name="connsiteX2" fmla="*/ 0 w 2247900"/>
                <a:gd name="connsiteY2" fmla="*/ 4724400 h 6819900"/>
                <a:gd name="connsiteX3" fmla="*/ 762000 w 2247900"/>
                <a:gd name="connsiteY3" fmla="*/ 1968500 h 6819900"/>
                <a:gd name="connsiteX4" fmla="*/ 1727200 w 2247900"/>
                <a:gd name="connsiteY4" fmla="*/ 0 h 6819900"/>
                <a:gd name="connsiteX5" fmla="*/ 2247900 w 2247900"/>
                <a:gd name="connsiteY5" fmla="*/ 0 h 6819900"/>
                <a:gd name="connsiteX6" fmla="*/ 1638300 w 2247900"/>
                <a:gd name="connsiteY6" fmla="*/ 2032000 h 6819900"/>
                <a:gd name="connsiteX7" fmla="*/ 1308100 w 2247900"/>
                <a:gd name="connsiteY7" fmla="*/ 4699000 h 6819900"/>
                <a:gd name="connsiteX8" fmla="*/ 1651000 w 2247900"/>
                <a:gd name="connsiteY8" fmla="*/ 6819900 h 6819900"/>
                <a:gd name="connsiteX0" fmla="*/ 1651000 w 2286000"/>
                <a:gd name="connsiteY0" fmla="*/ 6832600 h 6832600"/>
                <a:gd name="connsiteX1" fmla="*/ 381000 w 2286000"/>
                <a:gd name="connsiteY1" fmla="*/ 6832600 h 6832600"/>
                <a:gd name="connsiteX2" fmla="*/ 0 w 2286000"/>
                <a:gd name="connsiteY2" fmla="*/ 4737100 h 6832600"/>
                <a:gd name="connsiteX3" fmla="*/ 762000 w 2286000"/>
                <a:gd name="connsiteY3" fmla="*/ 1981200 h 6832600"/>
                <a:gd name="connsiteX4" fmla="*/ 1727200 w 2286000"/>
                <a:gd name="connsiteY4" fmla="*/ 12700 h 6832600"/>
                <a:gd name="connsiteX5" fmla="*/ 2286000 w 2286000"/>
                <a:gd name="connsiteY5" fmla="*/ 0 h 6832600"/>
                <a:gd name="connsiteX6" fmla="*/ 1638300 w 2286000"/>
                <a:gd name="connsiteY6" fmla="*/ 2044700 h 6832600"/>
                <a:gd name="connsiteX7" fmla="*/ 1308100 w 2286000"/>
                <a:gd name="connsiteY7" fmla="*/ 4711700 h 6832600"/>
                <a:gd name="connsiteX8" fmla="*/ 1651000 w 2286000"/>
                <a:gd name="connsiteY8" fmla="*/ 6832600 h 6832600"/>
                <a:gd name="connsiteX0" fmla="*/ 1651000 w 2286000"/>
                <a:gd name="connsiteY0" fmla="*/ 6832600 h 6832600"/>
                <a:gd name="connsiteX1" fmla="*/ 381000 w 2286000"/>
                <a:gd name="connsiteY1" fmla="*/ 6832600 h 6832600"/>
                <a:gd name="connsiteX2" fmla="*/ 0 w 2286000"/>
                <a:gd name="connsiteY2" fmla="*/ 4737100 h 6832600"/>
                <a:gd name="connsiteX3" fmla="*/ 863600 w 2286000"/>
                <a:gd name="connsiteY3" fmla="*/ 1993900 h 6832600"/>
                <a:gd name="connsiteX4" fmla="*/ 1727200 w 2286000"/>
                <a:gd name="connsiteY4" fmla="*/ 12700 h 6832600"/>
                <a:gd name="connsiteX5" fmla="*/ 2286000 w 2286000"/>
                <a:gd name="connsiteY5" fmla="*/ 0 h 6832600"/>
                <a:gd name="connsiteX6" fmla="*/ 1638300 w 2286000"/>
                <a:gd name="connsiteY6" fmla="*/ 2044700 h 6832600"/>
                <a:gd name="connsiteX7" fmla="*/ 1308100 w 2286000"/>
                <a:gd name="connsiteY7" fmla="*/ 4711700 h 6832600"/>
                <a:gd name="connsiteX8" fmla="*/ 1651000 w 2286000"/>
                <a:gd name="connsiteY8" fmla="*/ 6832600 h 6832600"/>
                <a:gd name="connsiteX0" fmla="*/ 1651000 w 2286000"/>
                <a:gd name="connsiteY0" fmla="*/ 6832600 h 6832600"/>
                <a:gd name="connsiteX1" fmla="*/ 381000 w 2286000"/>
                <a:gd name="connsiteY1" fmla="*/ 6832600 h 6832600"/>
                <a:gd name="connsiteX2" fmla="*/ 0 w 2286000"/>
                <a:gd name="connsiteY2" fmla="*/ 4737100 h 6832600"/>
                <a:gd name="connsiteX3" fmla="*/ 863600 w 2286000"/>
                <a:gd name="connsiteY3" fmla="*/ 1993900 h 6832600"/>
                <a:gd name="connsiteX4" fmla="*/ 1727200 w 2286000"/>
                <a:gd name="connsiteY4" fmla="*/ 12700 h 6832600"/>
                <a:gd name="connsiteX5" fmla="*/ 2286000 w 2286000"/>
                <a:gd name="connsiteY5" fmla="*/ 0 h 6832600"/>
                <a:gd name="connsiteX6" fmla="*/ 1638300 w 2286000"/>
                <a:gd name="connsiteY6" fmla="*/ 2044700 h 6832600"/>
                <a:gd name="connsiteX7" fmla="*/ 1308100 w 2286000"/>
                <a:gd name="connsiteY7" fmla="*/ 4711700 h 6832600"/>
                <a:gd name="connsiteX8" fmla="*/ 1651000 w 2286000"/>
                <a:gd name="connsiteY8" fmla="*/ 6832600 h 6832600"/>
                <a:gd name="connsiteX0" fmla="*/ 1651000 w 2286000"/>
                <a:gd name="connsiteY0" fmla="*/ 6832600 h 6832600"/>
                <a:gd name="connsiteX1" fmla="*/ 381000 w 2286000"/>
                <a:gd name="connsiteY1" fmla="*/ 6832600 h 6832600"/>
                <a:gd name="connsiteX2" fmla="*/ 0 w 2286000"/>
                <a:gd name="connsiteY2" fmla="*/ 4737100 h 6832600"/>
                <a:gd name="connsiteX3" fmla="*/ 863600 w 2286000"/>
                <a:gd name="connsiteY3" fmla="*/ 1993900 h 6832600"/>
                <a:gd name="connsiteX4" fmla="*/ 1600200 w 2286000"/>
                <a:gd name="connsiteY4" fmla="*/ 12700 h 6832600"/>
                <a:gd name="connsiteX5" fmla="*/ 2286000 w 2286000"/>
                <a:gd name="connsiteY5" fmla="*/ 0 h 6832600"/>
                <a:gd name="connsiteX6" fmla="*/ 1638300 w 2286000"/>
                <a:gd name="connsiteY6" fmla="*/ 2044700 h 6832600"/>
                <a:gd name="connsiteX7" fmla="*/ 1308100 w 2286000"/>
                <a:gd name="connsiteY7" fmla="*/ 4711700 h 6832600"/>
                <a:gd name="connsiteX8" fmla="*/ 1651000 w 2286000"/>
                <a:gd name="connsiteY8" fmla="*/ 6832600 h 6832600"/>
                <a:gd name="connsiteX0" fmla="*/ 1727976 w 2362976"/>
                <a:gd name="connsiteY0" fmla="*/ 6832600 h 6832600"/>
                <a:gd name="connsiteX1" fmla="*/ 457976 w 2362976"/>
                <a:gd name="connsiteY1" fmla="*/ 6832600 h 6832600"/>
                <a:gd name="connsiteX2" fmla="*/ 76976 w 2362976"/>
                <a:gd name="connsiteY2" fmla="*/ 4737100 h 6832600"/>
                <a:gd name="connsiteX3" fmla="*/ 940576 w 2362976"/>
                <a:gd name="connsiteY3" fmla="*/ 1993900 h 6832600"/>
                <a:gd name="connsiteX4" fmla="*/ 1677176 w 2362976"/>
                <a:gd name="connsiteY4" fmla="*/ 12700 h 6832600"/>
                <a:gd name="connsiteX5" fmla="*/ 2362976 w 2362976"/>
                <a:gd name="connsiteY5" fmla="*/ 0 h 6832600"/>
                <a:gd name="connsiteX6" fmla="*/ 1715276 w 2362976"/>
                <a:gd name="connsiteY6" fmla="*/ 2044700 h 6832600"/>
                <a:gd name="connsiteX7" fmla="*/ 1385076 w 2362976"/>
                <a:gd name="connsiteY7" fmla="*/ 4711700 h 6832600"/>
                <a:gd name="connsiteX8" fmla="*/ 1727976 w 2362976"/>
                <a:gd name="connsiteY8" fmla="*/ 6832600 h 6832600"/>
                <a:gd name="connsiteX0" fmla="*/ 1745560 w 2380560"/>
                <a:gd name="connsiteY0" fmla="*/ 6832600 h 6832600"/>
                <a:gd name="connsiteX1" fmla="*/ 475560 w 2380560"/>
                <a:gd name="connsiteY1" fmla="*/ 6832600 h 6832600"/>
                <a:gd name="connsiteX2" fmla="*/ 94560 w 2380560"/>
                <a:gd name="connsiteY2" fmla="*/ 4737100 h 6832600"/>
                <a:gd name="connsiteX3" fmla="*/ 958160 w 2380560"/>
                <a:gd name="connsiteY3" fmla="*/ 1993900 h 6832600"/>
                <a:gd name="connsiteX4" fmla="*/ 1694760 w 2380560"/>
                <a:gd name="connsiteY4" fmla="*/ 12700 h 6832600"/>
                <a:gd name="connsiteX5" fmla="*/ 2380560 w 2380560"/>
                <a:gd name="connsiteY5" fmla="*/ 0 h 6832600"/>
                <a:gd name="connsiteX6" fmla="*/ 1732860 w 2380560"/>
                <a:gd name="connsiteY6" fmla="*/ 2044700 h 6832600"/>
                <a:gd name="connsiteX7" fmla="*/ 1402660 w 2380560"/>
                <a:gd name="connsiteY7" fmla="*/ 4711700 h 6832600"/>
                <a:gd name="connsiteX8" fmla="*/ 1745560 w 2380560"/>
                <a:gd name="connsiteY8" fmla="*/ 6832600 h 6832600"/>
                <a:gd name="connsiteX0" fmla="*/ 1676931 w 2311931"/>
                <a:gd name="connsiteY0" fmla="*/ 6832600 h 6832600"/>
                <a:gd name="connsiteX1" fmla="*/ 406931 w 2311931"/>
                <a:gd name="connsiteY1" fmla="*/ 6832600 h 6832600"/>
                <a:gd name="connsiteX2" fmla="*/ 25931 w 2311931"/>
                <a:gd name="connsiteY2" fmla="*/ 4737100 h 6832600"/>
                <a:gd name="connsiteX3" fmla="*/ 889531 w 2311931"/>
                <a:gd name="connsiteY3" fmla="*/ 1993900 h 6832600"/>
                <a:gd name="connsiteX4" fmla="*/ 1626131 w 2311931"/>
                <a:gd name="connsiteY4" fmla="*/ 12700 h 6832600"/>
                <a:gd name="connsiteX5" fmla="*/ 2311931 w 2311931"/>
                <a:gd name="connsiteY5" fmla="*/ 0 h 6832600"/>
                <a:gd name="connsiteX6" fmla="*/ 1664231 w 2311931"/>
                <a:gd name="connsiteY6" fmla="*/ 2044700 h 6832600"/>
                <a:gd name="connsiteX7" fmla="*/ 1334031 w 2311931"/>
                <a:gd name="connsiteY7" fmla="*/ 4711700 h 6832600"/>
                <a:gd name="connsiteX8" fmla="*/ 1676931 w 2311931"/>
                <a:gd name="connsiteY8" fmla="*/ 6832600 h 6832600"/>
                <a:gd name="connsiteX0" fmla="*/ 1713441 w 2348441"/>
                <a:gd name="connsiteY0" fmla="*/ 6832600 h 6832600"/>
                <a:gd name="connsiteX1" fmla="*/ 443441 w 2348441"/>
                <a:gd name="connsiteY1" fmla="*/ 6832600 h 6832600"/>
                <a:gd name="connsiteX2" fmla="*/ 62441 w 2348441"/>
                <a:gd name="connsiteY2" fmla="*/ 4737100 h 6832600"/>
                <a:gd name="connsiteX3" fmla="*/ 926041 w 2348441"/>
                <a:gd name="connsiteY3" fmla="*/ 1993900 h 6832600"/>
                <a:gd name="connsiteX4" fmla="*/ 1662641 w 2348441"/>
                <a:gd name="connsiteY4" fmla="*/ 12700 h 6832600"/>
                <a:gd name="connsiteX5" fmla="*/ 2348441 w 2348441"/>
                <a:gd name="connsiteY5" fmla="*/ 0 h 6832600"/>
                <a:gd name="connsiteX6" fmla="*/ 1700741 w 2348441"/>
                <a:gd name="connsiteY6" fmla="*/ 2044700 h 6832600"/>
                <a:gd name="connsiteX7" fmla="*/ 1370541 w 2348441"/>
                <a:gd name="connsiteY7" fmla="*/ 4711700 h 6832600"/>
                <a:gd name="connsiteX8" fmla="*/ 1713441 w 2348441"/>
                <a:gd name="connsiteY8" fmla="*/ 6832600 h 6832600"/>
                <a:gd name="connsiteX0" fmla="*/ 1756980 w 2391980"/>
                <a:gd name="connsiteY0" fmla="*/ 6832600 h 6832600"/>
                <a:gd name="connsiteX1" fmla="*/ 486980 w 2391980"/>
                <a:gd name="connsiteY1" fmla="*/ 6832600 h 6832600"/>
                <a:gd name="connsiteX2" fmla="*/ 105980 w 2391980"/>
                <a:gd name="connsiteY2" fmla="*/ 4737100 h 6832600"/>
                <a:gd name="connsiteX3" fmla="*/ 969580 w 2391980"/>
                <a:gd name="connsiteY3" fmla="*/ 1993900 h 6832600"/>
                <a:gd name="connsiteX4" fmla="*/ 1706180 w 2391980"/>
                <a:gd name="connsiteY4" fmla="*/ 12700 h 6832600"/>
                <a:gd name="connsiteX5" fmla="*/ 2391980 w 2391980"/>
                <a:gd name="connsiteY5" fmla="*/ 0 h 6832600"/>
                <a:gd name="connsiteX6" fmla="*/ 1744280 w 2391980"/>
                <a:gd name="connsiteY6" fmla="*/ 2044700 h 6832600"/>
                <a:gd name="connsiteX7" fmla="*/ 1414080 w 2391980"/>
                <a:gd name="connsiteY7" fmla="*/ 4711700 h 6832600"/>
                <a:gd name="connsiteX8" fmla="*/ 1756980 w 2391980"/>
                <a:gd name="connsiteY8" fmla="*/ 6832600 h 6832600"/>
                <a:gd name="connsiteX0" fmla="*/ 1766447 w 2401447"/>
                <a:gd name="connsiteY0" fmla="*/ 6832600 h 6832600"/>
                <a:gd name="connsiteX1" fmla="*/ 496447 w 2401447"/>
                <a:gd name="connsiteY1" fmla="*/ 6832600 h 6832600"/>
                <a:gd name="connsiteX2" fmla="*/ 115447 w 2401447"/>
                <a:gd name="connsiteY2" fmla="*/ 4737100 h 6832600"/>
                <a:gd name="connsiteX3" fmla="*/ 928247 w 2401447"/>
                <a:gd name="connsiteY3" fmla="*/ 1993900 h 6832600"/>
                <a:gd name="connsiteX4" fmla="*/ 1715647 w 2401447"/>
                <a:gd name="connsiteY4" fmla="*/ 12700 h 6832600"/>
                <a:gd name="connsiteX5" fmla="*/ 2401447 w 2401447"/>
                <a:gd name="connsiteY5" fmla="*/ 0 h 6832600"/>
                <a:gd name="connsiteX6" fmla="*/ 1753747 w 2401447"/>
                <a:gd name="connsiteY6" fmla="*/ 2044700 h 6832600"/>
                <a:gd name="connsiteX7" fmla="*/ 1423547 w 2401447"/>
                <a:gd name="connsiteY7" fmla="*/ 4711700 h 6832600"/>
                <a:gd name="connsiteX8" fmla="*/ 1766447 w 2401447"/>
                <a:gd name="connsiteY8" fmla="*/ 6832600 h 6832600"/>
                <a:gd name="connsiteX0" fmla="*/ 1715508 w 2350508"/>
                <a:gd name="connsiteY0" fmla="*/ 6832600 h 6832600"/>
                <a:gd name="connsiteX1" fmla="*/ 445508 w 2350508"/>
                <a:gd name="connsiteY1" fmla="*/ 6832600 h 6832600"/>
                <a:gd name="connsiteX2" fmla="*/ 64508 w 2350508"/>
                <a:gd name="connsiteY2" fmla="*/ 4737100 h 6832600"/>
                <a:gd name="connsiteX3" fmla="*/ 877308 w 2350508"/>
                <a:gd name="connsiteY3" fmla="*/ 1993900 h 6832600"/>
                <a:gd name="connsiteX4" fmla="*/ 1664708 w 2350508"/>
                <a:gd name="connsiteY4" fmla="*/ 12700 h 6832600"/>
                <a:gd name="connsiteX5" fmla="*/ 2350508 w 2350508"/>
                <a:gd name="connsiteY5" fmla="*/ 0 h 6832600"/>
                <a:gd name="connsiteX6" fmla="*/ 1702808 w 2350508"/>
                <a:gd name="connsiteY6" fmla="*/ 2044700 h 6832600"/>
                <a:gd name="connsiteX7" fmla="*/ 1372608 w 2350508"/>
                <a:gd name="connsiteY7" fmla="*/ 4711700 h 6832600"/>
                <a:gd name="connsiteX8" fmla="*/ 1715508 w 2350508"/>
                <a:gd name="connsiteY8" fmla="*/ 6832600 h 6832600"/>
                <a:gd name="connsiteX0" fmla="*/ 1698933 w 2333933"/>
                <a:gd name="connsiteY0" fmla="*/ 6832600 h 6832600"/>
                <a:gd name="connsiteX1" fmla="*/ 428933 w 2333933"/>
                <a:gd name="connsiteY1" fmla="*/ 6832600 h 6832600"/>
                <a:gd name="connsiteX2" fmla="*/ 47933 w 2333933"/>
                <a:gd name="connsiteY2" fmla="*/ 4737100 h 6832600"/>
                <a:gd name="connsiteX3" fmla="*/ 860733 w 2333933"/>
                <a:gd name="connsiteY3" fmla="*/ 1993900 h 6832600"/>
                <a:gd name="connsiteX4" fmla="*/ 1648133 w 2333933"/>
                <a:gd name="connsiteY4" fmla="*/ 12700 h 6832600"/>
                <a:gd name="connsiteX5" fmla="*/ 2333933 w 2333933"/>
                <a:gd name="connsiteY5" fmla="*/ 0 h 6832600"/>
                <a:gd name="connsiteX6" fmla="*/ 1686233 w 2333933"/>
                <a:gd name="connsiteY6" fmla="*/ 2044700 h 6832600"/>
                <a:gd name="connsiteX7" fmla="*/ 1356033 w 2333933"/>
                <a:gd name="connsiteY7" fmla="*/ 4711700 h 6832600"/>
                <a:gd name="connsiteX8" fmla="*/ 1698933 w 2333933"/>
                <a:gd name="connsiteY8" fmla="*/ 6832600 h 6832600"/>
                <a:gd name="connsiteX0" fmla="*/ 1702652 w 2337652"/>
                <a:gd name="connsiteY0" fmla="*/ 6832600 h 6832600"/>
                <a:gd name="connsiteX1" fmla="*/ 432652 w 2337652"/>
                <a:gd name="connsiteY1" fmla="*/ 6832600 h 6832600"/>
                <a:gd name="connsiteX2" fmla="*/ 51652 w 2337652"/>
                <a:gd name="connsiteY2" fmla="*/ 4737100 h 6832600"/>
                <a:gd name="connsiteX3" fmla="*/ 788252 w 2337652"/>
                <a:gd name="connsiteY3" fmla="*/ 1968500 h 6832600"/>
                <a:gd name="connsiteX4" fmla="*/ 1651852 w 2337652"/>
                <a:gd name="connsiteY4" fmla="*/ 12700 h 6832600"/>
                <a:gd name="connsiteX5" fmla="*/ 2337652 w 2337652"/>
                <a:gd name="connsiteY5" fmla="*/ 0 h 6832600"/>
                <a:gd name="connsiteX6" fmla="*/ 1689952 w 2337652"/>
                <a:gd name="connsiteY6" fmla="*/ 2044700 h 6832600"/>
                <a:gd name="connsiteX7" fmla="*/ 1359752 w 2337652"/>
                <a:gd name="connsiteY7" fmla="*/ 4711700 h 6832600"/>
                <a:gd name="connsiteX8" fmla="*/ 1702652 w 2337652"/>
                <a:gd name="connsiteY8" fmla="*/ 6832600 h 6832600"/>
                <a:gd name="connsiteX0" fmla="*/ 1737855 w 2372855"/>
                <a:gd name="connsiteY0" fmla="*/ 6832600 h 6832600"/>
                <a:gd name="connsiteX1" fmla="*/ 467855 w 2372855"/>
                <a:gd name="connsiteY1" fmla="*/ 6832600 h 6832600"/>
                <a:gd name="connsiteX2" fmla="*/ 86855 w 2372855"/>
                <a:gd name="connsiteY2" fmla="*/ 4737100 h 6832600"/>
                <a:gd name="connsiteX3" fmla="*/ 823455 w 2372855"/>
                <a:gd name="connsiteY3" fmla="*/ 1968500 h 6832600"/>
                <a:gd name="connsiteX4" fmla="*/ 1687055 w 2372855"/>
                <a:gd name="connsiteY4" fmla="*/ 12700 h 6832600"/>
                <a:gd name="connsiteX5" fmla="*/ 2372855 w 2372855"/>
                <a:gd name="connsiteY5" fmla="*/ 0 h 6832600"/>
                <a:gd name="connsiteX6" fmla="*/ 1725155 w 2372855"/>
                <a:gd name="connsiteY6" fmla="*/ 2044700 h 6832600"/>
                <a:gd name="connsiteX7" fmla="*/ 1394955 w 2372855"/>
                <a:gd name="connsiteY7" fmla="*/ 4711700 h 6832600"/>
                <a:gd name="connsiteX8" fmla="*/ 1737855 w 2372855"/>
                <a:gd name="connsiteY8" fmla="*/ 6832600 h 6832600"/>
                <a:gd name="connsiteX0" fmla="*/ 1722442 w 2357442"/>
                <a:gd name="connsiteY0" fmla="*/ 6832600 h 6832600"/>
                <a:gd name="connsiteX1" fmla="*/ 452442 w 2357442"/>
                <a:gd name="connsiteY1" fmla="*/ 6832600 h 6832600"/>
                <a:gd name="connsiteX2" fmla="*/ 71442 w 2357442"/>
                <a:gd name="connsiteY2" fmla="*/ 4737100 h 6832600"/>
                <a:gd name="connsiteX3" fmla="*/ 808042 w 2357442"/>
                <a:gd name="connsiteY3" fmla="*/ 1968500 h 6832600"/>
                <a:gd name="connsiteX4" fmla="*/ 1671642 w 2357442"/>
                <a:gd name="connsiteY4" fmla="*/ 12700 h 6832600"/>
                <a:gd name="connsiteX5" fmla="*/ 2357442 w 2357442"/>
                <a:gd name="connsiteY5" fmla="*/ 0 h 6832600"/>
                <a:gd name="connsiteX6" fmla="*/ 1709742 w 2357442"/>
                <a:gd name="connsiteY6" fmla="*/ 2044700 h 6832600"/>
                <a:gd name="connsiteX7" fmla="*/ 1379542 w 2357442"/>
                <a:gd name="connsiteY7" fmla="*/ 4711700 h 6832600"/>
                <a:gd name="connsiteX8" fmla="*/ 1722442 w 2357442"/>
                <a:gd name="connsiteY8" fmla="*/ 6832600 h 6832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57442" h="6832600">
                  <a:moveTo>
                    <a:pt x="1722442" y="6832600"/>
                  </a:moveTo>
                  <a:lnTo>
                    <a:pt x="452442" y="6832600"/>
                  </a:lnTo>
                  <a:lnTo>
                    <a:pt x="71442" y="4737100"/>
                  </a:lnTo>
                  <a:cubicBezTo>
                    <a:pt x="-148691" y="3708400"/>
                    <a:pt x="151875" y="3352800"/>
                    <a:pt x="808042" y="1968500"/>
                  </a:cubicBezTo>
                  <a:cubicBezTo>
                    <a:pt x="1070509" y="1282700"/>
                    <a:pt x="1383775" y="673100"/>
                    <a:pt x="1671642" y="12700"/>
                  </a:cubicBezTo>
                  <a:lnTo>
                    <a:pt x="2357442" y="0"/>
                  </a:lnTo>
                  <a:lnTo>
                    <a:pt x="1709742" y="2044700"/>
                  </a:lnTo>
                  <a:cubicBezTo>
                    <a:pt x="1273709" y="3416300"/>
                    <a:pt x="1142475" y="3619500"/>
                    <a:pt x="1379542" y="4711700"/>
                  </a:cubicBezTo>
                  <a:lnTo>
                    <a:pt x="1722442" y="6832600"/>
                  </a:lnTo>
                  <a:close/>
                </a:path>
              </a:pathLst>
            </a:custGeom>
            <a:gradFill>
              <a:gsLst>
                <a:gs pos="0">
                  <a:srgbClr val="478D39"/>
                </a:gs>
                <a:gs pos="100000">
                  <a:srgbClr val="78B944"/>
                </a:gs>
              </a:gsLst>
              <a:lin ang="8100000" scaled="1"/>
            </a:gradFill>
            <a:ln w="10795" cap="flat" cmpd="sng" algn="ctr">
              <a:noFill/>
              <a:prstDash val="solid"/>
            </a:ln>
            <a:effectLst/>
          </p:spPr>
          <p:txBody>
            <a:bodyPr wrap="square" rtlCol="0" anchor="t">
              <a:noAutofit/>
            </a:bodyPr>
            <a:lstStyle/>
            <a:p>
              <a:pPr marL="0" marR="0" lvl="0" indent="0" defTabSz="914400" eaLnBrk="1" fontAlgn="auto" latinLnBrk="0" hangingPunct="1">
                <a:lnSpc>
                  <a:spcPct val="90000"/>
                </a:lnSpc>
                <a:spcBef>
                  <a:spcPts val="0"/>
                </a:spcBef>
                <a:spcAft>
                  <a:spcPts val="1000"/>
                </a:spcAft>
                <a:buClrTx/>
                <a:buSzTx/>
                <a:buFontTx/>
                <a:buNone/>
                <a:tabLst/>
                <a:defRPr/>
              </a:pPr>
              <a:r>
                <a:rPr kumimoji="0" lang="en-US" sz="1200" b="0" i="0" u="none" strike="noStrike" kern="0" cap="none" spc="0" normalizeH="0" baseline="0" noProof="0">
                  <a:ln>
                    <a:noFill/>
                  </a:ln>
                  <a:solidFill>
                    <a:prstClr val="white"/>
                  </a:solidFill>
                  <a:effectLst/>
                  <a:uLnTx/>
                  <a:uFillTx/>
                  <a:latin typeface="+mn-lt"/>
                  <a:ea typeface="+mn-ea"/>
                  <a:cs typeface="+mn-cs"/>
                  <a:sym typeface="+mn-lt"/>
                </a:rPr>
                <a:t>g</a:t>
              </a:r>
            </a:p>
          </p:txBody>
        </p:sp>
      </p:grpSp>
      <p:grpSp>
        <p:nvGrpSpPr>
          <p:cNvPr id="19" name="Group 18">
            <a:extLst>
              <a:ext uri="{FF2B5EF4-FFF2-40B4-BE49-F238E27FC236}">
                <a16:creationId xmlns:a16="http://schemas.microsoft.com/office/drawing/2014/main" id="{6C6F4E66-7624-4D61-804C-546F113DF76B}"/>
              </a:ext>
            </a:extLst>
          </p:cNvPr>
          <p:cNvGrpSpPr/>
          <p:nvPr userDrawn="1"/>
        </p:nvGrpSpPr>
        <p:grpSpPr>
          <a:xfrm>
            <a:off x="0" y="6768738"/>
            <a:ext cx="12198348" cy="91440"/>
            <a:chOff x="0" y="6768738"/>
            <a:chExt cx="12198348" cy="91440"/>
          </a:xfrm>
        </p:grpSpPr>
        <p:sp>
          <p:nvSpPr>
            <p:cNvPr id="20" name="Rectangle 19">
              <a:extLst>
                <a:ext uri="{FF2B5EF4-FFF2-40B4-BE49-F238E27FC236}">
                  <a16:creationId xmlns:a16="http://schemas.microsoft.com/office/drawing/2014/main" id="{5E7141FC-60B7-4CBE-A0E8-864578D1D5CF}"/>
                </a:ext>
              </a:extLst>
            </p:cNvPr>
            <p:cNvSpPr/>
            <p:nvPr userDrawn="1"/>
          </p:nvSpPr>
          <p:spPr>
            <a:xfrm>
              <a:off x="0" y="6814458"/>
              <a:ext cx="12198348" cy="45720"/>
            </a:xfrm>
            <a:prstGeom prst="rect">
              <a:avLst/>
            </a:prstGeom>
            <a:solidFill>
              <a:srgbClr val="B8D6AB"/>
            </a:solidFill>
            <a:ln w="9525" cap="rnd"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mn-lt"/>
                <a:ea typeface="+mn-ea"/>
                <a:cs typeface="+mn-cs"/>
                <a:sym typeface="+mn-lt"/>
              </a:endParaRPr>
            </a:p>
          </p:txBody>
        </p:sp>
        <p:sp>
          <p:nvSpPr>
            <p:cNvPr id="21" name="Rectangle 20">
              <a:extLst>
                <a:ext uri="{FF2B5EF4-FFF2-40B4-BE49-F238E27FC236}">
                  <a16:creationId xmlns:a16="http://schemas.microsoft.com/office/drawing/2014/main" id="{A03D1672-E07E-436F-86E0-6C73B797BF08}"/>
                </a:ext>
              </a:extLst>
            </p:cNvPr>
            <p:cNvSpPr/>
            <p:nvPr userDrawn="1"/>
          </p:nvSpPr>
          <p:spPr>
            <a:xfrm>
              <a:off x="0" y="6768738"/>
              <a:ext cx="12198348" cy="45720"/>
            </a:xfrm>
            <a:prstGeom prst="rect">
              <a:avLst/>
            </a:prstGeom>
            <a:solidFill>
              <a:srgbClr val="64A35A"/>
            </a:solidFill>
            <a:ln w="9525" cap="rnd"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mn-lt"/>
                <a:ea typeface="+mn-ea"/>
                <a:cs typeface="+mn-cs"/>
                <a:sym typeface="+mn-lt"/>
              </a:endParaRPr>
            </a:p>
          </p:txBody>
        </p:sp>
      </p:grpSp>
      <p:sp>
        <p:nvSpPr>
          <p:cNvPr id="22" name="TextBox 21">
            <a:extLst>
              <a:ext uri="{FF2B5EF4-FFF2-40B4-BE49-F238E27FC236}">
                <a16:creationId xmlns:a16="http://schemas.microsoft.com/office/drawing/2014/main" id="{72DBE127-8606-48E4-B2B5-CD5E85F8B55B}"/>
              </a:ext>
            </a:extLst>
          </p:cNvPr>
          <p:cNvSpPr txBox="1"/>
          <p:nvPr userDrawn="1"/>
        </p:nvSpPr>
        <p:spPr>
          <a:xfrm>
            <a:off x="630000" y="6369978"/>
            <a:ext cx="1878250" cy="170067"/>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04E2A"/>
                </a:solidFill>
                <a:effectLst/>
                <a:uLnTx/>
                <a:uFillTx/>
                <a:latin typeface="+mn-lt"/>
                <a:ea typeface="+mn-ea"/>
                <a:cs typeface="+mn-cs"/>
                <a:sym typeface="+mn-lt"/>
              </a:rPr>
              <a:t>www.vietcombank.com.vn</a:t>
            </a:r>
          </a:p>
        </p:txBody>
      </p:sp>
      <p:grpSp>
        <p:nvGrpSpPr>
          <p:cNvPr id="23" name="Group 22">
            <a:extLst>
              <a:ext uri="{FF2B5EF4-FFF2-40B4-BE49-F238E27FC236}">
                <a16:creationId xmlns:a16="http://schemas.microsoft.com/office/drawing/2014/main" id="{3269D2D0-1E3E-4CBF-982F-9C564E980661}"/>
              </a:ext>
            </a:extLst>
          </p:cNvPr>
          <p:cNvGrpSpPr/>
          <p:nvPr userDrawn="1"/>
        </p:nvGrpSpPr>
        <p:grpSpPr>
          <a:xfrm>
            <a:off x="630000" y="622800"/>
            <a:ext cx="4462732" cy="1884094"/>
            <a:chOff x="630000" y="622800"/>
            <a:chExt cx="1954766" cy="825271"/>
          </a:xfrm>
        </p:grpSpPr>
        <p:pic>
          <p:nvPicPr>
            <p:cNvPr id="24" name="Picture 54" descr="Image result for Vietcombank">
              <a:extLst>
                <a:ext uri="{FF2B5EF4-FFF2-40B4-BE49-F238E27FC236}">
                  <a16:creationId xmlns:a16="http://schemas.microsoft.com/office/drawing/2014/main" id="{F0A25D9E-10C9-4CD1-9EFE-5A9BF39C739A}"/>
                </a:ext>
              </a:extLst>
            </p:cNvPr>
            <p:cNvPicPr>
              <a:picLocks noChangeAspect="1" noChangeArrowheads="1"/>
            </p:cNvPicPr>
            <p:nvPr userDrawn="1"/>
          </p:nvPicPr>
          <p:blipFill>
            <a:blip r:embed="rId5" cstate="print">
              <a:extLst>
                <a:ext uri="{28A0092B-C50C-407E-A947-70E740481C1C}">
                  <a14:useLocalDpi xmlns:a14="http://schemas.microsoft.com/office/drawing/2010/main"/>
                </a:ext>
              </a:extLst>
            </a:blip>
            <a:srcRect/>
            <a:stretch>
              <a:fillRect/>
            </a:stretch>
          </p:blipFill>
          <p:spPr bwMode="auto">
            <a:xfrm>
              <a:off x="630000" y="622800"/>
              <a:ext cx="1954766" cy="666248"/>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65" descr="Related image">
              <a:extLst>
                <a:ext uri="{FF2B5EF4-FFF2-40B4-BE49-F238E27FC236}">
                  <a16:creationId xmlns:a16="http://schemas.microsoft.com/office/drawing/2014/main" id="{E9D9DC16-A593-4F4D-B969-3E2C593FC843}"/>
                </a:ext>
              </a:extLst>
            </p:cNvPr>
            <p:cNvPicPr>
              <a:picLocks noChangeAspect="1" noChangeArrowheads="1"/>
            </p:cNvPicPr>
            <p:nvPr userDrawn="1"/>
          </p:nvPicPr>
          <p:blipFill rotWithShape="1">
            <a:blip r:embed="rId6" cstate="print">
              <a:extLst>
                <a:ext uri="{28A0092B-C50C-407E-A947-70E740481C1C}">
                  <a14:useLocalDpi xmlns:a14="http://schemas.microsoft.com/office/drawing/2010/main"/>
                </a:ext>
              </a:extLst>
            </a:blip>
            <a:srcRect/>
            <a:stretch/>
          </p:blipFill>
          <p:spPr bwMode="auto">
            <a:xfrm>
              <a:off x="1269283" y="1317896"/>
              <a:ext cx="1315483" cy="130175"/>
            </a:xfrm>
            <a:prstGeom prst="rect">
              <a:avLst/>
            </a:prstGeom>
            <a:noFill/>
            <a:extLst>
              <a:ext uri="{909E8E84-426E-40DD-AFC4-6F175D3DCCD1}">
                <a14:hiddenFill xmlns:a14="http://schemas.microsoft.com/office/drawing/2010/main">
                  <a:solidFill>
                    <a:srgbClr val="FFFFFF"/>
                  </a:solidFill>
                </a14:hiddenFill>
              </a:ext>
            </a:extLst>
          </p:spPr>
        </p:pic>
      </p:grpSp>
      <p:sp>
        <p:nvSpPr>
          <p:cNvPr id="26" name="TextBox 25">
            <a:extLst>
              <a:ext uri="{FF2B5EF4-FFF2-40B4-BE49-F238E27FC236}">
                <a16:creationId xmlns:a16="http://schemas.microsoft.com/office/drawing/2014/main" id="{89795525-08EB-4DD8-B6B8-6E48C4E9B040}"/>
              </a:ext>
            </a:extLst>
          </p:cNvPr>
          <p:cNvSpPr txBox="1"/>
          <p:nvPr userDrawn="1"/>
        </p:nvSpPr>
        <p:spPr>
          <a:xfrm>
            <a:off x="630000" y="3411995"/>
            <a:ext cx="4462732" cy="1751480"/>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5400" b="0" i="0" u="none" strike="noStrike" kern="0" cap="none" spc="0" normalizeH="0" baseline="0" noProof="0">
                <a:ln>
                  <a:noFill/>
                </a:ln>
                <a:solidFill>
                  <a:srgbClr val="000000"/>
                </a:solidFill>
                <a:effectLst/>
                <a:uLnTx/>
                <a:uFillTx/>
                <a:latin typeface="+mn-lt"/>
                <a:ea typeface="+mn-ea"/>
                <a:cs typeface="+mn-cs"/>
                <a:sym typeface="+mn-lt"/>
              </a:rPr>
              <a:t>Thank You</a:t>
            </a:r>
          </a:p>
        </p:txBody>
      </p:sp>
      <p:grpSp>
        <p:nvGrpSpPr>
          <p:cNvPr id="27" name="Group 26">
            <a:extLst>
              <a:ext uri="{FF2B5EF4-FFF2-40B4-BE49-F238E27FC236}">
                <a16:creationId xmlns:a16="http://schemas.microsoft.com/office/drawing/2014/main" id="{EE13EFA4-0AD2-4B41-A61F-B828D9A6D5EC}"/>
              </a:ext>
            </a:extLst>
          </p:cNvPr>
          <p:cNvGrpSpPr/>
          <p:nvPr userDrawn="1"/>
        </p:nvGrpSpPr>
        <p:grpSpPr>
          <a:xfrm>
            <a:off x="1508704" y="2918575"/>
            <a:ext cx="2705323" cy="914400"/>
            <a:chOff x="1911810" y="2918575"/>
            <a:chExt cx="2705323" cy="914400"/>
          </a:xfrm>
        </p:grpSpPr>
        <p:pic>
          <p:nvPicPr>
            <p:cNvPr id="28" name="Picture 27" descr="Diagram&#10;&#10;Description automatically generated">
              <a:extLst>
                <a:ext uri="{FF2B5EF4-FFF2-40B4-BE49-F238E27FC236}">
                  <a16:creationId xmlns:a16="http://schemas.microsoft.com/office/drawing/2014/main" id="{E76D2D72-5625-4FA8-B05C-5DB4EF230C16}"/>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l="41793" t="2693" r="39762" b="65918"/>
            <a:stretch/>
          </p:blipFill>
          <p:spPr>
            <a:xfrm>
              <a:off x="1911810" y="2918575"/>
              <a:ext cx="955245" cy="914400"/>
            </a:xfrm>
            <a:prstGeom prst="rect">
              <a:avLst/>
            </a:prstGeom>
          </p:spPr>
        </p:pic>
        <p:sp>
          <p:nvSpPr>
            <p:cNvPr id="29" name="Freeform 5">
              <a:extLst>
                <a:ext uri="{FF2B5EF4-FFF2-40B4-BE49-F238E27FC236}">
                  <a16:creationId xmlns:a16="http://schemas.microsoft.com/office/drawing/2014/main" id="{974D8FFF-D95F-4F56-B7DD-2DCBCF56830C}"/>
                </a:ext>
              </a:extLst>
            </p:cNvPr>
            <p:cNvSpPr>
              <a:spLocks noChangeAspect="1" noEditPoints="1"/>
            </p:cNvSpPr>
            <p:nvPr/>
          </p:nvSpPr>
          <p:spPr bwMode="auto">
            <a:xfrm>
              <a:off x="3285327" y="3101455"/>
              <a:ext cx="1331806" cy="548640"/>
            </a:xfrm>
            <a:custGeom>
              <a:avLst/>
              <a:gdLst>
                <a:gd name="T0" fmla="*/ 395 w 395"/>
                <a:gd name="T1" fmla="*/ 73 h 160"/>
                <a:gd name="T2" fmla="*/ 363 w 395"/>
                <a:gd name="T3" fmla="*/ 67 h 160"/>
                <a:gd name="T4" fmla="*/ 323 w 395"/>
                <a:gd name="T5" fmla="*/ 81 h 160"/>
                <a:gd name="T6" fmla="*/ 361 w 395"/>
                <a:gd name="T7" fmla="*/ 96 h 160"/>
                <a:gd name="T8" fmla="*/ 318 w 395"/>
                <a:gd name="T9" fmla="*/ 130 h 160"/>
                <a:gd name="T10" fmla="*/ 270 w 395"/>
                <a:gd name="T11" fmla="*/ 80 h 160"/>
                <a:gd name="T12" fmla="*/ 318 w 395"/>
                <a:gd name="T13" fmla="*/ 31 h 160"/>
                <a:gd name="T14" fmla="*/ 349 w 395"/>
                <a:gd name="T15" fmla="*/ 41 h 160"/>
                <a:gd name="T16" fmla="*/ 365 w 395"/>
                <a:gd name="T17" fmla="*/ 14 h 160"/>
                <a:gd name="T18" fmla="*/ 319 w 395"/>
                <a:gd name="T19" fmla="*/ 0 h 160"/>
                <a:gd name="T20" fmla="*/ 261 w 395"/>
                <a:gd name="T21" fmla="*/ 23 h 160"/>
                <a:gd name="T22" fmla="*/ 219 w 395"/>
                <a:gd name="T23" fmla="*/ 115 h 160"/>
                <a:gd name="T24" fmla="*/ 184 w 395"/>
                <a:gd name="T25" fmla="*/ 129 h 160"/>
                <a:gd name="T26" fmla="*/ 134 w 395"/>
                <a:gd name="T27" fmla="*/ 80 h 160"/>
                <a:gd name="T28" fmla="*/ 184 w 395"/>
                <a:gd name="T29" fmla="*/ 30 h 160"/>
                <a:gd name="T30" fmla="*/ 214 w 395"/>
                <a:gd name="T31" fmla="*/ 40 h 160"/>
                <a:gd name="T32" fmla="*/ 231 w 395"/>
                <a:gd name="T33" fmla="*/ 14 h 160"/>
                <a:gd name="T34" fmla="*/ 184 w 395"/>
                <a:gd name="T35" fmla="*/ 0 h 160"/>
                <a:gd name="T36" fmla="*/ 118 w 395"/>
                <a:gd name="T37" fmla="*/ 33 h 160"/>
                <a:gd name="T38" fmla="*/ 72 w 395"/>
                <a:gd name="T39" fmla="*/ 3 h 160"/>
                <a:gd name="T40" fmla="*/ 0 w 395"/>
                <a:gd name="T41" fmla="*/ 3 h 160"/>
                <a:gd name="T42" fmla="*/ 0 w 395"/>
                <a:gd name="T43" fmla="*/ 157 h 160"/>
                <a:gd name="T44" fmla="*/ 105 w 395"/>
                <a:gd name="T45" fmla="*/ 150 h 160"/>
                <a:gd name="T46" fmla="*/ 149 w 395"/>
                <a:gd name="T47" fmla="*/ 153 h 160"/>
                <a:gd name="T48" fmla="*/ 222 w 395"/>
                <a:gd name="T49" fmla="*/ 151 h 160"/>
                <a:gd name="T50" fmla="*/ 278 w 395"/>
                <a:gd name="T51" fmla="*/ 151 h 160"/>
                <a:gd name="T52" fmla="*/ 373 w 395"/>
                <a:gd name="T53" fmla="*/ 137 h 160"/>
                <a:gd name="T54" fmla="*/ 33 w 395"/>
                <a:gd name="T55" fmla="*/ 65 h 160"/>
                <a:gd name="T56" fmla="*/ 71 w 395"/>
                <a:gd name="T57" fmla="*/ 32 h 160"/>
                <a:gd name="T58" fmla="*/ 88 w 395"/>
                <a:gd name="T59" fmla="*/ 48 h 160"/>
                <a:gd name="T60" fmla="*/ 71 w 395"/>
                <a:gd name="T61" fmla="*/ 65 h 160"/>
                <a:gd name="T62" fmla="*/ 33 w 395"/>
                <a:gd name="T63" fmla="*/ 65 h 160"/>
                <a:gd name="T64" fmla="*/ 33 w 395"/>
                <a:gd name="T65" fmla="*/ 93 h 160"/>
                <a:gd name="T66" fmla="*/ 92 w 395"/>
                <a:gd name="T67" fmla="*/ 98 h 160"/>
                <a:gd name="T68" fmla="*/ 92 w 395"/>
                <a:gd name="T69" fmla="*/ 123 h 160"/>
                <a:gd name="T70" fmla="*/ 56 w 395"/>
                <a:gd name="T71" fmla="*/ 128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95" h="160">
                  <a:moveTo>
                    <a:pt x="395" y="80"/>
                  </a:moveTo>
                  <a:cubicBezTo>
                    <a:pt x="395" y="78"/>
                    <a:pt x="395" y="75"/>
                    <a:pt x="395" y="73"/>
                  </a:cubicBezTo>
                  <a:cubicBezTo>
                    <a:pt x="395" y="71"/>
                    <a:pt x="395" y="69"/>
                    <a:pt x="394" y="67"/>
                  </a:cubicBezTo>
                  <a:cubicBezTo>
                    <a:pt x="363" y="67"/>
                    <a:pt x="363" y="67"/>
                    <a:pt x="363" y="67"/>
                  </a:cubicBezTo>
                  <a:cubicBezTo>
                    <a:pt x="332" y="67"/>
                    <a:pt x="332" y="67"/>
                    <a:pt x="332" y="67"/>
                  </a:cubicBezTo>
                  <a:cubicBezTo>
                    <a:pt x="323" y="81"/>
                    <a:pt x="323" y="81"/>
                    <a:pt x="323" y="81"/>
                  </a:cubicBezTo>
                  <a:cubicBezTo>
                    <a:pt x="313" y="96"/>
                    <a:pt x="313" y="96"/>
                    <a:pt x="313" y="96"/>
                  </a:cubicBezTo>
                  <a:cubicBezTo>
                    <a:pt x="361" y="96"/>
                    <a:pt x="361" y="96"/>
                    <a:pt x="361" y="96"/>
                  </a:cubicBezTo>
                  <a:cubicBezTo>
                    <a:pt x="358" y="106"/>
                    <a:pt x="353" y="114"/>
                    <a:pt x="346" y="120"/>
                  </a:cubicBezTo>
                  <a:cubicBezTo>
                    <a:pt x="338" y="126"/>
                    <a:pt x="329" y="130"/>
                    <a:pt x="318" y="130"/>
                  </a:cubicBezTo>
                  <a:cubicBezTo>
                    <a:pt x="305" y="130"/>
                    <a:pt x="292" y="124"/>
                    <a:pt x="284" y="115"/>
                  </a:cubicBezTo>
                  <a:cubicBezTo>
                    <a:pt x="275" y="106"/>
                    <a:pt x="270" y="93"/>
                    <a:pt x="270" y="80"/>
                  </a:cubicBezTo>
                  <a:cubicBezTo>
                    <a:pt x="270" y="66"/>
                    <a:pt x="275" y="54"/>
                    <a:pt x="284" y="45"/>
                  </a:cubicBezTo>
                  <a:cubicBezTo>
                    <a:pt x="293" y="36"/>
                    <a:pt x="305" y="31"/>
                    <a:pt x="318" y="31"/>
                  </a:cubicBezTo>
                  <a:cubicBezTo>
                    <a:pt x="324" y="31"/>
                    <a:pt x="330" y="32"/>
                    <a:pt x="335" y="33"/>
                  </a:cubicBezTo>
                  <a:cubicBezTo>
                    <a:pt x="340" y="35"/>
                    <a:pt x="345" y="37"/>
                    <a:pt x="349" y="41"/>
                  </a:cubicBezTo>
                  <a:cubicBezTo>
                    <a:pt x="357" y="27"/>
                    <a:pt x="357" y="27"/>
                    <a:pt x="357" y="27"/>
                  </a:cubicBezTo>
                  <a:cubicBezTo>
                    <a:pt x="365" y="14"/>
                    <a:pt x="365" y="14"/>
                    <a:pt x="365" y="14"/>
                  </a:cubicBezTo>
                  <a:cubicBezTo>
                    <a:pt x="359" y="10"/>
                    <a:pt x="352" y="6"/>
                    <a:pt x="344" y="4"/>
                  </a:cubicBezTo>
                  <a:cubicBezTo>
                    <a:pt x="336" y="1"/>
                    <a:pt x="328" y="0"/>
                    <a:pt x="319" y="0"/>
                  </a:cubicBezTo>
                  <a:cubicBezTo>
                    <a:pt x="307" y="0"/>
                    <a:pt x="296" y="2"/>
                    <a:pt x="286" y="6"/>
                  </a:cubicBezTo>
                  <a:cubicBezTo>
                    <a:pt x="277" y="10"/>
                    <a:pt x="268" y="16"/>
                    <a:pt x="261" y="23"/>
                  </a:cubicBezTo>
                  <a:cubicBezTo>
                    <a:pt x="244" y="40"/>
                    <a:pt x="239" y="57"/>
                    <a:pt x="236" y="73"/>
                  </a:cubicBezTo>
                  <a:cubicBezTo>
                    <a:pt x="232" y="89"/>
                    <a:pt x="230" y="103"/>
                    <a:pt x="219" y="115"/>
                  </a:cubicBezTo>
                  <a:cubicBezTo>
                    <a:pt x="214" y="119"/>
                    <a:pt x="209" y="123"/>
                    <a:pt x="203" y="126"/>
                  </a:cubicBezTo>
                  <a:cubicBezTo>
                    <a:pt x="197" y="128"/>
                    <a:pt x="191" y="129"/>
                    <a:pt x="184" y="129"/>
                  </a:cubicBezTo>
                  <a:cubicBezTo>
                    <a:pt x="170" y="129"/>
                    <a:pt x="158" y="124"/>
                    <a:pt x="149" y="115"/>
                  </a:cubicBezTo>
                  <a:cubicBezTo>
                    <a:pt x="140" y="106"/>
                    <a:pt x="134" y="93"/>
                    <a:pt x="134" y="80"/>
                  </a:cubicBezTo>
                  <a:cubicBezTo>
                    <a:pt x="134" y="67"/>
                    <a:pt x="140" y="54"/>
                    <a:pt x="149" y="45"/>
                  </a:cubicBezTo>
                  <a:cubicBezTo>
                    <a:pt x="158" y="36"/>
                    <a:pt x="170" y="31"/>
                    <a:pt x="184" y="30"/>
                  </a:cubicBezTo>
                  <a:cubicBezTo>
                    <a:pt x="190" y="31"/>
                    <a:pt x="195" y="31"/>
                    <a:pt x="200" y="33"/>
                  </a:cubicBezTo>
                  <a:cubicBezTo>
                    <a:pt x="205" y="35"/>
                    <a:pt x="210" y="37"/>
                    <a:pt x="214" y="40"/>
                  </a:cubicBezTo>
                  <a:cubicBezTo>
                    <a:pt x="222" y="27"/>
                    <a:pt x="222" y="27"/>
                    <a:pt x="222" y="27"/>
                  </a:cubicBezTo>
                  <a:cubicBezTo>
                    <a:pt x="231" y="14"/>
                    <a:pt x="231" y="14"/>
                    <a:pt x="231" y="14"/>
                  </a:cubicBezTo>
                  <a:cubicBezTo>
                    <a:pt x="224" y="9"/>
                    <a:pt x="217" y="6"/>
                    <a:pt x="209" y="3"/>
                  </a:cubicBezTo>
                  <a:cubicBezTo>
                    <a:pt x="202" y="1"/>
                    <a:pt x="193" y="0"/>
                    <a:pt x="184" y="0"/>
                  </a:cubicBezTo>
                  <a:cubicBezTo>
                    <a:pt x="170" y="0"/>
                    <a:pt x="157" y="3"/>
                    <a:pt x="146" y="9"/>
                  </a:cubicBezTo>
                  <a:cubicBezTo>
                    <a:pt x="135" y="15"/>
                    <a:pt x="125" y="23"/>
                    <a:pt x="118" y="33"/>
                  </a:cubicBezTo>
                  <a:cubicBezTo>
                    <a:pt x="115" y="25"/>
                    <a:pt x="109" y="17"/>
                    <a:pt x="101" y="12"/>
                  </a:cubicBezTo>
                  <a:cubicBezTo>
                    <a:pt x="93" y="6"/>
                    <a:pt x="83" y="3"/>
                    <a:pt x="72" y="3"/>
                  </a:cubicBezTo>
                  <a:cubicBezTo>
                    <a:pt x="36" y="3"/>
                    <a:pt x="36" y="3"/>
                    <a:pt x="36" y="3"/>
                  </a:cubicBezTo>
                  <a:cubicBezTo>
                    <a:pt x="0" y="3"/>
                    <a:pt x="0" y="3"/>
                    <a:pt x="0" y="3"/>
                  </a:cubicBezTo>
                  <a:cubicBezTo>
                    <a:pt x="0" y="80"/>
                    <a:pt x="0" y="80"/>
                    <a:pt x="0" y="80"/>
                  </a:cubicBezTo>
                  <a:cubicBezTo>
                    <a:pt x="0" y="157"/>
                    <a:pt x="0" y="157"/>
                    <a:pt x="0" y="157"/>
                  </a:cubicBezTo>
                  <a:cubicBezTo>
                    <a:pt x="79" y="157"/>
                    <a:pt x="79" y="157"/>
                    <a:pt x="79" y="157"/>
                  </a:cubicBezTo>
                  <a:cubicBezTo>
                    <a:pt x="89" y="157"/>
                    <a:pt x="98" y="154"/>
                    <a:pt x="105" y="150"/>
                  </a:cubicBezTo>
                  <a:cubicBezTo>
                    <a:pt x="113" y="146"/>
                    <a:pt x="119" y="140"/>
                    <a:pt x="123" y="133"/>
                  </a:cubicBezTo>
                  <a:cubicBezTo>
                    <a:pt x="130" y="142"/>
                    <a:pt x="139" y="148"/>
                    <a:pt x="149" y="153"/>
                  </a:cubicBezTo>
                  <a:cubicBezTo>
                    <a:pt x="159" y="157"/>
                    <a:pt x="171" y="160"/>
                    <a:pt x="183" y="160"/>
                  </a:cubicBezTo>
                  <a:cubicBezTo>
                    <a:pt x="197" y="160"/>
                    <a:pt x="210" y="157"/>
                    <a:pt x="222" y="151"/>
                  </a:cubicBezTo>
                  <a:cubicBezTo>
                    <a:pt x="233" y="145"/>
                    <a:pt x="243" y="136"/>
                    <a:pt x="250" y="126"/>
                  </a:cubicBezTo>
                  <a:cubicBezTo>
                    <a:pt x="257" y="136"/>
                    <a:pt x="267" y="145"/>
                    <a:pt x="278" y="151"/>
                  </a:cubicBezTo>
                  <a:cubicBezTo>
                    <a:pt x="290" y="157"/>
                    <a:pt x="303" y="160"/>
                    <a:pt x="317" y="160"/>
                  </a:cubicBezTo>
                  <a:cubicBezTo>
                    <a:pt x="339" y="160"/>
                    <a:pt x="359" y="151"/>
                    <a:pt x="373" y="137"/>
                  </a:cubicBezTo>
                  <a:cubicBezTo>
                    <a:pt x="387" y="122"/>
                    <a:pt x="395" y="102"/>
                    <a:pt x="395" y="80"/>
                  </a:cubicBezTo>
                  <a:close/>
                  <a:moveTo>
                    <a:pt x="33" y="65"/>
                  </a:moveTo>
                  <a:cubicBezTo>
                    <a:pt x="33" y="32"/>
                    <a:pt x="33" y="32"/>
                    <a:pt x="33" y="32"/>
                  </a:cubicBezTo>
                  <a:cubicBezTo>
                    <a:pt x="71" y="32"/>
                    <a:pt x="71" y="32"/>
                    <a:pt x="71" y="32"/>
                  </a:cubicBezTo>
                  <a:cubicBezTo>
                    <a:pt x="76" y="32"/>
                    <a:pt x="80" y="34"/>
                    <a:pt x="83" y="36"/>
                  </a:cubicBezTo>
                  <a:cubicBezTo>
                    <a:pt x="86" y="39"/>
                    <a:pt x="88" y="44"/>
                    <a:pt x="88" y="48"/>
                  </a:cubicBezTo>
                  <a:cubicBezTo>
                    <a:pt x="88" y="53"/>
                    <a:pt x="86" y="57"/>
                    <a:pt x="83" y="60"/>
                  </a:cubicBezTo>
                  <a:cubicBezTo>
                    <a:pt x="80" y="64"/>
                    <a:pt x="76" y="65"/>
                    <a:pt x="71" y="65"/>
                  </a:cubicBezTo>
                  <a:cubicBezTo>
                    <a:pt x="52" y="65"/>
                    <a:pt x="52" y="65"/>
                    <a:pt x="52" y="65"/>
                  </a:cubicBezTo>
                  <a:cubicBezTo>
                    <a:pt x="33" y="65"/>
                    <a:pt x="33" y="65"/>
                    <a:pt x="33" y="65"/>
                  </a:cubicBezTo>
                  <a:close/>
                  <a:moveTo>
                    <a:pt x="33" y="128"/>
                  </a:moveTo>
                  <a:cubicBezTo>
                    <a:pt x="33" y="93"/>
                    <a:pt x="33" y="93"/>
                    <a:pt x="33" y="93"/>
                  </a:cubicBezTo>
                  <a:cubicBezTo>
                    <a:pt x="79" y="93"/>
                    <a:pt x="79" y="93"/>
                    <a:pt x="79" y="93"/>
                  </a:cubicBezTo>
                  <a:cubicBezTo>
                    <a:pt x="84" y="93"/>
                    <a:pt x="88" y="95"/>
                    <a:pt x="92" y="98"/>
                  </a:cubicBezTo>
                  <a:cubicBezTo>
                    <a:pt x="95" y="101"/>
                    <a:pt x="97" y="106"/>
                    <a:pt x="97" y="111"/>
                  </a:cubicBezTo>
                  <a:cubicBezTo>
                    <a:pt x="97" y="116"/>
                    <a:pt x="95" y="120"/>
                    <a:pt x="92" y="123"/>
                  </a:cubicBezTo>
                  <a:cubicBezTo>
                    <a:pt x="88" y="126"/>
                    <a:pt x="84" y="128"/>
                    <a:pt x="79" y="128"/>
                  </a:cubicBezTo>
                  <a:cubicBezTo>
                    <a:pt x="56" y="128"/>
                    <a:pt x="56" y="128"/>
                    <a:pt x="56" y="128"/>
                  </a:cubicBezTo>
                  <a:cubicBezTo>
                    <a:pt x="33" y="128"/>
                    <a:pt x="33" y="128"/>
                    <a:pt x="33" y="128"/>
                  </a:cubicBezTo>
                  <a:close/>
                </a:path>
              </a:pathLst>
            </a:custGeom>
            <a:solidFill>
              <a:srgbClr val="177B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grpSp>
    </p:spTree>
    <p:extLst>
      <p:ext uri="{BB962C8B-B14F-4D97-AF65-F5344CB8AC3E}">
        <p14:creationId xmlns:p14="http://schemas.microsoft.com/office/powerpoint/2010/main" val="8286426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preserve="1" userDrawn="1">
  <p:cSld name="4_Agenda Section Header Overview">
    <p:bg>
      <p:bgPr>
        <a:gradFill>
          <a:gsLst>
            <a:gs pos="0">
              <a:srgbClr val="004E2A"/>
            </a:gs>
            <a:gs pos="100000">
              <a:srgbClr val="78B944"/>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48165360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3 by Boston Consulting Group. All rights reserved.</a:t>
            </a: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mn-lt"/>
              <a:ea typeface="+mn-ea"/>
              <a:cs typeface="+mn-cs"/>
            </a:endParaRPr>
          </a:p>
        </p:txBody>
      </p:sp>
      <p:sp>
        <p:nvSpPr>
          <p:cNvPr id="12" name="Rectangle 11"/>
          <p:cNvSpPr/>
          <p:nvPr userDrawn="1">
            <p:custDataLst>
              <p:tags r:id="rId2"/>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mn-lt"/>
              <a:ea typeface="+mn-ea"/>
              <a:cs typeface="+mn-cs"/>
            </a:endParaRPr>
          </a:p>
        </p:txBody>
      </p:sp>
      <p:sp>
        <p:nvSpPr>
          <p:cNvPr id="2" name="TextBox 1"/>
          <p:cNvSpPr txBox="1"/>
          <p:nvPr userDrawn="1"/>
        </p:nvSpPr>
        <p:spPr>
          <a:xfrm>
            <a:off x="630000" y="907198"/>
            <a:ext cx="3448800" cy="3447288"/>
          </a:xfrm>
          <a:prstGeom prst="rect">
            <a:avLst/>
          </a:prstGeom>
          <a:noFill/>
          <a:ln>
            <a:solidFill>
              <a:schemeClr val="bg1"/>
            </a:solidFill>
          </a:ln>
        </p:spPr>
        <p:txBody>
          <a:bodyPr wrap="none" lIns="612000" tIns="468000" rIns="0" bIns="0" rtlCol="0" anchor="t">
            <a:noAutofit/>
          </a:bodyPr>
          <a:lstStyle/>
          <a:p>
            <a:pPr>
              <a:lnSpc>
                <a:spcPct val="90000"/>
              </a:lnSpc>
              <a:spcAft>
                <a:spcPts val="600"/>
              </a:spcAft>
            </a:pPr>
            <a:endParaRPr lang="en-US" sz="5400">
              <a:solidFill>
                <a:schemeClr val="bg1"/>
              </a:solidFill>
              <a:latin typeface="+mn-lt"/>
              <a:ea typeface="+mn-ea"/>
              <a:cs typeface="+mn-cs"/>
            </a:endParaRPr>
          </a:p>
        </p:txBody>
      </p:sp>
      <p:sp>
        <p:nvSpPr>
          <p:cNvPr id="10" name="TextBox 1"/>
          <p:cNvSpPr txBox="1"/>
          <p:nvPr userDrawn="1"/>
        </p:nvSpPr>
        <p:spPr>
          <a:xfrm>
            <a:off x="1199396" y="1115416"/>
            <a:ext cx="2309287" cy="881780"/>
          </a:xfrm>
          <a:prstGeom prst="rect">
            <a:avLst/>
          </a:prstGeom>
          <a:noFill/>
        </p:spPr>
        <p:txBody>
          <a:bodyPr wrap="none" rtlCol="0">
            <a:spAutoFit/>
          </a:bodyPr>
          <a:lstStyle/>
          <a:p>
            <a:pPr algn="ctr" fontAlgn="auto">
              <a:lnSpc>
                <a:spcPct val="95000"/>
              </a:lnSpc>
              <a:spcBef>
                <a:spcPts val="0"/>
              </a:spcBef>
              <a:spcAft>
                <a:spcPts val="0"/>
              </a:spcAft>
            </a:pPr>
            <a:r>
              <a:rPr lang="en-US" sz="5400">
                <a:solidFill>
                  <a:schemeClr val="bg1"/>
                </a:solidFill>
                <a:latin typeface="+mn-lt"/>
                <a:ea typeface="+mn-ea"/>
                <a:cs typeface="+mn-cs"/>
              </a:rPr>
              <a:t>Agenda</a:t>
            </a:r>
          </a:p>
        </p:txBody>
      </p:sp>
      <p:pic>
        <p:nvPicPr>
          <p:cNvPr id="13" name="Graphic 12">
            <a:extLst>
              <a:ext uri="{FF2B5EF4-FFF2-40B4-BE49-F238E27FC236}">
                <a16:creationId xmlns:a16="http://schemas.microsoft.com/office/drawing/2014/main" id="{1CF18B33-D6D8-48A4-9672-4732D134CE75}"/>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428018" y="6271005"/>
            <a:ext cx="498632" cy="517662"/>
          </a:xfrm>
          <a:prstGeom prst="rect">
            <a:avLst/>
          </a:prstGeom>
        </p:spPr>
      </p:pic>
    </p:spTree>
    <p:extLst>
      <p:ext uri="{BB962C8B-B14F-4D97-AF65-F5344CB8AC3E}">
        <p14:creationId xmlns:p14="http://schemas.microsoft.com/office/powerpoint/2010/main" val="42790277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reserve="1" userDrawn="1">
  <p:cSld name="4_Agenda Section Header">
    <p:bg>
      <p:bgPr>
        <a:gradFill>
          <a:gsLst>
            <a:gs pos="0">
              <a:srgbClr val="004E2A"/>
            </a:gs>
            <a:gs pos="100000">
              <a:srgbClr val="78B944"/>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94877367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3 by Boston Consulting Group. All rights reserved.</a:t>
            </a: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mn-lt"/>
              <a:ea typeface="+mn-ea"/>
              <a:cs typeface="+mn-cs"/>
            </a:endParaRPr>
          </a:p>
        </p:txBody>
      </p:sp>
      <p:pic>
        <p:nvPicPr>
          <p:cNvPr id="8" name="Graphic 7">
            <a:extLst>
              <a:ext uri="{FF2B5EF4-FFF2-40B4-BE49-F238E27FC236}">
                <a16:creationId xmlns:a16="http://schemas.microsoft.com/office/drawing/2014/main" id="{7C6F39FC-A4BD-4A1A-A0D2-E062DAA33AD6}"/>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428018" y="6271005"/>
            <a:ext cx="498632" cy="517662"/>
          </a:xfrm>
          <a:prstGeom prst="rect">
            <a:avLst/>
          </a:prstGeom>
        </p:spPr>
      </p:pic>
    </p:spTree>
    <p:extLst>
      <p:ext uri="{BB962C8B-B14F-4D97-AF65-F5344CB8AC3E}">
        <p14:creationId xmlns:p14="http://schemas.microsoft.com/office/powerpoint/2010/main" val="11813738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8.xml><?xml version="1.0" encoding="utf-8"?>
<p:sldLayout xmlns:a="http://schemas.openxmlformats.org/drawingml/2006/main" xmlns:r="http://schemas.openxmlformats.org/officeDocument/2006/relationships" xmlns:p="http://schemas.openxmlformats.org/presentationml/2006/main" showMasterSp="0" preserve="1" userDrawn="1">
  <p:cSld name="4_Agenda Full Width Overview">
    <p:bg>
      <p:bgPr>
        <a:gradFill>
          <a:gsLst>
            <a:gs pos="0">
              <a:srgbClr val="004E2A"/>
            </a:gs>
            <a:gs pos="100000">
              <a:srgbClr val="78B944"/>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86673254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3 by Boston Consulting Group. All rights reserved.</a:t>
            </a: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a:solidFill>
                  <a:schemeClr val="bg1"/>
                </a:solidFill>
                <a:latin typeface="+mn-lt"/>
                <a:ea typeface="+mn-ea"/>
                <a:cs typeface="+mn-cs"/>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pic>
        <p:nvPicPr>
          <p:cNvPr id="8" name="Graphic 7">
            <a:extLst>
              <a:ext uri="{FF2B5EF4-FFF2-40B4-BE49-F238E27FC236}">
                <a16:creationId xmlns:a16="http://schemas.microsoft.com/office/drawing/2014/main" id="{52EE9DA1-A56B-4AD7-A7AE-FC9DECE14293}"/>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428018" y="6271005"/>
            <a:ext cx="498632" cy="517662"/>
          </a:xfrm>
          <a:prstGeom prst="rect">
            <a:avLst/>
          </a:prstGeom>
        </p:spPr>
      </p:pic>
    </p:spTree>
    <p:extLst>
      <p:ext uri="{BB962C8B-B14F-4D97-AF65-F5344CB8AC3E}">
        <p14:creationId xmlns:p14="http://schemas.microsoft.com/office/powerpoint/2010/main" val="15694038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preserve="1" userDrawn="1">
  <p:cSld name="4_Agenda Two-Thirds">
    <p:bg>
      <p:bgPr>
        <a:gradFill>
          <a:gsLst>
            <a:gs pos="0">
              <a:srgbClr val="004E2A"/>
            </a:gs>
            <a:gs pos="100000">
              <a:srgbClr val="78B944"/>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37003133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3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a:solidFill>
                  <a:schemeClr val="bg1"/>
                </a:solidFill>
                <a:latin typeface="+mn-lt"/>
                <a:ea typeface="+mn-ea"/>
                <a:cs typeface="+mn-cs"/>
              </a:rPr>
              <a:t>Agenda</a:t>
            </a:r>
          </a:p>
        </p:txBody>
      </p:sp>
      <p:pic>
        <p:nvPicPr>
          <p:cNvPr id="9" name="Graphic 8">
            <a:extLst>
              <a:ext uri="{FF2B5EF4-FFF2-40B4-BE49-F238E27FC236}">
                <a16:creationId xmlns:a16="http://schemas.microsoft.com/office/drawing/2014/main" id="{D7538DDF-5C24-4087-B99A-36CF897573E0}"/>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428018" y="6271005"/>
            <a:ext cx="498632" cy="517662"/>
          </a:xfrm>
          <a:prstGeom prst="rect">
            <a:avLst/>
          </a:prstGeom>
        </p:spPr>
      </p:pic>
    </p:spTree>
    <p:extLst>
      <p:ext uri="{BB962C8B-B14F-4D97-AF65-F5344CB8AC3E}">
        <p14:creationId xmlns:p14="http://schemas.microsoft.com/office/powerpoint/2010/main" val="41652557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Title and Text">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E05CAE9-7E7B-4B8D-8937-790C5F024F38}"/>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a:extLst>
                          <a:ext uri="{FF2B5EF4-FFF2-40B4-BE49-F238E27FC236}">
                            <a16:creationId xmlns:a16="http://schemas.microsoft.com/office/drawing/2014/main" id="{0E05CAE9-7E7B-4B8D-8937-790C5F024F3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vert="horz"/>
          <a:lstStyle>
            <a:lvl1pPr>
              <a:defRPr sz="3400">
                <a:latin typeface="+mj-lt"/>
                <a:ea typeface="+mj-ea"/>
                <a:cs typeface="+mj-cs"/>
              </a:defRPr>
            </a:lvl1pPr>
          </a:lstStyle>
          <a:p>
            <a:r>
              <a:rPr lang="en-US"/>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atin typeface="+mn-lt"/>
                <a:ea typeface="+mn-ea"/>
                <a:cs typeface="+mn-cs"/>
              </a:defRPr>
            </a:lvl1pPr>
            <a:lvl2pPr>
              <a:lnSpc>
                <a:spcPct val="100000"/>
              </a:lnSpc>
              <a:spcBef>
                <a:spcPts val="0"/>
              </a:spcBef>
              <a:spcAft>
                <a:spcPts val="0"/>
              </a:spcAft>
              <a:defRPr sz="2000">
                <a:latin typeface="+mn-lt"/>
                <a:ea typeface="+mn-ea"/>
                <a:cs typeface="+mn-cs"/>
              </a:defRPr>
            </a:lvl2pPr>
            <a:lvl3pPr>
              <a:lnSpc>
                <a:spcPct val="100000"/>
              </a:lnSpc>
              <a:spcBef>
                <a:spcPts val="0"/>
              </a:spcBef>
              <a:spcAft>
                <a:spcPts val="0"/>
              </a:spcAft>
              <a:defRPr sz="2000">
                <a:latin typeface="+mn-lt"/>
                <a:ea typeface="+mn-ea"/>
                <a:cs typeface="+mn-cs"/>
              </a:defRPr>
            </a:lvl3pPr>
            <a:lvl4pPr>
              <a:lnSpc>
                <a:spcPct val="100000"/>
              </a:lnSpc>
              <a:spcBef>
                <a:spcPts val="0"/>
              </a:spcBef>
              <a:spcAft>
                <a:spcPts val="0"/>
              </a:spcAft>
              <a:defRPr sz="2800">
                <a:latin typeface="+mn-lt"/>
                <a:ea typeface="+mn-ea"/>
                <a:cs typeface="+mn-cs"/>
              </a:defRPr>
            </a:lvl4pPr>
            <a:lvl5pPr>
              <a:lnSpc>
                <a:spcPct val="100000"/>
              </a:lnSpc>
              <a:spcBef>
                <a:spcPts val="0"/>
              </a:spcBef>
              <a:spcAft>
                <a:spcPts val="0"/>
              </a:spcAft>
              <a:defRPr sz="2800">
                <a:latin typeface="+mn-lt"/>
                <a:ea typeface="+mn-ea"/>
                <a:cs typeface="+mn-cs"/>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3 by Boston Consulting Group. All rights reserved.</a:t>
            </a:r>
          </a:p>
        </p:txBody>
      </p:sp>
      <p:pic>
        <p:nvPicPr>
          <p:cNvPr id="7" name="Graphic 6">
            <a:extLst>
              <a:ext uri="{FF2B5EF4-FFF2-40B4-BE49-F238E27FC236}">
                <a16:creationId xmlns:a16="http://schemas.microsoft.com/office/drawing/2014/main" id="{D81C5E50-B339-4508-91BD-0DF805678B23}"/>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428018" y="6271005"/>
            <a:ext cx="498632" cy="517662"/>
          </a:xfrm>
          <a:prstGeom prst="rect">
            <a:avLst/>
          </a:prstGeom>
        </p:spPr>
      </p:pic>
    </p:spTree>
    <p:extLst>
      <p:ext uri="{BB962C8B-B14F-4D97-AF65-F5344CB8AC3E}">
        <p14:creationId xmlns:p14="http://schemas.microsoft.com/office/powerpoint/2010/main" val="27675866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p:cSld name="4_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75793447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3 by Boston Consulting Group. All rights reserved.</a:t>
            </a: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mn-lt"/>
              <a:ea typeface="+mn-ea"/>
              <a:cs typeface="+mn-cs"/>
            </a:endParaRPr>
          </a:p>
        </p:txBody>
      </p:sp>
      <p:sp>
        <p:nvSpPr>
          <p:cNvPr id="10" name="Rectangle 9"/>
          <p:cNvSpPr/>
          <p:nvPr userDrawn="1">
            <p:custDataLst>
              <p:tags r:id="rId2"/>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mn-lt"/>
              <a:ea typeface="+mn-ea"/>
              <a:cs typeface="+mn-cs"/>
            </a:endParaRPr>
          </a:p>
        </p:txBody>
      </p:sp>
      <p:sp>
        <p:nvSpPr>
          <p:cNvPr id="11" name="TextBox 10"/>
          <p:cNvSpPr txBox="1"/>
          <p:nvPr userDrawn="1"/>
        </p:nvSpPr>
        <p:spPr>
          <a:xfrm>
            <a:off x="630000" y="907196"/>
            <a:ext cx="3448800" cy="3447288"/>
          </a:xfrm>
          <a:prstGeom prst="rect">
            <a:avLst/>
          </a:prstGeom>
          <a:noFill/>
          <a:ln>
            <a:solidFill>
              <a:schemeClr val="accent4"/>
            </a:solidFill>
          </a:ln>
        </p:spPr>
        <p:txBody>
          <a:bodyPr wrap="none" lIns="612000" tIns="468000" rIns="0" bIns="0" rtlCol="0" anchor="t">
            <a:noAutofit/>
          </a:bodyPr>
          <a:lstStyle/>
          <a:p>
            <a:pPr>
              <a:lnSpc>
                <a:spcPct val="90000"/>
              </a:lnSpc>
              <a:spcAft>
                <a:spcPts val="600"/>
              </a:spcAft>
            </a:pPr>
            <a:endParaRPr lang="en-US" sz="5400">
              <a:solidFill>
                <a:schemeClr val="accent4"/>
              </a:solidFill>
              <a:latin typeface="+mn-lt"/>
              <a:ea typeface="+mn-ea"/>
              <a:cs typeface="+mn-cs"/>
            </a:endParaRPr>
          </a:p>
        </p:txBody>
      </p:sp>
      <p:sp>
        <p:nvSpPr>
          <p:cNvPr id="9" name="TextBox 1"/>
          <p:cNvSpPr txBox="1"/>
          <p:nvPr userDrawn="1"/>
        </p:nvSpPr>
        <p:spPr>
          <a:xfrm>
            <a:off x="1199396" y="1115416"/>
            <a:ext cx="2309287" cy="881780"/>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a:latin typeface="+mn-lt"/>
                <a:ea typeface="+mn-ea"/>
                <a:cs typeface="+mn-cs"/>
              </a:rPr>
              <a:t>Agenda</a:t>
            </a:r>
          </a:p>
        </p:txBody>
      </p:sp>
      <p:pic>
        <p:nvPicPr>
          <p:cNvPr id="12" name="Graphic 11">
            <a:extLst>
              <a:ext uri="{FF2B5EF4-FFF2-40B4-BE49-F238E27FC236}">
                <a16:creationId xmlns:a16="http://schemas.microsoft.com/office/drawing/2014/main" id="{26742CD6-2CF1-4677-BAF0-4994D103D774}"/>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428018" y="6271005"/>
            <a:ext cx="498632" cy="517662"/>
          </a:xfrm>
          <a:prstGeom prst="rect">
            <a:avLst/>
          </a:prstGeom>
        </p:spPr>
      </p:pic>
    </p:spTree>
    <p:extLst>
      <p:ext uri="{BB962C8B-B14F-4D97-AF65-F5344CB8AC3E}">
        <p14:creationId xmlns:p14="http://schemas.microsoft.com/office/powerpoint/2010/main" val="25215880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p:cSld name="4_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416258386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3 by Boston Consulting Group. All rights reserved.</a:t>
            </a: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mn-lt"/>
              <a:ea typeface="+mn-ea"/>
              <a:cs typeface="+mn-cs"/>
            </a:endParaRPr>
          </a:p>
        </p:txBody>
      </p:sp>
      <p:pic>
        <p:nvPicPr>
          <p:cNvPr id="6" name="Graphic 5">
            <a:extLst>
              <a:ext uri="{FF2B5EF4-FFF2-40B4-BE49-F238E27FC236}">
                <a16:creationId xmlns:a16="http://schemas.microsoft.com/office/drawing/2014/main" id="{A2974FD5-9031-4224-935E-1A40C25AB367}"/>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428018" y="6271005"/>
            <a:ext cx="498632" cy="517662"/>
          </a:xfrm>
          <a:prstGeom prst="rect">
            <a:avLst/>
          </a:prstGeom>
        </p:spPr>
      </p:pic>
    </p:spTree>
    <p:extLst>
      <p:ext uri="{BB962C8B-B14F-4D97-AF65-F5344CB8AC3E}">
        <p14:creationId xmlns:p14="http://schemas.microsoft.com/office/powerpoint/2010/main" val="40538321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p:cSld name="4_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21051571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3 by Boston Consulting Group. All rights reserved.</a:t>
            </a: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a:solidFill>
                  <a:schemeClr val="accent4"/>
                </a:solidFill>
                <a:latin typeface="+mn-lt"/>
                <a:ea typeface="+mn-ea"/>
                <a:cs typeface="+mn-cs"/>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pic>
        <p:nvPicPr>
          <p:cNvPr id="6" name="Graphic 5">
            <a:extLst>
              <a:ext uri="{FF2B5EF4-FFF2-40B4-BE49-F238E27FC236}">
                <a16:creationId xmlns:a16="http://schemas.microsoft.com/office/drawing/2014/main" id="{3DAF94CB-47A2-471D-B5F0-932D7A57839D}"/>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428018" y="6271005"/>
            <a:ext cx="498632" cy="517662"/>
          </a:xfrm>
          <a:prstGeom prst="rect">
            <a:avLst/>
          </a:prstGeom>
        </p:spPr>
      </p:pic>
    </p:spTree>
    <p:extLst>
      <p:ext uri="{BB962C8B-B14F-4D97-AF65-F5344CB8AC3E}">
        <p14:creationId xmlns:p14="http://schemas.microsoft.com/office/powerpoint/2010/main" val="5289525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preserve="1" userDrawn="1">
  <p:cSld name="4_Agenda D. Two-Thirds">
    <p:bg>
      <p:bgPr>
        <a:gradFill>
          <a:gsLst>
            <a:gs pos="0">
              <a:srgbClr val="004E2A"/>
            </a:gs>
            <a:gs pos="100000">
              <a:srgbClr val="78B944"/>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4528109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3 by Boston Consulting Group. All rights reserved.</a:t>
            </a: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a:solidFill>
                  <a:schemeClr val="bg1"/>
                </a:solidFill>
                <a:latin typeface="+mn-lt"/>
                <a:ea typeface="+mn-ea"/>
                <a:cs typeface="+mn-cs"/>
              </a:rPr>
              <a:t>Agenda</a:t>
            </a:r>
          </a:p>
        </p:txBody>
      </p:sp>
      <p:pic>
        <p:nvPicPr>
          <p:cNvPr id="9" name="Graphic 8">
            <a:extLst>
              <a:ext uri="{FF2B5EF4-FFF2-40B4-BE49-F238E27FC236}">
                <a16:creationId xmlns:a16="http://schemas.microsoft.com/office/drawing/2014/main" id="{6FC979E9-9FAC-47CE-9CE9-DE84AC6F6D0A}"/>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428018" y="6271005"/>
            <a:ext cx="498632" cy="517662"/>
          </a:xfrm>
          <a:prstGeom prst="rect">
            <a:avLst/>
          </a:prstGeom>
        </p:spPr>
      </p:pic>
    </p:spTree>
    <p:extLst>
      <p:ext uri="{BB962C8B-B14F-4D97-AF65-F5344CB8AC3E}">
        <p14:creationId xmlns:p14="http://schemas.microsoft.com/office/powerpoint/2010/main" val="21400952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preserve="1" userDrawn="1">
  <p:cSld name="4_Agenda D. Table of Contents">
    <p:bg>
      <p:bgPr>
        <a:gradFill>
          <a:gsLst>
            <a:gs pos="0">
              <a:srgbClr val="004E2A"/>
            </a:gs>
            <a:gs pos="100000">
              <a:srgbClr val="78B944"/>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6011768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a:solidFill>
                  <a:schemeClr val="tx2"/>
                </a:solidFill>
                <a:latin typeface="+mn-lt"/>
                <a:ea typeface="+mn-ea"/>
                <a:cs typeface="+mn-cs"/>
                <a:sym typeface="Trebuchet MS" panose="020B0603020202020204" pitchFamily="34" charset="0"/>
              </a:rPr>
              <a:t>Table of contents</a:t>
            </a:r>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3 by Boston Consulting Group. All rights reserved.</a:t>
            </a: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pic>
        <p:nvPicPr>
          <p:cNvPr id="10" name="Graphic 9">
            <a:extLst>
              <a:ext uri="{FF2B5EF4-FFF2-40B4-BE49-F238E27FC236}">
                <a16:creationId xmlns:a16="http://schemas.microsoft.com/office/drawing/2014/main" id="{A46EB8A1-3C70-4FAE-A195-1D2D299B7B1D}"/>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428018" y="6271005"/>
            <a:ext cx="498632" cy="517662"/>
          </a:xfrm>
          <a:prstGeom prst="rect">
            <a:avLst/>
          </a:prstGeom>
        </p:spPr>
      </p:pic>
    </p:spTree>
    <p:extLst>
      <p:ext uri="{BB962C8B-B14F-4D97-AF65-F5344CB8AC3E}">
        <p14:creationId xmlns:p14="http://schemas.microsoft.com/office/powerpoint/2010/main" val="35734549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Gray slice heading">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D7444DB-C045-4912-B2DD-20B8BCB84AB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a:extLst>
                          <a:ext uri="{FF2B5EF4-FFF2-40B4-BE49-F238E27FC236}">
                            <a16:creationId xmlns:a16="http://schemas.microsoft.com/office/drawing/2014/main" id="{AD7444DB-C045-4912-B2DD-20B8BCB84AB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a typeface="+mn-ea"/>
              <a:cs typeface="+mn-cs"/>
            </a:endParaRPr>
          </a:p>
        </p:txBody>
      </p:sp>
      <p:sp>
        <p:nvSpPr>
          <p:cNvPr id="9" name="Title 1"/>
          <p:cNvSpPr>
            <a:spLocks noGrp="1"/>
          </p:cNvSpPr>
          <p:nvPr>
            <p:ph type="title" hasCustomPrompt="1"/>
          </p:nvPr>
        </p:nvSpPr>
        <p:spPr bwMode="ltGray">
          <a:xfrm>
            <a:off x="630000" y="1544274"/>
            <a:ext cx="3452400" cy="1495794"/>
          </a:xfrm>
          <a:noFill/>
        </p:spPr>
        <p:txBody>
          <a:bodyPr vert="horz" wrap="square" lIns="0" tIns="0" rIns="320040" bIns="0" anchor="b">
            <a:noAutofit/>
          </a:bodyPr>
          <a:lstStyle>
            <a:lvl1pPr>
              <a:defRPr sz="3400">
                <a:solidFill>
                  <a:schemeClr val="tx2"/>
                </a:solidFill>
                <a:latin typeface="+mj-lt"/>
                <a:ea typeface="+mj-ea"/>
                <a:cs typeface="+mj-cs"/>
              </a:defRPr>
            </a:lvl1pPr>
          </a:lstStyle>
          <a:p>
            <a:r>
              <a:rPr lang="en-US"/>
              <a:t>Click to add title</a:t>
            </a: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3 by Boston Consulting Group. All rights reserved.</a:t>
            </a:r>
          </a:p>
        </p:txBody>
      </p:sp>
      <p:pic>
        <p:nvPicPr>
          <p:cNvPr id="12" name="Graphic 11">
            <a:extLst>
              <a:ext uri="{FF2B5EF4-FFF2-40B4-BE49-F238E27FC236}">
                <a16:creationId xmlns:a16="http://schemas.microsoft.com/office/drawing/2014/main" id="{F2E1C7FA-35C2-46A2-B67A-4236D4DEE244}"/>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428018" y="6271005"/>
            <a:ext cx="498632" cy="517662"/>
          </a:xfrm>
          <a:prstGeom prst="rect">
            <a:avLst/>
          </a:prstGeom>
        </p:spPr>
      </p:pic>
    </p:spTree>
    <p:extLst>
      <p:ext uri="{BB962C8B-B14F-4D97-AF65-F5344CB8AC3E}">
        <p14:creationId xmlns:p14="http://schemas.microsoft.com/office/powerpoint/2010/main" val="16350365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Title and Content" type="obj">
  <p:cSld name="OBJECT">
    <p:spTree>
      <p:nvGrpSpPr>
        <p:cNvPr id="1" name="Shape 17"/>
        <p:cNvGrpSpPr/>
        <p:nvPr/>
      </p:nvGrpSpPr>
      <p:grpSpPr>
        <a:xfrm>
          <a:off x="0" y="0"/>
          <a:ext cx="0" cy="0"/>
          <a:chOff x="0" y="0"/>
          <a:chExt cx="0" cy="0"/>
        </a:xfrm>
      </p:grpSpPr>
      <p:sp>
        <p:nvSpPr>
          <p:cNvPr id="18" name="Google Shape;18;p13"/>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9" name="Google Shape;19;p13"/>
          <p:cNvSpPr txBox="1">
            <a:spLocks noGrp="1"/>
          </p:cNvSpPr>
          <p:nvPr>
            <p:ph type="body" idx="1"/>
          </p:nvPr>
        </p:nvSpPr>
        <p:spPr>
          <a:xfrm>
            <a:off x="838200" y="1825625"/>
            <a:ext cx="10515600" cy="4351338"/>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 name="Google Shape;20;p13"/>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1" name="Google Shape;21;p13"/>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2" name="Google Shape;22;p13"/>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GB"/>
              <a:t>‹#›</a:t>
            </a:fld>
            <a:endParaRP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1_Section header box">
    <p:bg bwMode="grayWhite">
      <p:bgPr>
        <a:gradFill>
          <a:gsLst>
            <a:gs pos="0">
              <a:srgbClr val="004E2A"/>
            </a:gs>
            <a:gs pos="100000">
              <a:srgbClr val="78B944"/>
            </a:gs>
          </a:gsLst>
          <a:lin ang="8100000" scaled="1"/>
        </a:gra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700CF3B-154C-44BC-98CC-E9102CA94DA8}"/>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6" name="Object 5" hidden="1">
                        <a:extLst>
                          <a:ext uri="{FF2B5EF4-FFF2-40B4-BE49-F238E27FC236}">
                            <a16:creationId xmlns:a16="http://schemas.microsoft.com/office/drawing/2014/main" id="{5700CF3B-154C-44BC-98CC-E9102CA94DA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bwMode="blackWhite">
          <a:xfrm>
            <a:off x="628649" y="2668041"/>
            <a:ext cx="10934700" cy="3201026"/>
          </a:xfrm>
          <a:prstGeom prst="rect">
            <a:avLst/>
          </a:prstGeom>
          <a:ln w="9525">
            <a:solidFill>
              <a:schemeClr val="bg1"/>
            </a:solidFill>
          </a:ln>
        </p:spPr>
        <p:txBody>
          <a:bodyPr vert="horz"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Trebuchet MS" panose="020B0603020202020204" pitchFamily="34" charset="0"/>
              </a:defRPr>
            </a:lvl1pPr>
          </a:lstStyle>
          <a:p>
            <a:r>
              <a:rPr lang="en-US"/>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3 by Boston Consulting Group. All rights reserved.</a:t>
            </a:r>
          </a:p>
        </p:txBody>
      </p:sp>
      <p:sp>
        <p:nvSpPr>
          <p:cNvPr id="59" name="Rectangle 58"/>
          <p:cNvSpPr/>
          <p:nvPr userDrawn="1"/>
        </p:nvSpPr>
        <p:spPr bwMode="white">
          <a:xfrm>
            <a:off x="628650"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pic>
        <p:nvPicPr>
          <p:cNvPr id="13" name="Graphic 12">
            <a:extLst>
              <a:ext uri="{FF2B5EF4-FFF2-40B4-BE49-F238E27FC236}">
                <a16:creationId xmlns:a16="http://schemas.microsoft.com/office/drawing/2014/main" id="{6B0DC7D1-E472-4648-B8BE-79423FF76FD9}"/>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428018" y="6271005"/>
            <a:ext cx="498632" cy="517662"/>
          </a:xfrm>
          <a:prstGeom prst="rect">
            <a:avLst/>
          </a:prstGeom>
        </p:spPr>
      </p:pic>
    </p:spTree>
    <p:extLst>
      <p:ext uri="{BB962C8B-B14F-4D97-AF65-F5344CB8AC3E}">
        <p14:creationId xmlns:p14="http://schemas.microsoft.com/office/powerpoint/2010/main" val="28246953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rgbClr val="004E2A"/>
            </a:gs>
            <a:gs pos="100000">
              <a:srgbClr val="78B944"/>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34DF10E-9748-48C0-9A89-B1C18E5D66AD}"/>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534DF10E-9748-48C0-9A89-B1C18E5D66A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147" name="Title 1"/>
          <p:cNvSpPr>
            <a:spLocks noGrp="1"/>
          </p:cNvSpPr>
          <p:nvPr>
            <p:ph type="title" hasCustomPrompt="1"/>
          </p:nvPr>
        </p:nvSpPr>
        <p:spPr bwMode="blackWhite">
          <a:xfrm>
            <a:off x="630000" y="3826800"/>
            <a:ext cx="10936800" cy="2041200"/>
          </a:xfrm>
        </p:spPr>
        <p:txBody>
          <a:bodyPr vert="horz" anchor="t">
            <a:noAutofit/>
          </a:bodyPr>
          <a:lstStyle>
            <a:lvl1pPr>
              <a:defRPr sz="5400">
                <a:solidFill>
                  <a:schemeClr val="bg1"/>
                </a:solidFill>
                <a:latin typeface="+mj-lt"/>
                <a:ea typeface="+mj-ea"/>
                <a:cs typeface="+mj-cs"/>
                <a:sym typeface="Trebuchet MS" panose="020B0603020202020204" pitchFamily="34" charset="0"/>
              </a:defRPr>
            </a:lvl1pPr>
          </a:lstStyle>
          <a:p>
            <a:r>
              <a:rPr lang="en-US"/>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pic>
        <p:nvPicPr>
          <p:cNvPr id="8" name="Graphic 7">
            <a:extLst>
              <a:ext uri="{FF2B5EF4-FFF2-40B4-BE49-F238E27FC236}">
                <a16:creationId xmlns:a16="http://schemas.microsoft.com/office/drawing/2014/main" id="{A3254EB2-EFCA-45E0-B4A1-E81FD7CEFA9C}"/>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428018" y="6271005"/>
            <a:ext cx="498632" cy="517662"/>
          </a:xfrm>
          <a:prstGeom prst="rect">
            <a:avLst/>
          </a:prstGeom>
        </p:spPr>
      </p:pic>
    </p:spTree>
    <p:extLst>
      <p:ext uri="{BB962C8B-B14F-4D97-AF65-F5344CB8AC3E}">
        <p14:creationId xmlns:p14="http://schemas.microsoft.com/office/powerpoint/2010/main" val="12191468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rgbClr val="004E2A"/>
            </a:gs>
            <a:gs pos="100000">
              <a:srgbClr val="78B944"/>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6FDE581-45CD-4812-9F94-1BD08A1063F4}"/>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D6FDE581-45CD-4812-9F94-1BD08A1063F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2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vert="horz" anchor="ctr">
            <a:noAutofit/>
          </a:bodyPr>
          <a:lstStyle>
            <a:lvl1pPr>
              <a:defRPr sz="3400">
                <a:solidFill>
                  <a:schemeClr val="tx2"/>
                </a:solidFill>
                <a:latin typeface="+mj-lt"/>
                <a:ea typeface="+mj-ea"/>
                <a:cs typeface="+mj-cs"/>
                <a:sym typeface="Trebuchet MS" panose="020B0603020202020204" pitchFamily="34" charset="0"/>
              </a:defRPr>
            </a:lvl1pPr>
          </a:lstStyle>
          <a:p>
            <a:r>
              <a:rPr lang="en-US"/>
              <a:t>Click to add title</a:t>
            </a:r>
          </a:p>
        </p:txBody>
      </p:sp>
      <p:pic>
        <p:nvPicPr>
          <p:cNvPr id="12" name="Graphic 11">
            <a:extLst>
              <a:ext uri="{FF2B5EF4-FFF2-40B4-BE49-F238E27FC236}">
                <a16:creationId xmlns:a16="http://schemas.microsoft.com/office/drawing/2014/main" id="{CB7357D1-2BEB-4FC1-BE67-0D99954FAFE9}"/>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428018" y="6271005"/>
            <a:ext cx="498632" cy="517662"/>
          </a:xfrm>
          <a:prstGeom prst="rect">
            <a:avLst/>
          </a:prstGeom>
        </p:spPr>
      </p:pic>
    </p:spTree>
    <p:extLst>
      <p:ext uri="{BB962C8B-B14F-4D97-AF65-F5344CB8AC3E}">
        <p14:creationId xmlns:p14="http://schemas.microsoft.com/office/powerpoint/2010/main" val="3352176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rgbClr val="004E2A"/>
            </a:gs>
            <a:gs pos="100000">
              <a:srgbClr val="78B944"/>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56FD073-C3B2-4C24-BE4B-9BCA68BE06F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B56FD073-C3B2-4C24-BE4B-9BCA68BE06F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ea typeface="+mj-ea"/>
                <a:cs typeface="+mj-cs"/>
                <a:sym typeface="Trebuchet MS" panose="020B0603020202020204" pitchFamily="34" charset="0"/>
              </a:defRPr>
            </a:lvl1pPr>
          </a:lstStyle>
          <a:p>
            <a:pPr lvl="0"/>
            <a:r>
              <a:rPr lang="en-US"/>
              <a:t>Click to add title</a:t>
            </a:r>
          </a:p>
        </p:txBody>
      </p:sp>
      <p:pic>
        <p:nvPicPr>
          <p:cNvPr id="12" name="Graphic 11">
            <a:extLst>
              <a:ext uri="{FF2B5EF4-FFF2-40B4-BE49-F238E27FC236}">
                <a16:creationId xmlns:a16="http://schemas.microsoft.com/office/drawing/2014/main" id="{2EDBC9B4-9C8A-459B-88B7-75CDA1E25EC7}"/>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428018" y="6271005"/>
            <a:ext cx="498632" cy="517662"/>
          </a:xfrm>
          <a:prstGeom prst="rect">
            <a:avLst/>
          </a:prstGeom>
        </p:spPr>
      </p:pic>
    </p:spTree>
    <p:extLst>
      <p:ext uri="{BB962C8B-B14F-4D97-AF65-F5344CB8AC3E}">
        <p14:creationId xmlns:p14="http://schemas.microsoft.com/office/powerpoint/2010/main" val="129599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rgbClr val="004E2A"/>
            </a:gs>
            <a:gs pos="100000">
              <a:srgbClr val="78B944"/>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F4863D2-B9E0-4FA8-8597-979E1265E46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7F4863D2-B9E0-4FA8-8597-979E1265E46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vert="horz" anchor="ctr">
            <a:noAutofit/>
          </a:bodyPr>
          <a:lstStyle>
            <a:lvl1pPr>
              <a:defRPr sz="3400">
                <a:solidFill>
                  <a:schemeClr val="bg1"/>
                </a:solidFill>
                <a:latin typeface="+mj-lt"/>
                <a:ea typeface="+mj-ea"/>
                <a:cs typeface="+mj-cs"/>
                <a:sym typeface="Trebuchet MS" panose="020B0603020202020204" pitchFamily="34" charset="0"/>
              </a:defRPr>
            </a:lvl1pPr>
          </a:lstStyle>
          <a:p>
            <a:r>
              <a:rPr lang="en-US"/>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pic>
        <p:nvPicPr>
          <p:cNvPr id="17" name="Graphic 16">
            <a:extLst>
              <a:ext uri="{FF2B5EF4-FFF2-40B4-BE49-F238E27FC236}">
                <a16:creationId xmlns:a16="http://schemas.microsoft.com/office/drawing/2014/main" id="{3D6AD02A-2F91-43E4-AFBB-AB981FFAF3CC}"/>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428018" y="6271005"/>
            <a:ext cx="498632" cy="517662"/>
          </a:xfrm>
          <a:prstGeom prst="rect">
            <a:avLst/>
          </a:prstGeom>
        </p:spPr>
      </p:pic>
    </p:spTree>
    <p:extLst>
      <p:ext uri="{BB962C8B-B14F-4D97-AF65-F5344CB8AC3E}">
        <p14:creationId xmlns:p14="http://schemas.microsoft.com/office/powerpoint/2010/main" val="32647050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rgbClr val="004E2A"/>
            </a:gs>
            <a:gs pos="100000">
              <a:srgbClr val="78B944"/>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C70B019-289F-4E1D-8D06-2C4639F2101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0C70B019-289F-4E1D-8D06-2C4639F2101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1" name="Picture 10"/>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Trebuchet MS" panose="020B0603020202020204" pitchFamily="34" charset="0"/>
              </a:defRPr>
            </a:lvl1pPr>
          </a:lstStyle>
          <a:p>
            <a:r>
              <a:rPr lang="en-US"/>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vert="horz" wrap="square" lIns="0" tIns="0" rIns="320040" bIns="0" anchor="ctr">
            <a:noAutofit/>
          </a:bodyPr>
          <a:lstStyle>
            <a:lvl1pPr>
              <a:defRPr sz="4400">
                <a:solidFill>
                  <a:schemeClr val="bg1"/>
                </a:solidFill>
                <a:latin typeface="+mj-lt"/>
                <a:ea typeface="+mj-ea"/>
                <a:cs typeface="+mj-cs"/>
                <a:sym typeface="Trebuchet MS" panose="020B0603020202020204" pitchFamily="34" charset="0"/>
              </a:defRPr>
            </a:lvl1pPr>
          </a:lstStyle>
          <a:p>
            <a:r>
              <a:rPr lang="en-US"/>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Trebuchet MS" panose="020B0603020202020204" pitchFamily="34" charset="0"/>
            </a:endParaRPr>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pic>
        <p:nvPicPr>
          <p:cNvPr id="18" name="Graphic 17">
            <a:extLst>
              <a:ext uri="{FF2B5EF4-FFF2-40B4-BE49-F238E27FC236}">
                <a16:creationId xmlns:a16="http://schemas.microsoft.com/office/drawing/2014/main" id="{8A91BC6B-B582-4E6D-908F-77BF7FBCCBC6}"/>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428018" y="6271005"/>
            <a:ext cx="498632" cy="517662"/>
          </a:xfrm>
          <a:prstGeom prst="rect">
            <a:avLst/>
          </a:prstGeom>
        </p:spPr>
      </p:pic>
    </p:spTree>
    <p:extLst>
      <p:ext uri="{BB962C8B-B14F-4D97-AF65-F5344CB8AC3E}">
        <p14:creationId xmlns:p14="http://schemas.microsoft.com/office/powerpoint/2010/main" val="27404891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rgbClr val="004E2A"/>
            </a:gs>
            <a:gs pos="100000">
              <a:srgbClr val="78B944"/>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F9A2FF0-0479-409E-9088-1B32137CEE5B}"/>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EF9A2FF0-0479-409E-9088-1B32137CEE5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Trebuchet MS" panose="020B0603020202020204" pitchFamily="34" charset="0"/>
              </a:defRPr>
            </a:lvl1pPr>
          </a:lstStyle>
          <a:p>
            <a:r>
              <a:rPr lang="en-US"/>
              <a:t>Click icon below to insert an image or remove this placeholder to use the whitespace in another way</a:t>
            </a:r>
          </a:p>
        </p:txBody>
      </p:sp>
      <p:sp>
        <p:nvSpPr>
          <p:cNvPr id="15" name="Copyright" hidden="1"/>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14" name="Title 1"/>
          <p:cNvSpPr>
            <a:spLocks noGrp="1"/>
          </p:cNvSpPr>
          <p:nvPr>
            <p:ph type="title" hasCustomPrompt="1"/>
          </p:nvPr>
        </p:nvSpPr>
        <p:spPr bwMode="blackWhite">
          <a:xfrm>
            <a:off x="630000" y="1804650"/>
            <a:ext cx="6247552" cy="3286800"/>
          </a:xfrm>
          <a:prstGeom prst="rect">
            <a:avLst/>
          </a:prstGeom>
        </p:spPr>
        <p:txBody>
          <a:bodyPr vert="horz" anchor="ctr">
            <a:noAutofit/>
          </a:bodyPr>
          <a:lstStyle>
            <a:lvl1pPr>
              <a:defRPr sz="4400">
                <a:solidFill>
                  <a:schemeClr val="bg1"/>
                </a:solidFill>
                <a:latin typeface="+mj-lt"/>
                <a:ea typeface="+mj-ea"/>
                <a:cs typeface="+mj-cs"/>
                <a:sym typeface="Trebuchet MS" panose="020B0603020202020204" pitchFamily="34" charset="0"/>
              </a:defRPr>
            </a:lvl1pPr>
          </a:lstStyle>
          <a:p>
            <a:r>
              <a:rPr lang="en-US"/>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Trebuchet MS" panose="020B0603020202020204" pitchFamily="34" charset="0"/>
            </a:endParaRPr>
          </a:p>
        </p:txBody>
      </p:sp>
      <p:pic>
        <p:nvPicPr>
          <p:cNvPr id="17" name="Graphic 16">
            <a:extLst>
              <a:ext uri="{FF2B5EF4-FFF2-40B4-BE49-F238E27FC236}">
                <a16:creationId xmlns:a16="http://schemas.microsoft.com/office/drawing/2014/main" id="{12F6D4C5-E7DB-487D-A24F-0FC8D75DD63F}"/>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428018" y="6271005"/>
            <a:ext cx="498632" cy="517662"/>
          </a:xfrm>
          <a:prstGeom prst="rect">
            <a:avLst/>
          </a:prstGeom>
        </p:spPr>
      </p:pic>
    </p:spTree>
    <p:extLst>
      <p:ext uri="{BB962C8B-B14F-4D97-AF65-F5344CB8AC3E}">
        <p14:creationId xmlns:p14="http://schemas.microsoft.com/office/powerpoint/2010/main" val="13460185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rgbClr val="004E2A"/>
            </a:gs>
            <a:gs pos="100000">
              <a:srgbClr val="78B944"/>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9C9FA3A-6C66-4B4B-BD01-479ED7348A88}"/>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F9C9FA3A-6C66-4B4B-BD01-479ED7348A8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vert="horz" anchor="ctr">
            <a:noAutofit/>
          </a:bodyPr>
          <a:lstStyle>
            <a:lvl1pPr>
              <a:defRPr sz="3400" baseline="0">
                <a:solidFill>
                  <a:schemeClr val="tx2"/>
                </a:solidFill>
                <a:latin typeface="+mj-lt"/>
                <a:ea typeface="+mj-ea"/>
                <a:cs typeface="+mj-cs"/>
                <a:sym typeface="Trebuchet MS" panose="020B0603020202020204" pitchFamily="34" charset="0"/>
              </a:defRPr>
            </a:lvl1pPr>
          </a:lstStyle>
          <a:p>
            <a:r>
              <a:rPr lang="en-US">
                <a:solidFill>
                  <a:schemeClr val="tx2"/>
                </a:solidFill>
              </a:rPr>
              <a:t>Click to add title</a:t>
            </a: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pic>
        <p:nvPicPr>
          <p:cNvPr id="13" name="Graphic 12">
            <a:extLst>
              <a:ext uri="{FF2B5EF4-FFF2-40B4-BE49-F238E27FC236}">
                <a16:creationId xmlns:a16="http://schemas.microsoft.com/office/drawing/2014/main" id="{1666CE3F-A48F-4142-A040-05E9CDB786FD}"/>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428018" y="6271005"/>
            <a:ext cx="498632" cy="517662"/>
          </a:xfrm>
          <a:prstGeom prst="rect">
            <a:avLst/>
          </a:prstGeom>
        </p:spPr>
      </p:pic>
    </p:spTree>
    <p:extLst>
      <p:ext uri="{BB962C8B-B14F-4D97-AF65-F5344CB8AC3E}">
        <p14:creationId xmlns:p14="http://schemas.microsoft.com/office/powerpoint/2010/main" val="23663977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2ECC784-5958-48FC-B270-5D3C577347E3}"/>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a:extLst>
                          <a:ext uri="{FF2B5EF4-FFF2-40B4-BE49-F238E27FC236}">
                            <a16:creationId xmlns:a16="http://schemas.microsoft.com/office/drawing/2014/main" id="{D2ECC784-5958-48FC-B270-5D3C577347E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rgbClr val="004E2A"/>
              </a:gs>
              <a:gs pos="100000">
                <a:srgbClr val="78B944"/>
              </a:gs>
            </a:gsLst>
            <a:lin ang="8100000" scaled="1"/>
          </a:gradFill>
          <a:ln w="9525" cap="rnd"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fontAlgn="base">
              <a:spcBef>
                <a:spcPct val="0"/>
              </a:spcBef>
              <a:spcAft>
                <a:spcPct val="0"/>
              </a:spcAft>
            </a:pPr>
            <a:endParaRPr lang="en-US" sz="1200" kern="0">
              <a:solidFill>
                <a:srgbClr val="FFFFFF"/>
              </a:solidFill>
              <a:latin typeface="+mn-lt"/>
              <a:ea typeface="+mn-ea"/>
              <a:cs typeface="+mn-cs"/>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vert="horz" anchor="ctr" anchorCtr="0">
            <a:noAutofit/>
          </a:bodyPr>
          <a:lstStyle>
            <a:lvl1pPr>
              <a:defRPr sz="3400" baseline="0">
                <a:solidFill>
                  <a:srgbClr val="FFFFFF"/>
                </a:solidFill>
                <a:latin typeface="+mj-lt"/>
                <a:ea typeface="+mj-ea"/>
                <a:cs typeface="+mj-cs"/>
              </a:defRPr>
            </a:lvl1pPr>
          </a:lstStyle>
          <a:p>
            <a:r>
              <a:rPr lang="en-US"/>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pic>
        <p:nvPicPr>
          <p:cNvPr id="18" name="Graphic 17">
            <a:extLst>
              <a:ext uri="{FF2B5EF4-FFF2-40B4-BE49-F238E27FC236}">
                <a16:creationId xmlns:a16="http://schemas.microsoft.com/office/drawing/2014/main" id="{90882EB9-1E67-4143-A08A-49EEA7A3F2B2}"/>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428018" y="6271005"/>
            <a:ext cx="498632" cy="517662"/>
          </a:xfrm>
          <a:prstGeom prst="rect">
            <a:avLst/>
          </a:prstGeom>
        </p:spPr>
      </p:pic>
    </p:spTree>
    <p:extLst>
      <p:ext uri="{BB962C8B-B14F-4D97-AF65-F5344CB8AC3E}">
        <p14:creationId xmlns:p14="http://schemas.microsoft.com/office/powerpoint/2010/main" val="16511734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rgbClr val="004E2A"/>
            </a:gs>
            <a:gs pos="100000">
              <a:srgbClr val="78B944"/>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solidFill>
              <a:latin typeface="+mn-lt"/>
              <a:ea typeface="+mn-ea"/>
              <a:cs typeface="+mn-cs"/>
              <a:sym typeface="Trebuchet MS" panose="020B0603020202020204" pitchFamily="34" charset="0"/>
            </a:endParaRPr>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vert="horz" anchor="ctr">
            <a:noAutofit/>
          </a:bodyPr>
          <a:lstStyle>
            <a:lvl1pPr>
              <a:defRPr sz="4400" b="0">
                <a:solidFill>
                  <a:schemeClr val="tx2"/>
                </a:solidFill>
                <a:latin typeface="+mj-lt"/>
                <a:ea typeface="+mj-ea"/>
                <a:cs typeface="+mj-cs"/>
                <a:sym typeface="Trebuchet MS" panose="020B0603020202020204" pitchFamily="34" charset="0"/>
              </a:defRPr>
            </a:lvl1pPr>
          </a:lstStyle>
          <a:p>
            <a:r>
              <a:rPr lang="en-US"/>
              <a:t>Click to add title</a:t>
            </a:r>
          </a:p>
        </p:txBody>
      </p:sp>
      <p:pic>
        <p:nvPicPr>
          <p:cNvPr id="15" name="Picture 14"/>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pic>
        <p:nvPicPr>
          <p:cNvPr id="16" name="Graphic 15">
            <a:extLst>
              <a:ext uri="{FF2B5EF4-FFF2-40B4-BE49-F238E27FC236}">
                <a16:creationId xmlns:a16="http://schemas.microsoft.com/office/drawing/2014/main" id="{9D5EA87F-BF26-41DA-B5B9-B28B924220E4}"/>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428018" y="6271005"/>
            <a:ext cx="498632" cy="517662"/>
          </a:xfrm>
          <a:prstGeom prst="rect">
            <a:avLst/>
          </a:prstGeom>
        </p:spPr>
      </p:pic>
    </p:spTree>
    <p:extLst>
      <p:ext uri="{BB962C8B-B14F-4D97-AF65-F5344CB8AC3E}">
        <p14:creationId xmlns:p14="http://schemas.microsoft.com/office/powerpoint/2010/main" val="18778133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Section Header" type="secHead">
  <p:cSld name="SECTION_HEADER">
    <p:spTree>
      <p:nvGrpSpPr>
        <p:cNvPr id="1" name="Shape 23"/>
        <p:cNvGrpSpPr/>
        <p:nvPr/>
      </p:nvGrpSpPr>
      <p:grpSpPr>
        <a:xfrm>
          <a:off x="0" y="0"/>
          <a:ext cx="0" cy="0"/>
          <a:chOff x="0" y="0"/>
          <a:chExt cx="0" cy="0"/>
        </a:xfrm>
      </p:grpSpPr>
      <p:sp>
        <p:nvSpPr>
          <p:cNvPr id="24" name="Google Shape;24;p14"/>
          <p:cNvSpPr txBox="1">
            <a:spLocks noGrp="1"/>
          </p:cNvSpPr>
          <p:nvPr>
            <p:ph type="title"/>
          </p:nvPr>
        </p:nvSpPr>
        <p:spPr>
          <a:xfrm>
            <a:off x="831850" y="1709738"/>
            <a:ext cx="10515600" cy="2852737"/>
          </a:xfrm>
          <a:prstGeom prst="rect">
            <a:avLst/>
          </a:prstGeom>
          <a:noFill/>
          <a:ln>
            <a:noFill/>
          </a:ln>
        </p:spPr>
        <p:txBody>
          <a:bodyPr spcFirstLastPara="1" wrap="square" lIns="91425" tIns="45700" rIns="91425" bIns="45700" anchor="b" anchorCtr="0">
            <a:normAutofit/>
          </a:bodyPr>
          <a:lstStyle>
            <a:lvl1pPr lvl="0" algn="l">
              <a:lnSpc>
                <a:spcPct val="90000"/>
              </a:lnSpc>
              <a:spcBef>
                <a:spcPts val="0"/>
              </a:spcBef>
              <a:spcAft>
                <a:spcPts val="0"/>
              </a:spcAft>
              <a:buClr>
                <a:schemeClr val="dk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5" name="Google Shape;25;p14"/>
          <p:cNvSpPr txBox="1">
            <a:spLocks noGrp="1"/>
          </p:cNvSpPr>
          <p:nvPr>
            <p:ph type="body" idx="1"/>
          </p:nvPr>
        </p:nvSpPr>
        <p:spPr>
          <a:xfrm>
            <a:off x="831850" y="4589463"/>
            <a:ext cx="10515600" cy="1500187"/>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rgbClr val="888888"/>
              </a:buClr>
              <a:buSzPts val="2400"/>
              <a:buNone/>
              <a:defRPr sz="2400">
                <a:solidFill>
                  <a:srgbClr val="888888"/>
                </a:solidFill>
              </a:defRPr>
            </a:lvl1pPr>
            <a:lvl2pPr marL="914400" lvl="1" indent="-228600" algn="l">
              <a:lnSpc>
                <a:spcPct val="90000"/>
              </a:lnSpc>
              <a:spcBef>
                <a:spcPts val="500"/>
              </a:spcBef>
              <a:spcAft>
                <a:spcPts val="0"/>
              </a:spcAft>
              <a:buClr>
                <a:srgbClr val="888888"/>
              </a:buClr>
              <a:buSzPts val="2000"/>
              <a:buNone/>
              <a:defRPr sz="2000">
                <a:solidFill>
                  <a:srgbClr val="888888"/>
                </a:solidFill>
              </a:defRPr>
            </a:lvl2pPr>
            <a:lvl3pPr marL="1371600" lvl="2" indent="-228600" algn="l">
              <a:lnSpc>
                <a:spcPct val="90000"/>
              </a:lnSpc>
              <a:spcBef>
                <a:spcPts val="500"/>
              </a:spcBef>
              <a:spcAft>
                <a:spcPts val="0"/>
              </a:spcAft>
              <a:buClr>
                <a:srgbClr val="888888"/>
              </a:buClr>
              <a:buSzPts val="1800"/>
              <a:buNone/>
              <a:defRPr sz="1800">
                <a:solidFill>
                  <a:srgbClr val="888888"/>
                </a:solidFill>
              </a:defRPr>
            </a:lvl3pPr>
            <a:lvl4pPr marL="1828800" lvl="3" indent="-228600" algn="l">
              <a:lnSpc>
                <a:spcPct val="90000"/>
              </a:lnSpc>
              <a:spcBef>
                <a:spcPts val="500"/>
              </a:spcBef>
              <a:spcAft>
                <a:spcPts val="0"/>
              </a:spcAft>
              <a:buClr>
                <a:srgbClr val="888888"/>
              </a:buClr>
              <a:buSzPts val="1600"/>
              <a:buNone/>
              <a:defRPr sz="1600">
                <a:solidFill>
                  <a:srgbClr val="888888"/>
                </a:solidFill>
              </a:defRPr>
            </a:lvl4pPr>
            <a:lvl5pPr marL="2286000" lvl="4" indent="-228600" algn="l">
              <a:lnSpc>
                <a:spcPct val="90000"/>
              </a:lnSpc>
              <a:spcBef>
                <a:spcPts val="500"/>
              </a:spcBef>
              <a:spcAft>
                <a:spcPts val="0"/>
              </a:spcAft>
              <a:buClr>
                <a:srgbClr val="888888"/>
              </a:buClr>
              <a:buSzPts val="1600"/>
              <a:buNone/>
              <a:defRPr sz="1600">
                <a:solidFill>
                  <a:srgbClr val="888888"/>
                </a:solidFill>
              </a:defRPr>
            </a:lvl5pPr>
            <a:lvl6pPr marL="2743200" lvl="5" indent="-228600" algn="l">
              <a:lnSpc>
                <a:spcPct val="90000"/>
              </a:lnSpc>
              <a:spcBef>
                <a:spcPts val="500"/>
              </a:spcBef>
              <a:spcAft>
                <a:spcPts val="0"/>
              </a:spcAft>
              <a:buClr>
                <a:srgbClr val="888888"/>
              </a:buClr>
              <a:buSzPts val="1600"/>
              <a:buNone/>
              <a:defRPr sz="1600">
                <a:solidFill>
                  <a:srgbClr val="888888"/>
                </a:solidFill>
              </a:defRPr>
            </a:lvl6pPr>
            <a:lvl7pPr marL="3200400" lvl="6" indent="-228600" algn="l">
              <a:lnSpc>
                <a:spcPct val="90000"/>
              </a:lnSpc>
              <a:spcBef>
                <a:spcPts val="500"/>
              </a:spcBef>
              <a:spcAft>
                <a:spcPts val="0"/>
              </a:spcAft>
              <a:buClr>
                <a:srgbClr val="888888"/>
              </a:buClr>
              <a:buSzPts val="1600"/>
              <a:buNone/>
              <a:defRPr sz="1600">
                <a:solidFill>
                  <a:srgbClr val="888888"/>
                </a:solidFill>
              </a:defRPr>
            </a:lvl7pPr>
            <a:lvl8pPr marL="3657600" lvl="7" indent="-228600" algn="l">
              <a:lnSpc>
                <a:spcPct val="90000"/>
              </a:lnSpc>
              <a:spcBef>
                <a:spcPts val="500"/>
              </a:spcBef>
              <a:spcAft>
                <a:spcPts val="0"/>
              </a:spcAft>
              <a:buClr>
                <a:srgbClr val="888888"/>
              </a:buClr>
              <a:buSzPts val="1600"/>
              <a:buNone/>
              <a:defRPr sz="1600">
                <a:solidFill>
                  <a:srgbClr val="888888"/>
                </a:solidFill>
              </a:defRPr>
            </a:lvl8pPr>
            <a:lvl9pPr marL="4114800" lvl="8" indent="-228600" algn="l">
              <a:lnSpc>
                <a:spcPct val="90000"/>
              </a:lnSpc>
              <a:spcBef>
                <a:spcPts val="500"/>
              </a:spcBef>
              <a:spcAft>
                <a:spcPts val="0"/>
              </a:spcAft>
              <a:buClr>
                <a:srgbClr val="888888"/>
              </a:buClr>
              <a:buSzPts val="1600"/>
              <a:buNone/>
              <a:defRPr sz="1600">
                <a:solidFill>
                  <a:srgbClr val="888888"/>
                </a:solidFill>
              </a:defRPr>
            </a:lvl9pPr>
          </a:lstStyle>
          <a:p>
            <a:endParaRPr/>
          </a:p>
        </p:txBody>
      </p:sp>
      <p:sp>
        <p:nvSpPr>
          <p:cNvPr id="26" name="Google Shape;26;p14"/>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7" name="Google Shape;27;p14"/>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8" name="Google Shape;28;p14"/>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GB"/>
              <a:t>‹#›</a:t>
            </a:fld>
            <a:endParaRP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99B277E-1CD0-46AB-BA71-646A5A6F09D7}"/>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899B277E-1CD0-46AB-BA71-646A5A6F09D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Pentagon 3"/>
          <p:cNvSpPr/>
          <p:nvPr userDrawn="1"/>
        </p:nvSpPr>
        <p:spPr bwMode="white">
          <a:xfrm>
            <a:off x="1" y="0"/>
            <a:ext cx="5426920" cy="6858000"/>
          </a:xfrm>
          <a:prstGeom prst="homePlate">
            <a:avLst>
              <a:gd name="adj" fmla="val 12939"/>
            </a:avLst>
          </a:prstGeom>
          <a:gradFill>
            <a:gsLst>
              <a:gs pos="0">
                <a:srgbClr val="004E2A"/>
              </a:gs>
              <a:gs pos="100000">
                <a:srgbClr val="78B944"/>
              </a:gs>
            </a:gsLst>
            <a:lin ang="8100000" scaled="1"/>
          </a:gra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008C4F"/>
                </a:solidFill>
                <a:prstDash val="solid"/>
                <a:round/>
                <a:headEnd type="none" w="med" len="med"/>
                <a:tailEnd type="none" w="med" len="med"/>
              </a14:hiddenLine>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fontAlgn="base">
              <a:spcBef>
                <a:spcPct val="0"/>
              </a:spcBef>
              <a:spcAft>
                <a:spcPct val="0"/>
              </a:spcAft>
            </a:pPr>
            <a:endParaRPr lang="en-US" sz="1200" kern="0">
              <a:solidFill>
                <a:srgbClr val="FFFFFF"/>
              </a:solidFill>
              <a:latin typeface="+mn-lt"/>
              <a:ea typeface="+mn-ea"/>
              <a:cs typeface="+mn-cs"/>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vert="horz" anchor="ctr">
            <a:noAutofit/>
          </a:bodyPr>
          <a:lstStyle>
            <a:lvl1pPr>
              <a:defRPr sz="4400" b="0">
                <a:solidFill>
                  <a:srgbClr val="FFFFFF"/>
                </a:solidFill>
                <a:latin typeface="+mj-lt"/>
                <a:ea typeface="+mj-ea"/>
                <a:cs typeface="+mj-cs"/>
                <a:sym typeface="Trebuchet MS" panose="020B0603020202020204" pitchFamily="34" charset="0"/>
              </a:defRPr>
            </a:lvl1pPr>
          </a:lstStyle>
          <a:p>
            <a:r>
              <a:rPr lang="en-US"/>
              <a:t>Click to add title</a:t>
            </a: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pic>
        <p:nvPicPr>
          <p:cNvPr id="12" name="Graphic 11">
            <a:extLst>
              <a:ext uri="{FF2B5EF4-FFF2-40B4-BE49-F238E27FC236}">
                <a16:creationId xmlns:a16="http://schemas.microsoft.com/office/drawing/2014/main" id="{74E5F0A6-FDC9-4F3B-B490-39634E46E18A}"/>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428018" y="6271005"/>
            <a:ext cx="498632" cy="517662"/>
          </a:xfrm>
          <a:prstGeom prst="rect">
            <a:avLst/>
          </a:prstGeom>
        </p:spPr>
      </p:pic>
    </p:spTree>
    <p:extLst>
      <p:ext uri="{BB962C8B-B14F-4D97-AF65-F5344CB8AC3E}">
        <p14:creationId xmlns:p14="http://schemas.microsoft.com/office/powerpoint/2010/main" val="6424661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rgbClr val="004E2A"/>
            </a:gs>
            <a:gs pos="100000">
              <a:srgbClr val="78B944"/>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844E9BB-3FD3-4BEC-9C26-F8560600A90B}"/>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6844E9BB-3FD3-4BEC-9C26-F8560600A90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ea typeface="+mj-ea"/>
                <a:cs typeface="+mj-cs"/>
                <a:sym typeface="Trebuchet MS" panose="020B0603020202020204" pitchFamily="34" charset="0"/>
              </a:defRPr>
            </a:lvl1pPr>
          </a:lstStyle>
          <a:p>
            <a:pPr lvl="0"/>
            <a:r>
              <a:rPr lang="en-US"/>
              <a:t>Click to add title</a:t>
            </a: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pic>
        <p:nvPicPr>
          <p:cNvPr id="11" name="Graphic 10">
            <a:extLst>
              <a:ext uri="{FF2B5EF4-FFF2-40B4-BE49-F238E27FC236}">
                <a16:creationId xmlns:a16="http://schemas.microsoft.com/office/drawing/2014/main" id="{B412F202-5572-4815-B300-B0BCF8F7A6B5}"/>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428018" y="6271005"/>
            <a:ext cx="498632" cy="517662"/>
          </a:xfrm>
          <a:prstGeom prst="rect">
            <a:avLst/>
          </a:prstGeom>
        </p:spPr>
      </p:pic>
    </p:spTree>
    <p:extLst>
      <p:ext uri="{BB962C8B-B14F-4D97-AF65-F5344CB8AC3E}">
        <p14:creationId xmlns:p14="http://schemas.microsoft.com/office/powerpoint/2010/main" val="33973770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7E893FA-03F6-46D2-8F2C-D92AD23E77CB}"/>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D7E893FA-03F6-46D2-8F2C-D92AD23E77C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Pentagon 8"/>
          <p:cNvSpPr/>
          <p:nvPr userDrawn="1"/>
        </p:nvSpPr>
        <p:spPr bwMode="white">
          <a:xfrm>
            <a:off x="0" y="0"/>
            <a:ext cx="6363546" cy="6858000"/>
          </a:xfrm>
          <a:prstGeom prst="homePlate">
            <a:avLst>
              <a:gd name="adj" fmla="val 12939"/>
            </a:avLst>
          </a:prstGeom>
          <a:gradFill>
            <a:gsLst>
              <a:gs pos="0">
                <a:srgbClr val="004E2A"/>
              </a:gs>
              <a:gs pos="100000">
                <a:srgbClr val="78B944"/>
              </a:gs>
            </a:gsLst>
            <a:lin ang="8100000" scaled="1"/>
          </a:gra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008C4F"/>
                </a:solidFill>
                <a:prstDash val="solid"/>
                <a:round/>
                <a:headEnd type="none" w="med" len="med"/>
                <a:tailEnd type="none" w="med" len="med"/>
              </a14:hiddenLine>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fontAlgn="base">
              <a:spcBef>
                <a:spcPct val="0"/>
              </a:spcBef>
              <a:spcAft>
                <a:spcPct val="0"/>
              </a:spcAft>
            </a:pPr>
            <a:endParaRPr lang="en-US" sz="1200" kern="0">
              <a:solidFill>
                <a:srgbClr val="FFFFFF"/>
              </a:solidFill>
              <a:latin typeface="+mn-lt"/>
              <a:ea typeface="+mn-ea"/>
              <a:cs typeface="+mn-cs"/>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ea typeface="+mj-ea"/>
                <a:cs typeface="+mj-cs"/>
                <a:sym typeface="Trebuchet MS" panose="020B0603020202020204" pitchFamily="34" charset="0"/>
              </a:defRPr>
            </a:lvl1pPr>
          </a:lstStyle>
          <a:p>
            <a:pPr lvl="0"/>
            <a:r>
              <a:rPr lang="en-US"/>
              <a:t>Click to add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pic>
        <p:nvPicPr>
          <p:cNvPr id="11" name="Graphic 10">
            <a:extLst>
              <a:ext uri="{FF2B5EF4-FFF2-40B4-BE49-F238E27FC236}">
                <a16:creationId xmlns:a16="http://schemas.microsoft.com/office/drawing/2014/main" id="{CFC8F346-728B-4329-A2B0-0CF10BCD858B}"/>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428018" y="6271005"/>
            <a:ext cx="498632" cy="517662"/>
          </a:xfrm>
          <a:prstGeom prst="rect">
            <a:avLst/>
          </a:prstGeom>
        </p:spPr>
      </p:pic>
    </p:spTree>
    <p:extLst>
      <p:ext uri="{BB962C8B-B14F-4D97-AF65-F5344CB8AC3E}">
        <p14:creationId xmlns:p14="http://schemas.microsoft.com/office/powerpoint/2010/main" val="41508789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rgbClr val="004E2A"/>
            </a:gs>
            <a:gs pos="100000">
              <a:srgbClr val="78B944"/>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0A37E9F-8E36-4B64-A241-2AF2155288DC}"/>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A0A37E9F-8E36-4B64-A241-2AF2155288D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ea typeface="+mj-ea"/>
                <a:cs typeface="+mj-cs"/>
                <a:sym typeface="Trebuchet MS" panose="020B0603020202020204" pitchFamily="34" charset="0"/>
              </a:defRPr>
            </a:lvl1pPr>
          </a:lstStyle>
          <a:p>
            <a:pPr lvl="0"/>
            <a:r>
              <a:rPr lang="en-US"/>
              <a:t>Click to add title</a:t>
            </a:r>
          </a:p>
        </p:txBody>
      </p:sp>
      <p:pic>
        <p:nvPicPr>
          <p:cNvPr id="16" name="Picture 15"/>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pic>
        <p:nvPicPr>
          <p:cNvPr id="17" name="Graphic 16">
            <a:extLst>
              <a:ext uri="{FF2B5EF4-FFF2-40B4-BE49-F238E27FC236}">
                <a16:creationId xmlns:a16="http://schemas.microsoft.com/office/drawing/2014/main" id="{A650FD6A-5AA8-499C-8687-A9FCD8B07B7B}"/>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428018" y="6271005"/>
            <a:ext cx="498632" cy="517662"/>
          </a:xfrm>
          <a:prstGeom prst="rect">
            <a:avLst/>
          </a:prstGeom>
        </p:spPr>
      </p:pic>
    </p:spTree>
    <p:extLst>
      <p:ext uri="{BB962C8B-B14F-4D97-AF65-F5344CB8AC3E}">
        <p14:creationId xmlns:p14="http://schemas.microsoft.com/office/powerpoint/2010/main" val="20238224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1BF02A0-484A-402F-B396-BB516B5CDF09}"/>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A1BF02A0-484A-402F-B396-BB516B5CDF0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rgbClr val="004E2A"/>
              </a:gs>
              <a:gs pos="100000">
                <a:srgbClr val="78B944"/>
              </a:gs>
            </a:gsLst>
            <a:lin ang="8100000" scaled="1"/>
          </a:gra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008C4F"/>
                </a:solidFill>
                <a:prstDash val="solid"/>
                <a:round/>
                <a:headEnd type="none" w="med" len="med"/>
                <a:tailEnd type="none" w="med" len="med"/>
              </a14:hiddenLine>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fontAlgn="base">
              <a:spcBef>
                <a:spcPct val="0"/>
              </a:spcBef>
              <a:spcAft>
                <a:spcPct val="0"/>
              </a:spcAft>
            </a:pPr>
            <a:endParaRPr lang="en-US" sz="1200" kern="0">
              <a:solidFill>
                <a:srgbClr val="FFFFFF"/>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ea typeface="+mj-ea"/>
                <a:cs typeface="+mj-cs"/>
                <a:sym typeface="Trebuchet MS" panose="020B0603020202020204" pitchFamily="34" charset="0"/>
              </a:defRPr>
            </a:lvl1pPr>
          </a:lstStyle>
          <a:p>
            <a:pPr lvl="0"/>
            <a:r>
              <a:rPr lang="en-US"/>
              <a:t>Click to add title</a:t>
            </a: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pic>
        <p:nvPicPr>
          <p:cNvPr id="13" name="Graphic 12">
            <a:extLst>
              <a:ext uri="{FF2B5EF4-FFF2-40B4-BE49-F238E27FC236}">
                <a16:creationId xmlns:a16="http://schemas.microsoft.com/office/drawing/2014/main" id="{70C7D482-DE55-43D7-86E5-52EF62372218}"/>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428018" y="6271005"/>
            <a:ext cx="498632" cy="517662"/>
          </a:xfrm>
          <a:prstGeom prst="rect">
            <a:avLst/>
          </a:prstGeom>
        </p:spPr>
      </p:pic>
    </p:spTree>
    <p:extLst>
      <p:ext uri="{BB962C8B-B14F-4D97-AF65-F5344CB8AC3E}">
        <p14:creationId xmlns:p14="http://schemas.microsoft.com/office/powerpoint/2010/main" val="28476645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rgbClr val="004E2A"/>
            </a:gs>
            <a:gs pos="100000">
              <a:srgbClr val="78B944"/>
            </a:gs>
          </a:gsLst>
          <a:lin ang="8100000" scaled="1"/>
        </a:gra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2AACDD3-EE1A-41C3-AF58-76A3210BBB88}"/>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5" name="Object 4" hidden="1">
                        <a:extLst>
                          <a:ext uri="{FF2B5EF4-FFF2-40B4-BE49-F238E27FC236}">
                            <a16:creationId xmlns:a16="http://schemas.microsoft.com/office/drawing/2014/main" id="{22AACDD3-EE1A-41C3-AF58-76A3210BBB8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8" name="Title 1"/>
          <p:cNvSpPr>
            <a:spLocks noGrp="1"/>
          </p:cNvSpPr>
          <p:nvPr>
            <p:ph type="title" hasCustomPrompt="1"/>
          </p:nvPr>
        </p:nvSpPr>
        <p:spPr>
          <a:xfrm>
            <a:off x="630000" y="3826333"/>
            <a:ext cx="10933200" cy="1606550"/>
          </a:xfr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Trebuchet MS" panose="020B0603020202020204" pitchFamily="34" charset="0"/>
              </a:defRPr>
            </a:lvl1pPr>
          </a:lstStyle>
          <a:p>
            <a:r>
              <a:rPr lang="en-US"/>
              <a:t>Click to add big statement text</a:t>
            </a:r>
          </a:p>
        </p:txBody>
      </p:sp>
      <p:pic>
        <p:nvPicPr>
          <p:cNvPr id="11" name="Graphic 10">
            <a:extLst>
              <a:ext uri="{FF2B5EF4-FFF2-40B4-BE49-F238E27FC236}">
                <a16:creationId xmlns:a16="http://schemas.microsoft.com/office/drawing/2014/main" id="{E5C0C998-B1CD-4E46-BABA-E12828DC7C2A}"/>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428018" y="6271005"/>
            <a:ext cx="498632" cy="517662"/>
          </a:xfrm>
          <a:prstGeom prst="rect">
            <a:avLst/>
          </a:prstGeom>
        </p:spPr>
      </p:pic>
    </p:spTree>
    <p:extLst>
      <p:ext uri="{BB962C8B-B14F-4D97-AF65-F5344CB8AC3E}">
        <p14:creationId xmlns:p14="http://schemas.microsoft.com/office/powerpoint/2010/main" val="19238254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147C576-C5BF-485B-9ECC-910E590E8AF2}"/>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a:extLst>
                          <a:ext uri="{FF2B5EF4-FFF2-40B4-BE49-F238E27FC236}">
                            <a16:creationId xmlns:a16="http://schemas.microsoft.com/office/drawing/2014/main" id="{1147C576-C5BF-485B-9ECC-910E590E8AF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j-ea"/>
                <a:cs typeface="+mj-cs"/>
                <a:sym typeface="Trebuchet MS" panose="020B0603020202020204" pitchFamily="34" charset="0"/>
              </a:defRPr>
            </a:lvl1pPr>
          </a:lstStyle>
          <a:p>
            <a:r>
              <a:rPr lang="en-US"/>
              <a:t>Click to add big statement text</a:t>
            </a:r>
          </a:p>
        </p:txBody>
      </p:sp>
      <p:pic>
        <p:nvPicPr>
          <p:cNvPr id="11" name="Graphic 10">
            <a:extLst>
              <a:ext uri="{FF2B5EF4-FFF2-40B4-BE49-F238E27FC236}">
                <a16:creationId xmlns:a16="http://schemas.microsoft.com/office/drawing/2014/main" id="{C1814F0C-D825-4813-896F-CF1744732CF2}"/>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428018" y="6271005"/>
            <a:ext cx="498632" cy="517662"/>
          </a:xfrm>
          <a:prstGeom prst="rect">
            <a:avLst/>
          </a:prstGeom>
        </p:spPr>
      </p:pic>
    </p:spTree>
    <p:extLst>
      <p:ext uri="{BB962C8B-B14F-4D97-AF65-F5344CB8AC3E}">
        <p14:creationId xmlns:p14="http://schemas.microsoft.com/office/powerpoint/2010/main" val="42233295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1_White one third">
    <p:bg>
      <p:bgPr>
        <a:gradFill>
          <a:gsLst>
            <a:gs pos="0">
              <a:srgbClr val="004E2A"/>
            </a:gs>
            <a:gs pos="100000">
              <a:srgbClr val="78B944"/>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6FDE581-45CD-4812-9F94-1BD08A1063F4}"/>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D6FDE581-45CD-4812-9F94-1BD08A1063F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2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3 by Boston Consulting Group. All rights reserved.</a:t>
            </a: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vert="horz" anchor="ctr">
            <a:noAutofit/>
          </a:bodyPr>
          <a:lstStyle>
            <a:lvl1pPr>
              <a:defRPr sz="3400">
                <a:solidFill>
                  <a:schemeClr val="tx2"/>
                </a:solidFill>
                <a:latin typeface="+mj-lt"/>
                <a:ea typeface="+mj-ea"/>
                <a:cs typeface="+mj-cs"/>
                <a:sym typeface="Trebuchet MS" panose="020B0603020202020204" pitchFamily="34" charset="0"/>
              </a:defRPr>
            </a:lvl1pPr>
          </a:lstStyle>
          <a:p>
            <a:r>
              <a:rPr lang="en-US"/>
              <a:t>Click to add title</a:t>
            </a:r>
          </a:p>
        </p:txBody>
      </p:sp>
      <p:pic>
        <p:nvPicPr>
          <p:cNvPr id="12" name="Graphic 11">
            <a:extLst>
              <a:ext uri="{FF2B5EF4-FFF2-40B4-BE49-F238E27FC236}">
                <a16:creationId xmlns:a16="http://schemas.microsoft.com/office/drawing/2014/main" id="{CB7357D1-2BEB-4FC1-BE67-0D99954FAFE9}"/>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428018" y="6271005"/>
            <a:ext cx="498632" cy="517662"/>
          </a:xfrm>
          <a:prstGeom prst="rect">
            <a:avLst/>
          </a:prstGeom>
        </p:spPr>
      </p:pic>
    </p:spTree>
    <p:extLst>
      <p:ext uri="{BB962C8B-B14F-4D97-AF65-F5344CB8AC3E}">
        <p14:creationId xmlns:p14="http://schemas.microsoft.com/office/powerpoint/2010/main" val="2334291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1_Green highlight">
    <p:bg>
      <p:bgPr>
        <a:gradFill>
          <a:gsLst>
            <a:gs pos="0">
              <a:srgbClr val="004E2A"/>
            </a:gs>
            <a:gs pos="100000">
              <a:srgbClr val="78B944"/>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56FD073-C3B2-4C24-BE4B-9BCA68BE06F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B56FD073-C3B2-4C24-BE4B-9BCA68BE06F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3 by Boston Consulting Group. All rights reserved.</a:t>
            </a: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ea typeface="+mj-ea"/>
                <a:cs typeface="+mj-cs"/>
                <a:sym typeface="Trebuchet MS" panose="020B0603020202020204" pitchFamily="34" charset="0"/>
              </a:defRPr>
            </a:lvl1pPr>
          </a:lstStyle>
          <a:p>
            <a:pPr lvl="0"/>
            <a:r>
              <a:rPr lang="en-US"/>
              <a:t>Click to add title</a:t>
            </a:r>
          </a:p>
        </p:txBody>
      </p:sp>
      <p:pic>
        <p:nvPicPr>
          <p:cNvPr id="12" name="Graphic 11">
            <a:extLst>
              <a:ext uri="{FF2B5EF4-FFF2-40B4-BE49-F238E27FC236}">
                <a16:creationId xmlns:a16="http://schemas.microsoft.com/office/drawing/2014/main" id="{2EDBC9B4-9C8A-459B-88B7-75CDA1E25EC7}"/>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428018" y="6271005"/>
            <a:ext cx="498632" cy="517662"/>
          </a:xfrm>
          <a:prstGeom prst="rect">
            <a:avLst/>
          </a:prstGeom>
        </p:spPr>
      </p:pic>
    </p:spTree>
    <p:extLst>
      <p:ext uri="{BB962C8B-B14F-4D97-AF65-F5344CB8AC3E}">
        <p14:creationId xmlns:p14="http://schemas.microsoft.com/office/powerpoint/2010/main" val="18572938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1_Green one third">
    <p:bg>
      <p:bgPr>
        <a:gradFill>
          <a:gsLst>
            <a:gs pos="0">
              <a:srgbClr val="004E2A"/>
            </a:gs>
            <a:gs pos="100000">
              <a:srgbClr val="78B944"/>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F4863D2-B9E0-4FA8-8597-979E1265E46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7F4863D2-B9E0-4FA8-8597-979E1265E46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vert="horz" anchor="ctr">
            <a:noAutofit/>
          </a:bodyPr>
          <a:lstStyle>
            <a:lvl1pPr>
              <a:defRPr sz="3400">
                <a:solidFill>
                  <a:schemeClr val="bg1"/>
                </a:solidFill>
                <a:latin typeface="+mj-lt"/>
                <a:ea typeface="+mj-ea"/>
                <a:cs typeface="+mj-cs"/>
                <a:sym typeface="Trebuchet MS" panose="020B0603020202020204" pitchFamily="34" charset="0"/>
              </a:defRPr>
            </a:lvl1pPr>
          </a:lstStyle>
          <a:p>
            <a:r>
              <a:rPr lang="en-US"/>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3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pic>
        <p:nvPicPr>
          <p:cNvPr id="17" name="Graphic 16">
            <a:extLst>
              <a:ext uri="{FF2B5EF4-FFF2-40B4-BE49-F238E27FC236}">
                <a16:creationId xmlns:a16="http://schemas.microsoft.com/office/drawing/2014/main" id="{3D6AD02A-2F91-43E4-AFBB-AB981FFAF3CC}"/>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428018" y="6271005"/>
            <a:ext cx="498632" cy="517662"/>
          </a:xfrm>
          <a:prstGeom prst="rect">
            <a:avLst/>
          </a:prstGeom>
        </p:spPr>
      </p:pic>
    </p:spTree>
    <p:extLst>
      <p:ext uri="{BB962C8B-B14F-4D97-AF65-F5344CB8AC3E}">
        <p14:creationId xmlns:p14="http://schemas.microsoft.com/office/powerpoint/2010/main" val="17956572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Two Content" type="twoObj">
  <p:cSld name="TWO_OBJECTS">
    <p:spTree>
      <p:nvGrpSpPr>
        <p:cNvPr id="1" name="Shape 29"/>
        <p:cNvGrpSpPr/>
        <p:nvPr/>
      </p:nvGrpSpPr>
      <p:grpSpPr>
        <a:xfrm>
          <a:off x="0" y="0"/>
          <a:ext cx="0" cy="0"/>
          <a:chOff x="0" y="0"/>
          <a:chExt cx="0" cy="0"/>
        </a:xfrm>
      </p:grpSpPr>
      <p:sp>
        <p:nvSpPr>
          <p:cNvPr id="30" name="Google Shape;30;p15"/>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1" name="Google Shape;31;p15"/>
          <p:cNvSpPr txBox="1">
            <a:spLocks noGrp="1"/>
          </p:cNvSpPr>
          <p:nvPr>
            <p:ph type="body" idx="1"/>
          </p:nvPr>
        </p:nvSpPr>
        <p:spPr>
          <a:xfrm>
            <a:off x="838200" y="1825625"/>
            <a:ext cx="5181600" cy="4351338"/>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2" name="Google Shape;32;p15"/>
          <p:cNvSpPr txBox="1">
            <a:spLocks noGrp="1"/>
          </p:cNvSpPr>
          <p:nvPr>
            <p:ph type="body" idx="2"/>
          </p:nvPr>
        </p:nvSpPr>
        <p:spPr>
          <a:xfrm>
            <a:off x="6172200" y="1825625"/>
            <a:ext cx="5181600" cy="4351338"/>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3" name="Google Shape;33;p15"/>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4" name="Google Shape;34;p15"/>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5" name="Google Shape;35;p15"/>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GB"/>
              <a:t>‹#›</a:t>
            </a:fld>
            <a:endParaRPr/>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1_Green half">
    <p:bg bwMode="grayWhite">
      <p:bgPr>
        <a:gradFill>
          <a:gsLst>
            <a:gs pos="0">
              <a:srgbClr val="004E2A"/>
            </a:gs>
            <a:gs pos="100000">
              <a:srgbClr val="78B944"/>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C70B019-289F-4E1D-8D06-2C4639F2101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0C70B019-289F-4E1D-8D06-2C4639F2101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1" name="Picture 10"/>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Trebuchet MS" panose="020B0603020202020204" pitchFamily="34" charset="0"/>
              </a:defRPr>
            </a:lvl1pPr>
          </a:lstStyle>
          <a:p>
            <a:r>
              <a:rPr lang="en-US"/>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vert="horz" wrap="square" lIns="0" tIns="0" rIns="320040" bIns="0" anchor="ctr">
            <a:noAutofit/>
          </a:bodyPr>
          <a:lstStyle>
            <a:lvl1pPr>
              <a:defRPr sz="4400">
                <a:solidFill>
                  <a:schemeClr val="bg1"/>
                </a:solidFill>
                <a:latin typeface="+mj-lt"/>
                <a:ea typeface="+mj-ea"/>
                <a:cs typeface="+mj-cs"/>
                <a:sym typeface="Trebuchet MS" panose="020B0603020202020204" pitchFamily="34" charset="0"/>
              </a:defRPr>
            </a:lvl1pPr>
          </a:lstStyle>
          <a:p>
            <a:r>
              <a:rPr lang="en-US"/>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Trebuchet MS" panose="020B0603020202020204" pitchFamily="34" charset="0"/>
            </a:endParaRPr>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3 by Boston Consulting Group. All rights reserved.</a:t>
            </a:r>
          </a:p>
        </p:txBody>
      </p:sp>
      <p:pic>
        <p:nvPicPr>
          <p:cNvPr id="18" name="Graphic 17">
            <a:extLst>
              <a:ext uri="{FF2B5EF4-FFF2-40B4-BE49-F238E27FC236}">
                <a16:creationId xmlns:a16="http://schemas.microsoft.com/office/drawing/2014/main" id="{8A91BC6B-B582-4E6D-908F-77BF7FBCCBC6}"/>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428018" y="6271005"/>
            <a:ext cx="498632" cy="517662"/>
          </a:xfrm>
          <a:prstGeom prst="rect">
            <a:avLst/>
          </a:prstGeom>
        </p:spPr>
      </p:pic>
    </p:spTree>
    <p:extLst>
      <p:ext uri="{BB962C8B-B14F-4D97-AF65-F5344CB8AC3E}">
        <p14:creationId xmlns:p14="http://schemas.microsoft.com/office/powerpoint/2010/main" val="19789047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1_Green two third">
    <p:bg bwMode="grayWhite">
      <p:bgPr>
        <a:gradFill>
          <a:gsLst>
            <a:gs pos="0">
              <a:srgbClr val="004E2A"/>
            </a:gs>
            <a:gs pos="100000">
              <a:srgbClr val="78B944"/>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F9A2FF0-0479-409E-9088-1B32137CEE5B}"/>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EF9A2FF0-0479-409E-9088-1B32137CEE5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Trebuchet MS" panose="020B0603020202020204" pitchFamily="34" charset="0"/>
              </a:defRPr>
            </a:lvl1pPr>
          </a:lstStyle>
          <a:p>
            <a:r>
              <a:rPr lang="en-US"/>
              <a:t>Click icon below to insert an image or remove this placeholder to use the whitespace in another way</a:t>
            </a:r>
          </a:p>
        </p:txBody>
      </p:sp>
      <p:sp>
        <p:nvSpPr>
          <p:cNvPr id="15" name="Copyright" hidden="1"/>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3 by Boston Consulting Group. All rights reserved.</a:t>
            </a:r>
          </a:p>
        </p:txBody>
      </p:sp>
      <p:sp>
        <p:nvSpPr>
          <p:cNvPr id="14" name="Title 1"/>
          <p:cNvSpPr>
            <a:spLocks noGrp="1"/>
          </p:cNvSpPr>
          <p:nvPr>
            <p:ph type="title" hasCustomPrompt="1"/>
          </p:nvPr>
        </p:nvSpPr>
        <p:spPr bwMode="blackWhite">
          <a:xfrm>
            <a:off x="630000" y="1804650"/>
            <a:ext cx="6247552" cy="3286800"/>
          </a:xfrm>
          <a:prstGeom prst="rect">
            <a:avLst/>
          </a:prstGeom>
        </p:spPr>
        <p:txBody>
          <a:bodyPr vert="horz" anchor="ctr">
            <a:noAutofit/>
          </a:bodyPr>
          <a:lstStyle>
            <a:lvl1pPr>
              <a:defRPr sz="4400">
                <a:solidFill>
                  <a:schemeClr val="bg1"/>
                </a:solidFill>
                <a:latin typeface="+mj-lt"/>
                <a:ea typeface="+mj-ea"/>
                <a:cs typeface="+mj-cs"/>
                <a:sym typeface="Trebuchet MS" panose="020B0603020202020204" pitchFamily="34" charset="0"/>
              </a:defRPr>
            </a:lvl1pPr>
          </a:lstStyle>
          <a:p>
            <a:r>
              <a:rPr lang="en-US"/>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Trebuchet MS" panose="020B0603020202020204" pitchFamily="34" charset="0"/>
            </a:endParaRPr>
          </a:p>
        </p:txBody>
      </p:sp>
      <p:pic>
        <p:nvPicPr>
          <p:cNvPr id="17" name="Graphic 16">
            <a:extLst>
              <a:ext uri="{FF2B5EF4-FFF2-40B4-BE49-F238E27FC236}">
                <a16:creationId xmlns:a16="http://schemas.microsoft.com/office/drawing/2014/main" id="{12F6D4C5-E7DB-487D-A24F-0FC8D75DD63F}"/>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428018" y="6271005"/>
            <a:ext cx="498632" cy="517662"/>
          </a:xfrm>
          <a:prstGeom prst="rect">
            <a:avLst/>
          </a:prstGeom>
        </p:spPr>
      </p:pic>
    </p:spTree>
    <p:extLst>
      <p:ext uri="{BB962C8B-B14F-4D97-AF65-F5344CB8AC3E}">
        <p14:creationId xmlns:p14="http://schemas.microsoft.com/office/powerpoint/2010/main" val="36284055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1_Left arrow">
    <p:bg>
      <p:bgPr>
        <a:gradFill>
          <a:gsLst>
            <a:gs pos="0">
              <a:srgbClr val="004E2A"/>
            </a:gs>
            <a:gs pos="100000">
              <a:srgbClr val="78B944"/>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9C9FA3A-6C66-4B4B-BD01-479ED7348A88}"/>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F9C9FA3A-6C66-4B4B-BD01-479ED7348A8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3 by Boston Consulting Group. All rights reserved.</a:t>
            </a: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vert="horz" anchor="ctr">
            <a:noAutofit/>
          </a:bodyPr>
          <a:lstStyle>
            <a:lvl1pPr>
              <a:defRPr sz="3400" baseline="0">
                <a:solidFill>
                  <a:schemeClr val="tx2"/>
                </a:solidFill>
                <a:latin typeface="+mj-lt"/>
                <a:ea typeface="+mj-ea"/>
                <a:cs typeface="+mj-cs"/>
                <a:sym typeface="Trebuchet MS" panose="020B0603020202020204" pitchFamily="34" charset="0"/>
              </a:defRPr>
            </a:lvl1pPr>
          </a:lstStyle>
          <a:p>
            <a:r>
              <a:rPr lang="en-US">
                <a:solidFill>
                  <a:schemeClr val="tx2"/>
                </a:solidFill>
              </a:rPr>
              <a:t>Click to add title</a:t>
            </a: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pic>
        <p:nvPicPr>
          <p:cNvPr id="13" name="Graphic 12">
            <a:extLst>
              <a:ext uri="{FF2B5EF4-FFF2-40B4-BE49-F238E27FC236}">
                <a16:creationId xmlns:a16="http://schemas.microsoft.com/office/drawing/2014/main" id="{1666CE3F-A48F-4142-A040-05E9CDB786FD}"/>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428018" y="6271005"/>
            <a:ext cx="498632" cy="517662"/>
          </a:xfrm>
          <a:prstGeom prst="rect">
            <a:avLst/>
          </a:prstGeom>
        </p:spPr>
      </p:pic>
    </p:spTree>
    <p:extLst>
      <p:ext uri="{BB962C8B-B14F-4D97-AF65-F5344CB8AC3E}">
        <p14:creationId xmlns:p14="http://schemas.microsoft.com/office/powerpoint/2010/main" val="27560153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1_Green left arrow">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2ECC784-5958-48FC-B270-5D3C577347E3}"/>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a:extLst>
                          <a:ext uri="{FF2B5EF4-FFF2-40B4-BE49-F238E27FC236}">
                            <a16:creationId xmlns:a16="http://schemas.microsoft.com/office/drawing/2014/main" id="{D2ECC784-5958-48FC-B270-5D3C577347E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rgbClr val="004E2A"/>
              </a:gs>
              <a:gs pos="100000">
                <a:srgbClr val="78B944"/>
              </a:gs>
            </a:gsLst>
            <a:lin ang="8100000" scaled="1"/>
          </a:gradFill>
          <a:ln w="9525" cap="rnd"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fontAlgn="base">
              <a:spcBef>
                <a:spcPct val="0"/>
              </a:spcBef>
              <a:spcAft>
                <a:spcPct val="0"/>
              </a:spcAft>
            </a:pPr>
            <a:endParaRPr lang="en-US" sz="1200" kern="0">
              <a:solidFill>
                <a:srgbClr val="FFFFFF"/>
              </a:solidFill>
              <a:latin typeface="+mn-lt"/>
              <a:ea typeface="+mn-ea"/>
              <a:cs typeface="+mn-cs"/>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vert="horz" anchor="ctr" anchorCtr="0">
            <a:noAutofit/>
          </a:bodyPr>
          <a:lstStyle>
            <a:lvl1pPr>
              <a:defRPr sz="3400" baseline="0">
                <a:solidFill>
                  <a:srgbClr val="FFFFFF"/>
                </a:solidFill>
                <a:latin typeface="+mj-lt"/>
                <a:ea typeface="+mj-ea"/>
                <a:cs typeface="+mj-cs"/>
              </a:defRPr>
            </a:lvl1pPr>
          </a:lstStyle>
          <a:p>
            <a:r>
              <a:rPr lang="en-US"/>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3 by Boston Consulting Group.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pic>
        <p:nvPicPr>
          <p:cNvPr id="18" name="Graphic 17">
            <a:extLst>
              <a:ext uri="{FF2B5EF4-FFF2-40B4-BE49-F238E27FC236}">
                <a16:creationId xmlns:a16="http://schemas.microsoft.com/office/drawing/2014/main" id="{90882EB9-1E67-4143-A08A-49EEA7A3F2B2}"/>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428018" y="6271005"/>
            <a:ext cx="498632" cy="517662"/>
          </a:xfrm>
          <a:prstGeom prst="rect">
            <a:avLst/>
          </a:prstGeom>
        </p:spPr>
      </p:pic>
    </p:spTree>
    <p:extLst>
      <p:ext uri="{BB962C8B-B14F-4D97-AF65-F5344CB8AC3E}">
        <p14:creationId xmlns:p14="http://schemas.microsoft.com/office/powerpoint/2010/main" val="16513348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1_Arrow one third">
    <p:bg>
      <p:bgPr>
        <a:gradFill>
          <a:gsLst>
            <a:gs pos="0">
              <a:srgbClr val="004E2A"/>
            </a:gs>
            <a:gs pos="100000">
              <a:srgbClr val="78B944"/>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solidFill>
              <a:latin typeface="+mn-lt"/>
              <a:ea typeface="+mn-ea"/>
              <a:cs typeface="+mn-cs"/>
              <a:sym typeface="Trebuchet MS" panose="020B0603020202020204" pitchFamily="34" charset="0"/>
            </a:endParaRPr>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3 by Boston Consulting Group. All rights reserved.</a:t>
            </a: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vert="horz" anchor="ctr">
            <a:noAutofit/>
          </a:bodyPr>
          <a:lstStyle>
            <a:lvl1pPr>
              <a:defRPr sz="4400" b="0">
                <a:solidFill>
                  <a:schemeClr val="tx2"/>
                </a:solidFill>
                <a:latin typeface="+mj-lt"/>
                <a:ea typeface="+mj-ea"/>
                <a:cs typeface="+mj-cs"/>
                <a:sym typeface="Trebuchet MS" panose="020B0603020202020204" pitchFamily="34" charset="0"/>
              </a:defRPr>
            </a:lvl1pPr>
          </a:lstStyle>
          <a:p>
            <a:r>
              <a:rPr lang="en-US"/>
              <a:t>Click to add title</a:t>
            </a:r>
          </a:p>
        </p:txBody>
      </p:sp>
      <p:pic>
        <p:nvPicPr>
          <p:cNvPr id="15" name="Picture 14"/>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pic>
        <p:nvPicPr>
          <p:cNvPr id="16" name="Graphic 15">
            <a:extLst>
              <a:ext uri="{FF2B5EF4-FFF2-40B4-BE49-F238E27FC236}">
                <a16:creationId xmlns:a16="http://schemas.microsoft.com/office/drawing/2014/main" id="{9D5EA87F-BF26-41DA-B5B9-B28B924220E4}"/>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428018" y="6271005"/>
            <a:ext cx="498632" cy="517662"/>
          </a:xfrm>
          <a:prstGeom prst="rect">
            <a:avLst/>
          </a:prstGeom>
        </p:spPr>
      </p:pic>
    </p:spTree>
    <p:extLst>
      <p:ext uri="{BB962C8B-B14F-4D97-AF65-F5344CB8AC3E}">
        <p14:creationId xmlns:p14="http://schemas.microsoft.com/office/powerpoint/2010/main" val="22457670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1_Green arrow one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99B277E-1CD0-46AB-BA71-646A5A6F09D7}"/>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899B277E-1CD0-46AB-BA71-646A5A6F09D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Pentagon 3"/>
          <p:cNvSpPr/>
          <p:nvPr userDrawn="1"/>
        </p:nvSpPr>
        <p:spPr bwMode="white">
          <a:xfrm>
            <a:off x="1" y="0"/>
            <a:ext cx="5426920" cy="6858000"/>
          </a:xfrm>
          <a:prstGeom prst="homePlate">
            <a:avLst>
              <a:gd name="adj" fmla="val 12939"/>
            </a:avLst>
          </a:prstGeom>
          <a:gradFill>
            <a:gsLst>
              <a:gs pos="0">
                <a:srgbClr val="004E2A"/>
              </a:gs>
              <a:gs pos="100000">
                <a:srgbClr val="78B944"/>
              </a:gs>
            </a:gsLst>
            <a:lin ang="8100000" scaled="1"/>
          </a:gra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008C4F"/>
                </a:solidFill>
                <a:prstDash val="solid"/>
                <a:round/>
                <a:headEnd type="none" w="med" len="med"/>
                <a:tailEnd type="none" w="med" len="med"/>
              </a14:hiddenLine>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fontAlgn="base">
              <a:spcBef>
                <a:spcPct val="0"/>
              </a:spcBef>
              <a:spcAft>
                <a:spcPct val="0"/>
              </a:spcAft>
            </a:pPr>
            <a:endParaRPr lang="en-US" sz="1200" kern="0">
              <a:solidFill>
                <a:srgbClr val="FFFFFF"/>
              </a:solidFill>
              <a:latin typeface="+mn-lt"/>
              <a:ea typeface="+mn-ea"/>
              <a:cs typeface="+mn-cs"/>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vert="horz" anchor="ctr">
            <a:noAutofit/>
          </a:bodyPr>
          <a:lstStyle>
            <a:lvl1pPr>
              <a:defRPr sz="4400" b="0">
                <a:solidFill>
                  <a:srgbClr val="FFFFFF"/>
                </a:solidFill>
                <a:latin typeface="+mj-lt"/>
                <a:ea typeface="+mj-ea"/>
                <a:cs typeface="+mj-cs"/>
                <a:sym typeface="Trebuchet MS" panose="020B0603020202020204" pitchFamily="34" charset="0"/>
              </a:defRPr>
            </a:lvl1pPr>
          </a:lstStyle>
          <a:p>
            <a:r>
              <a:rPr lang="en-US"/>
              <a:t>Click to add title</a:t>
            </a: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3 by Boston Consulting Group.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pic>
        <p:nvPicPr>
          <p:cNvPr id="12" name="Graphic 11">
            <a:extLst>
              <a:ext uri="{FF2B5EF4-FFF2-40B4-BE49-F238E27FC236}">
                <a16:creationId xmlns:a16="http://schemas.microsoft.com/office/drawing/2014/main" id="{74E5F0A6-FDC9-4F3B-B490-39634E46E18A}"/>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428018" y="6271005"/>
            <a:ext cx="498632" cy="517662"/>
          </a:xfrm>
          <a:prstGeom prst="rect">
            <a:avLst/>
          </a:prstGeom>
        </p:spPr>
      </p:pic>
    </p:spTree>
    <p:extLst>
      <p:ext uri="{BB962C8B-B14F-4D97-AF65-F5344CB8AC3E}">
        <p14:creationId xmlns:p14="http://schemas.microsoft.com/office/powerpoint/2010/main" val="40715740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1_Arrow half">
    <p:bg>
      <p:bgPr>
        <a:gradFill>
          <a:gsLst>
            <a:gs pos="0">
              <a:srgbClr val="004E2A"/>
            </a:gs>
            <a:gs pos="100000">
              <a:srgbClr val="78B944"/>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844E9BB-3FD3-4BEC-9C26-F8560600A90B}"/>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6844E9BB-3FD3-4BEC-9C26-F8560600A90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3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ea typeface="+mj-ea"/>
                <a:cs typeface="+mj-cs"/>
                <a:sym typeface="Trebuchet MS" panose="020B0603020202020204" pitchFamily="34" charset="0"/>
              </a:defRPr>
            </a:lvl1pPr>
          </a:lstStyle>
          <a:p>
            <a:pPr lvl="0"/>
            <a:r>
              <a:rPr lang="en-US"/>
              <a:t>Click to add title</a:t>
            </a: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pic>
        <p:nvPicPr>
          <p:cNvPr id="11" name="Graphic 10">
            <a:extLst>
              <a:ext uri="{FF2B5EF4-FFF2-40B4-BE49-F238E27FC236}">
                <a16:creationId xmlns:a16="http://schemas.microsoft.com/office/drawing/2014/main" id="{B412F202-5572-4815-B300-B0BCF8F7A6B5}"/>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428018" y="6271005"/>
            <a:ext cx="498632" cy="517662"/>
          </a:xfrm>
          <a:prstGeom prst="rect">
            <a:avLst/>
          </a:prstGeom>
        </p:spPr>
      </p:pic>
    </p:spTree>
    <p:extLst>
      <p:ext uri="{BB962C8B-B14F-4D97-AF65-F5344CB8AC3E}">
        <p14:creationId xmlns:p14="http://schemas.microsoft.com/office/powerpoint/2010/main" val="35360163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1_Green arrow half">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7E893FA-03F6-46D2-8F2C-D92AD23E77CB}"/>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D7E893FA-03F6-46D2-8F2C-D92AD23E77C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Pentagon 8"/>
          <p:cNvSpPr/>
          <p:nvPr userDrawn="1"/>
        </p:nvSpPr>
        <p:spPr bwMode="white">
          <a:xfrm>
            <a:off x="0" y="0"/>
            <a:ext cx="6363546" cy="6858000"/>
          </a:xfrm>
          <a:prstGeom prst="homePlate">
            <a:avLst>
              <a:gd name="adj" fmla="val 12939"/>
            </a:avLst>
          </a:prstGeom>
          <a:gradFill>
            <a:gsLst>
              <a:gs pos="0">
                <a:srgbClr val="004E2A"/>
              </a:gs>
              <a:gs pos="100000">
                <a:srgbClr val="78B944"/>
              </a:gs>
            </a:gsLst>
            <a:lin ang="8100000" scaled="1"/>
          </a:gra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008C4F"/>
                </a:solidFill>
                <a:prstDash val="solid"/>
                <a:round/>
                <a:headEnd type="none" w="med" len="med"/>
                <a:tailEnd type="none" w="med" len="med"/>
              </a14:hiddenLine>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fontAlgn="base">
              <a:spcBef>
                <a:spcPct val="0"/>
              </a:spcBef>
              <a:spcAft>
                <a:spcPct val="0"/>
              </a:spcAft>
            </a:pPr>
            <a:endParaRPr lang="en-US" sz="1200" kern="0">
              <a:solidFill>
                <a:srgbClr val="FFFFFF"/>
              </a:solidFill>
              <a:latin typeface="+mn-lt"/>
              <a:ea typeface="+mn-ea"/>
              <a:cs typeface="+mn-cs"/>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ea typeface="+mj-ea"/>
                <a:cs typeface="+mj-cs"/>
                <a:sym typeface="Trebuchet MS" panose="020B0603020202020204" pitchFamily="34" charset="0"/>
              </a:defRPr>
            </a:lvl1pPr>
          </a:lstStyle>
          <a:p>
            <a:pPr lvl="0"/>
            <a:r>
              <a:rPr lang="en-US"/>
              <a:t>Click to add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3 by Boston Consulting Group.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pic>
        <p:nvPicPr>
          <p:cNvPr id="11" name="Graphic 10">
            <a:extLst>
              <a:ext uri="{FF2B5EF4-FFF2-40B4-BE49-F238E27FC236}">
                <a16:creationId xmlns:a16="http://schemas.microsoft.com/office/drawing/2014/main" id="{CFC8F346-728B-4329-A2B0-0CF10BCD858B}"/>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428018" y="6271005"/>
            <a:ext cx="498632" cy="517662"/>
          </a:xfrm>
          <a:prstGeom prst="rect">
            <a:avLst/>
          </a:prstGeom>
        </p:spPr>
      </p:pic>
    </p:spTree>
    <p:extLst>
      <p:ext uri="{BB962C8B-B14F-4D97-AF65-F5344CB8AC3E}">
        <p14:creationId xmlns:p14="http://schemas.microsoft.com/office/powerpoint/2010/main" val="38874739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1_Arrow two third">
    <p:bg>
      <p:bgPr>
        <a:gradFill>
          <a:gsLst>
            <a:gs pos="0">
              <a:srgbClr val="004E2A"/>
            </a:gs>
            <a:gs pos="100000">
              <a:srgbClr val="78B944"/>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0A37E9F-8E36-4B64-A241-2AF2155288DC}"/>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A0A37E9F-8E36-4B64-A241-2AF2155288D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3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ea typeface="+mj-ea"/>
                <a:cs typeface="+mj-cs"/>
                <a:sym typeface="Trebuchet MS" panose="020B0603020202020204" pitchFamily="34" charset="0"/>
              </a:defRPr>
            </a:lvl1pPr>
          </a:lstStyle>
          <a:p>
            <a:pPr lvl="0"/>
            <a:r>
              <a:rPr lang="en-US"/>
              <a:t>Click to add title</a:t>
            </a:r>
          </a:p>
        </p:txBody>
      </p:sp>
      <p:pic>
        <p:nvPicPr>
          <p:cNvPr id="16" name="Picture 15"/>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pic>
        <p:nvPicPr>
          <p:cNvPr id="17" name="Graphic 16">
            <a:extLst>
              <a:ext uri="{FF2B5EF4-FFF2-40B4-BE49-F238E27FC236}">
                <a16:creationId xmlns:a16="http://schemas.microsoft.com/office/drawing/2014/main" id="{A650FD6A-5AA8-499C-8687-A9FCD8B07B7B}"/>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428018" y="6271005"/>
            <a:ext cx="498632" cy="517662"/>
          </a:xfrm>
          <a:prstGeom prst="rect">
            <a:avLst/>
          </a:prstGeom>
        </p:spPr>
      </p:pic>
    </p:spTree>
    <p:extLst>
      <p:ext uri="{BB962C8B-B14F-4D97-AF65-F5344CB8AC3E}">
        <p14:creationId xmlns:p14="http://schemas.microsoft.com/office/powerpoint/2010/main" val="10678721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1_Green arrow two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1BF02A0-484A-402F-B396-BB516B5CDF09}"/>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A1BF02A0-484A-402F-B396-BB516B5CDF0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rgbClr val="004E2A"/>
              </a:gs>
              <a:gs pos="100000">
                <a:srgbClr val="78B944"/>
              </a:gs>
            </a:gsLst>
            <a:lin ang="8100000" scaled="1"/>
          </a:gra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008C4F"/>
                </a:solidFill>
                <a:prstDash val="solid"/>
                <a:round/>
                <a:headEnd type="none" w="med" len="med"/>
                <a:tailEnd type="none" w="med" len="med"/>
              </a14:hiddenLine>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fontAlgn="base">
              <a:spcBef>
                <a:spcPct val="0"/>
              </a:spcBef>
              <a:spcAft>
                <a:spcPct val="0"/>
              </a:spcAft>
            </a:pPr>
            <a:endParaRPr lang="en-US" sz="1200" kern="0">
              <a:solidFill>
                <a:srgbClr val="FFFFFF"/>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ea typeface="+mj-ea"/>
                <a:cs typeface="+mj-cs"/>
                <a:sym typeface="Trebuchet MS" panose="020B0603020202020204" pitchFamily="34" charset="0"/>
              </a:defRPr>
            </a:lvl1pPr>
          </a:lstStyle>
          <a:p>
            <a:pPr lvl="0"/>
            <a:r>
              <a:rPr lang="en-US"/>
              <a:t>Click to add title</a:t>
            </a: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3 by Boston Consulting Group.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pic>
        <p:nvPicPr>
          <p:cNvPr id="13" name="Graphic 12">
            <a:extLst>
              <a:ext uri="{FF2B5EF4-FFF2-40B4-BE49-F238E27FC236}">
                <a16:creationId xmlns:a16="http://schemas.microsoft.com/office/drawing/2014/main" id="{70C7D482-DE55-43D7-86E5-52EF62372218}"/>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428018" y="6271005"/>
            <a:ext cx="498632" cy="517662"/>
          </a:xfrm>
          <a:prstGeom prst="rect">
            <a:avLst/>
          </a:prstGeom>
        </p:spPr>
      </p:pic>
    </p:spTree>
    <p:extLst>
      <p:ext uri="{BB962C8B-B14F-4D97-AF65-F5344CB8AC3E}">
        <p14:creationId xmlns:p14="http://schemas.microsoft.com/office/powerpoint/2010/main" val="19541463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Comparison" type="twoTxTwoObj">
  <p:cSld name="TWO_OBJECTS_WITH_TEXT">
    <p:spTree>
      <p:nvGrpSpPr>
        <p:cNvPr id="1" name="Shape 36"/>
        <p:cNvGrpSpPr/>
        <p:nvPr/>
      </p:nvGrpSpPr>
      <p:grpSpPr>
        <a:xfrm>
          <a:off x="0" y="0"/>
          <a:ext cx="0" cy="0"/>
          <a:chOff x="0" y="0"/>
          <a:chExt cx="0" cy="0"/>
        </a:xfrm>
      </p:grpSpPr>
      <p:sp>
        <p:nvSpPr>
          <p:cNvPr id="37" name="Google Shape;37;p16"/>
          <p:cNvSpPr txBox="1">
            <a:spLocks noGrp="1"/>
          </p:cNvSpPr>
          <p:nvPr>
            <p:ph type="title"/>
          </p:nvPr>
        </p:nvSpPr>
        <p:spPr>
          <a:xfrm>
            <a:off x="839788" y="365125"/>
            <a:ext cx="10515600" cy="132556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8" name="Google Shape;38;p16"/>
          <p:cNvSpPr txBox="1">
            <a:spLocks noGrp="1"/>
          </p:cNvSpPr>
          <p:nvPr>
            <p:ph type="body" idx="1"/>
          </p:nvPr>
        </p:nvSpPr>
        <p:spPr>
          <a:xfrm>
            <a:off x="839788" y="1681163"/>
            <a:ext cx="5157787" cy="823912"/>
          </a:xfrm>
          <a:prstGeom prst="rect">
            <a:avLst/>
          </a:prstGeom>
          <a:noFill/>
          <a:ln>
            <a:noFill/>
          </a:ln>
        </p:spPr>
        <p:txBody>
          <a:bodyPr spcFirstLastPara="1" wrap="square" lIns="91425" tIns="45700" rIns="91425" bIns="45700" anchor="b" anchorCtr="0">
            <a:normAutofit/>
          </a:bodyPr>
          <a:lstStyle>
            <a:lvl1pPr marL="457200" lvl="0" indent="-228600" algn="l">
              <a:lnSpc>
                <a:spcPct val="90000"/>
              </a:lnSpc>
              <a:spcBef>
                <a:spcPts val="1000"/>
              </a:spcBef>
              <a:spcAft>
                <a:spcPts val="0"/>
              </a:spcAft>
              <a:buClr>
                <a:schemeClr val="dk1"/>
              </a:buClr>
              <a:buSzPts val="2400"/>
              <a:buNone/>
              <a:defRPr sz="2400" b="1"/>
            </a:lvl1pPr>
            <a:lvl2pPr marL="914400" lvl="1" indent="-228600" algn="l">
              <a:lnSpc>
                <a:spcPct val="90000"/>
              </a:lnSpc>
              <a:spcBef>
                <a:spcPts val="500"/>
              </a:spcBef>
              <a:spcAft>
                <a:spcPts val="0"/>
              </a:spcAft>
              <a:buClr>
                <a:schemeClr val="dk1"/>
              </a:buClr>
              <a:buSzPts val="2000"/>
              <a:buNone/>
              <a:defRPr sz="2000" b="1"/>
            </a:lvl2pPr>
            <a:lvl3pPr marL="1371600" lvl="2" indent="-228600" algn="l">
              <a:lnSpc>
                <a:spcPct val="90000"/>
              </a:lnSpc>
              <a:spcBef>
                <a:spcPts val="500"/>
              </a:spcBef>
              <a:spcAft>
                <a:spcPts val="0"/>
              </a:spcAft>
              <a:buClr>
                <a:schemeClr val="dk1"/>
              </a:buClr>
              <a:buSzPts val="1800"/>
              <a:buNone/>
              <a:defRPr sz="1800" b="1"/>
            </a:lvl3pPr>
            <a:lvl4pPr marL="1828800" lvl="3" indent="-228600" algn="l">
              <a:lnSpc>
                <a:spcPct val="90000"/>
              </a:lnSpc>
              <a:spcBef>
                <a:spcPts val="500"/>
              </a:spcBef>
              <a:spcAft>
                <a:spcPts val="0"/>
              </a:spcAft>
              <a:buClr>
                <a:schemeClr val="dk1"/>
              </a:buClr>
              <a:buSzPts val="1600"/>
              <a:buNone/>
              <a:defRPr sz="1600" b="1"/>
            </a:lvl4pPr>
            <a:lvl5pPr marL="2286000" lvl="4" indent="-228600" algn="l">
              <a:lnSpc>
                <a:spcPct val="90000"/>
              </a:lnSpc>
              <a:spcBef>
                <a:spcPts val="500"/>
              </a:spcBef>
              <a:spcAft>
                <a:spcPts val="0"/>
              </a:spcAft>
              <a:buClr>
                <a:schemeClr val="dk1"/>
              </a:buClr>
              <a:buSzPts val="1600"/>
              <a:buNone/>
              <a:defRPr sz="1600" b="1"/>
            </a:lvl5pPr>
            <a:lvl6pPr marL="2743200" lvl="5" indent="-228600" algn="l">
              <a:lnSpc>
                <a:spcPct val="90000"/>
              </a:lnSpc>
              <a:spcBef>
                <a:spcPts val="5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39" name="Google Shape;39;p16"/>
          <p:cNvSpPr txBox="1">
            <a:spLocks noGrp="1"/>
          </p:cNvSpPr>
          <p:nvPr>
            <p:ph type="body" idx="2"/>
          </p:nvPr>
        </p:nvSpPr>
        <p:spPr>
          <a:xfrm>
            <a:off x="839788" y="2505075"/>
            <a:ext cx="5157787" cy="3684588"/>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0" name="Google Shape;40;p16"/>
          <p:cNvSpPr txBox="1">
            <a:spLocks noGrp="1"/>
          </p:cNvSpPr>
          <p:nvPr>
            <p:ph type="body" idx="3"/>
          </p:nvPr>
        </p:nvSpPr>
        <p:spPr>
          <a:xfrm>
            <a:off x="6172200" y="1681163"/>
            <a:ext cx="5183188" cy="823912"/>
          </a:xfrm>
          <a:prstGeom prst="rect">
            <a:avLst/>
          </a:prstGeom>
          <a:noFill/>
          <a:ln>
            <a:noFill/>
          </a:ln>
        </p:spPr>
        <p:txBody>
          <a:bodyPr spcFirstLastPara="1" wrap="square" lIns="91425" tIns="45700" rIns="91425" bIns="45700" anchor="b" anchorCtr="0">
            <a:normAutofit/>
          </a:bodyPr>
          <a:lstStyle>
            <a:lvl1pPr marL="457200" lvl="0" indent="-228600" algn="l">
              <a:lnSpc>
                <a:spcPct val="90000"/>
              </a:lnSpc>
              <a:spcBef>
                <a:spcPts val="1000"/>
              </a:spcBef>
              <a:spcAft>
                <a:spcPts val="0"/>
              </a:spcAft>
              <a:buClr>
                <a:schemeClr val="dk1"/>
              </a:buClr>
              <a:buSzPts val="2400"/>
              <a:buNone/>
              <a:defRPr sz="2400" b="1"/>
            </a:lvl1pPr>
            <a:lvl2pPr marL="914400" lvl="1" indent="-228600" algn="l">
              <a:lnSpc>
                <a:spcPct val="90000"/>
              </a:lnSpc>
              <a:spcBef>
                <a:spcPts val="500"/>
              </a:spcBef>
              <a:spcAft>
                <a:spcPts val="0"/>
              </a:spcAft>
              <a:buClr>
                <a:schemeClr val="dk1"/>
              </a:buClr>
              <a:buSzPts val="2000"/>
              <a:buNone/>
              <a:defRPr sz="2000" b="1"/>
            </a:lvl2pPr>
            <a:lvl3pPr marL="1371600" lvl="2" indent="-228600" algn="l">
              <a:lnSpc>
                <a:spcPct val="90000"/>
              </a:lnSpc>
              <a:spcBef>
                <a:spcPts val="500"/>
              </a:spcBef>
              <a:spcAft>
                <a:spcPts val="0"/>
              </a:spcAft>
              <a:buClr>
                <a:schemeClr val="dk1"/>
              </a:buClr>
              <a:buSzPts val="1800"/>
              <a:buNone/>
              <a:defRPr sz="1800" b="1"/>
            </a:lvl3pPr>
            <a:lvl4pPr marL="1828800" lvl="3" indent="-228600" algn="l">
              <a:lnSpc>
                <a:spcPct val="90000"/>
              </a:lnSpc>
              <a:spcBef>
                <a:spcPts val="500"/>
              </a:spcBef>
              <a:spcAft>
                <a:spcPts val="0"/>
              </a:spcAft>
              <a:buClr>
                <a:schemeClr val="dk1"/>
              </a:buClr>
              <a:buSzPts val="1600"/>
              <a:buNone/>
              <a:defRPr sz="1600" b="1"/>
            </a:lvl4pPr>
            <a:lvl5pPr marL="2286000" lvl="4" indent="-228600" algn="l">
              <a:lnSpc>
                <a:spcPct val="90000"/>
              </a:lnSpc>
              <a:spcBef>
                <a:spcPts val="500"/>
              </a:spcBef>
              <a:spcAft>
                <a:spcPts val="0"/>
              </a:spcAft>
              <a:buClr>
                <a:schemeClr val="dk1"/>
              </a:buClr>
              <a:buSzPts val="1600"/>
              <a:buNone/>
              <a:defRPr sz="1600" b="1"/>
            </a:lvl5pPr>
            <a:lvl6pPr marL="2743200" lvl="5" indent="-228600" algn="l">
              <a:lnSpc>
                <a:spcPct val="90000"/>
              </a:lnSpc>
              <a:spcBef>
                <a:spcPts val="5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41" name="Google Shape;41;p16"/>
          <p:cNvSpPr txBox="1">
            <a:spLocks noGrp="1"/>
          </p:cNvSpPr>
          <p:nvPr>
            <p:ph type="body" idx="4"/>
          </p:nvPr>
        </p:nvSpPr>
        <p:spPr>
          <a:xfrm>
            <a:off x="6172200" y="2505075"/>
            <a:ext cx="5183188" cy="3684588"/>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2" name="Google Shape;42;p16"/>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43" name="Google Shape;43;p16"/>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44" name="Google Shape;44;p16"/>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GB"/>
              <a:t>‹#›</a:t>
            </a:fld>
            <a:endParaRPr/>
          </a:p>
        </p:txBody>
      </p:sp>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1_Big statement green">
    <p:bg>
      <p:bgPr>
        <a:gradFill>
          <a:gsLst>
            <a:gs pos="0">
              <a:srgbClr val="004E2A"/>
            </a:gs>
            <a:gs pos="100000">
              <a:srgbClr val="78B944"/>
            </a:gs>
          </a:gsLst>
          <a:lin ang="8100000" scaled="1"/>
        </a:gra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2AACDD3-EE1A-41C3-AF58-76A3210BBB88}"/>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5" name="Object 4" hidden="1">
                        <a:extLst>
                          <a:ext uri="{FF2B5EF4-FFF2-40B4-BE49-F238E27FC236}">
                            <a16:creationId xmlns:a16="http://schemas.microsoft.com/office/drawing/2014/main" id="{22AACDD3-EE1A-41C3-AF58-76A3210BBB8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3 by Boston Consulting Group. All rights reserved.</a:t>
            </a:r>
          </a:p>
        </p:txBody>
      </p:sp>
      <p:sp>
        <p:nvSpPr>
          <p:cNvPr id="8" name="Title 1"/>
          <p:cNvSpPr>
            <a:spLocks noGrp="1"/>
          </p:cNvSpPr>
          <p:nvPr>
            <p:ph type="title" hasCustomPrompt="1"/>
          </p:nvPr>
        </p:nvSpPr>
        <p:spPr>
          <a:xfrm>
            <a:off x="630000" y="3826333"/>
            <a:ext cx="10933200" cy="1606550"/>
          </a:xfr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Trebuchet MS" panose="020B0603020202020204" pitchFamily="34" charset="0"/>
              </a:defRPr>
            </a:lvl1pPr>
          </a:lstStyle>
          <a:p>
            <a:r>
              <a:rPr lang="en-US"/>
              <a:t>Click to add big statement text</a:t>
            </a:r>
          </a:p>
        </p:txBody>
      </p:sp>
      <p:pic>
        <p:nvPicPr>
          <p:cNvPr id="11" name="Graphic 10">
            <a:extLst>
              <a:ext uri="{FF2B5EF4-FFF2-40B4-BE49-F238E27FC236}">
                <a16:creationId xmlns:a16="http://schemas.microsoft.com/office/drawing/2014/main" id="{E5C0C998-B1CD-4E46-BABA-E12828DC7C2A}"/>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428018" y="6271005"/>
            <a:ext cx="498632" cy="517662"/>
          </a:xfrm>
          <a:prstGeom prst="rect">
            <a:avLst/>
          </a:prstGeom>
        </p:spPr>
      </p:pic>
    </p:spTree>
    <p:extLst>
      <p:ext uri="{BB962C8B-B14F-4D97-AF65-F5344CB8AC3E}">
        <p14:creationId xmlns:p14="http://schemas.microsoft.com/office/powerpoint/2010/main" val="34963552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_Big statement icon">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147C576-C5BF-485B-9ECC-910E590E8AF2}"/>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a:extLst>
                          <a:ext uri="{FF2B5EF4-FFF2-40B4-BE49-F238E27FC236}">
                            <a16:creationId xmlns:a16="http://schemas.microsoft.com/office/drawing/2014/main" id="{1147C576-C5BF-485B-9ECC-910E590E8AF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3 by Boston Consulting Group. All rights reserved.</a:t>
            </a: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j-ea"/>
                <a:cs typeface="+mj-cs"/>
                <a:sym typeface="Trebuchet MS" panose="020B0603020202020204" pitchFamily="34" charset="0"/>
              </a:defRPr>
            </a:lvl1pPr>
          </a:lstStyle>
          <a:p>
            <a:r>
              <a:rPr lang="en-US"/>
              <a:t>Click to add big statement text</a:t>
            </a:r>
          </a:p>
        </p:txBody>
      </p:sp>
      <p:pic>
        <p:nvPicPr>
          <p:cNvPr id="11" name="Graphic 10">
            <a:extLst>
              <a:ext uri="{FF2B5EF4-FFF2-40B4-BE49-F238E27FC236}">
                <a16:creationId xmlns:a16="http://schemas.microsoft.com/office/drawing/2014/main" id="{C1814F0C-D825-4813-896F-CF1744732CF2}"/>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428018" y="6271005"/>
            <a:ext cx="498632" cy="517662"/>
          </a:xfrm>
          <a:prstGeom prst="rect">
            <a:avLst/>
          </a:prstGeom>
        </p:spPr>
      </p:pic>
    </p:spTree>
    <p:extLst>
      <p:ext uri="{BB962C8B-B14F-4D97-AF65-F5344CB8AC3E}">
        <p14:creationId xmlns:p14="http://schemas.microsoft.com/office/powerpoint/2010/main" val="28721129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rgbClr val="004E2A"/>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78B944"/>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ea typeface="+mn-ea"/>
              <a:cs typeface="+mn-cs"/>
              <a:sym typeface="Trebuchet MS" panose="020B0603020202020204" pitchFamily="34" charset="0"/>
            </a:endParaRPr>
          </a:p>
        </p:txBody>
      </p:sp>
      <p:pic>
        <p:nvPicPr>
          <p:cNvPr id="8" name="Graphic 7">
            <a:extLst>
              <a:ext uri="{FF2B5EF4-FFF2-40B4-BE49-F238E27FC236}">
                <a16:creationId xmlns:a16="http://schemas.microsoft.com/office/drawing/2014/main" id="{2B0CF5E8-D7B3-4A44-AAD3-04F8197DF626}"/>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428018" y="6271005"/>
            <a:ext cx="498632" cy="517662"/>
          </a:xfrm>
          <a:prstGeom prst="rect">
            <a:avLst/>
          </a:prstGeom>
        </p:spPr>
      </p:pic>
    </p:spTree>
    <p:extLst>
      <p:ext uri="{BB962C8B-B14F-4D97-AF65-F5344CB8AC3E}">
        <p14:creationId xmlns:p14="http://schemas.microsoft.com/office/powerpoint/2010/main" val="25628023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bg2">
            <a:lumMod val="10000"/>
          </a:schemeClr>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0836D22-EA77-4740-B317-3368A41A47EC}"/>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6" name="Object 5" hidden="1">
                        <a:extLst>
                          <a:ext uri="{FF2B5EF4-FFF2-40B4-BE49-F238E27FC236}">
                            <a16:creationId xmlns:a16="http://schemas.microsoft.com/office/drawing/2014/main" id="{F0836D22-EA77-4740-B317-3368A41A47E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4" name="Title 3"/>
          <p:cNvSpPr>
            <a:spLocks noGrp="1"/>
          </p:cNvSpPr>
          <p:nvPr>
            <p:ph type="title" hasCustomPrompt="1"/>
          </p:nvPr>
        </p:nvSpPr>
        <p:spPr>
          <a:xfrm>
            <a:off x="630000" y="622800"/>
            <a:ext cx="10933200" cy="470898"/>
          </a:xfrm>
        </p:spPr>
        <p:txBody>
          <a:bodyPr vert="horz"/>
          <a:lstStyle>
            <a:lvl1pPr>
              <a:defRPr sz="3400">
                <a:solidFill>
                  <a:schemeClr val="bg1"/>
                </a:solidFill>
                <a:latin typeface="+mj-lt"/>
                <a:ea typeface="+mj-ea"/>
                <a:cs typeface="+mj-cs"/>
                <a:sym typeface="Trebuchet MS" panose="020B0603020202020204" pitchFamily="34" charset="0"/>
              </a:defRPr>
            </a:lvl1pPr>
          </a:lstStyle>
          <a:p>
            <a:r>
              <a:rPr lang="en-US"/>
              <a:t>Click to add title</a:t>
            </a:r>
          </a:p>
        </p:txBody>
      </p:sp>
      <p:pic>
        <p:nvPicPr>
          <p:cNvPr id="9" name="Graphic 8">
            <a:extLst>
              <a:ext uri="{FF2B5EF4-FFF2-40B4-BE49-F238E27FC236}">
                <a16:creationId xmlns:a16="http://schemas.microsoft.com/office/drawing/2014/main" id="{5C2FE644-9988-4926-B6CB-628BAE492ECF}"/>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428018" y="6271005"/>
            <a:ext cx="498632" cy="517662"/>
          </a:xfrm>
          <a:prstGeom prst="rect">
            <a:avLst/>
          </a:prstGeom>
        </p:spPr>
      </p:pic>
    </p:spTree>
    <p:extLst>
      <p:ext uri="{BB962C8B-B14F-4D97-AF65-F5344CB8AC3E}">
        <p14:creationId xmlns:p14="http://schemas.microsoft.com/office/powerpoint/2010/main" val="26247299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B1416DB-A46D-48B8-9FF7-021DB74926D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Object 1" hidden="1">
                        <a:extLst>
                          <a:ext uri="{FF2B5EF4-FFF2-40B4-BE49-F238E27FC236}">
                            <a16:creationId xmlns:a16="http://schemas.microsoft.com/office/drawing/2014/main" id="{5B1416DB-A46D-48B8-9FF7-021DB74926D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pic>
        <p:nvPicPr>
          <p:cNvPr id="8" name="Graphic 7">
            <a:extLst>
              <a:ext uri="{FF2B5EF4-FFF2-40B4-BE49-F238E27FC236}">
                <a16:creationId xmlns:a16="http://schemas.microsoft.com/office/drawing/2014/main" id="{85512120-739F-4FE1-889C-B478C7A4AE4F}"/>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428018" y="6271005"/>
            <a:ext cx="498632" cy="517662"/>
          </a:xfrm>
          <a:prstGeom prst="rect">
            <a:avLst/>
          </a:prstGeom>
        </p:spPr>
      </p:pic>
    </p:spTree>
    <p:extLst>
      <p:ext uri="{BB962C8B-B14F-4D97-AF65-F5344CB8AC3E}">
        <p14:creationId xmlns:p14="http://schemas.microsoft.com/office/powerpoint/2010/main" val="11509270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rgbClr val="004E2A"/>
            </a:gs>
            <a:gs pos="100000">
              <a:srgbClr val="78B944"/>
            </a:gs>
          </a:gsLst>
          <a:lin ang="8100000" scaled="1"/>
        </a:gra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59184B9-8F5A-462A-8E54-7FF3FA849CA7}"/>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Object 1" hidden="1">
                        <a:extLst>
                          <a:ext uri="{FF2B5EF4-FFF2-40B4-BE49-F238E27FC236}">
                            <a16:creationId xmlns:a16="http://schemas.microsoft.com/office/drawing/2014/main" id="{E59184B9-8F5A-462A-8E54-7FF3FA849CA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pic>
        <p:nvPicPr>
          <p:cNvPr id="6" name="Graphic 5">
            <a:extLst>
              <a:ext uri="{FF2B5EF4-FFF2-40B4-BE49-F238E27FC236}">
                <a16:creationId xmlns:a16="http://schemas.microsoft.com/office/drawing/2014/main" id="{7B5544E2-5AD1-4FCC-BB43-1795045CC838}"/>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428018" y="6271005"/>
            <a:ext cx="498632" cy="517662"/>
          </a:xfrm>
          <a:prstGeom prst="rect">
            <a:avLst/>
          </a:prstGeom>
        </p:spPr>
      </p:pic>
    </p:spTree>
    <p:extLst>
      <p:ext uri="{BB962C8B-B14F-4D97-AF65-F5344CB8AC3E}">
        <p14:creationId xmlns:p14="http://schemas.microsoft.com/office/powerpoint/2010/main" val="21376647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Disclaimer">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577A53A-3A1D-4319-99C0-BA68D727172E}"/>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Object 1" hidden="1">
                        <a:extLst>
                          <a:ext uri="{FF2B5EF4-FFF2-40B4-BE49-F238E27FC236}">
                            <a16:creationId xmlns:a16="http://schemas.microsoft.com/office/drawing/2014/main" id="{5577A53A-3A1D-4319-99C0-BA68D727172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2B9BA0BE-0815-4FFD-B83B-3B0DB4A90951}"/>
              </a:ext>
            </a:extLst>
          </p:cNvPr>
          <p:cNvSpPr>
            <a:spLocks noGrp="1"/>
          </p:cNvSpPr>
          <p:nvPr>
            <p:ph type="body" sz="quarter" idx="10"/>
          </p:nvPr>
        </p:nvSpPr>
        <p:spPr>
          <a:xfrm>
            <a:off x="5354278" y="1664256"/>
            <a:ext cx="6209072" cy="3323987"/>
          </a:xfrm>
        </p:spPr>
        <p:txBody>
          <a:bodyPr/>
          <a:lstStyle>
            <a:lvl1pPr marL="0" indent="0" algn="l" defTabSz="914400" rtl="0" eaLnBrk="1" latinLnBrk="0" hangingPunct="1">
              <a:lnSpc>
                <a:spcPct val="100000"/>
              </a:lnSpc>
              <a:defRPr lang="en-US" sz="900" b="0" kern="1200" dirty="0" smtClean="0">
                <a:solidFill>
                  <a:schemeClr val="tx1"/>
                </a:solidFill>
                <a:latin typeface="+mn-lt"/>
                <a:ea typeface="+mn-ea"/>
                <a:cs typeface="+mn-cs"/>
              </a:defRPr>
            </a:lvl1pPr>
          </a:lstStyle>
          <a:p>
            <a:pPr lvl="0"/>
            <a:r>
              <a:rPr lang="en-US"/>
              <a:t>Edit Master text style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a:gradFill>
                  <a:gsLst>
                    <a:gs pos="100000">
                      <a:schemeClr val="tx2"/>
                    </a:gs>
                    <a:gs pos="2000">
                      <a:schemeClr val="accent2"/>
                    </a:gs>
                  </a:gsLst>
                  <a:lin ang="2700000" scaled="0"/>
                </a:gradFill>
                <a:latin typeface="+mn-lt"/>
                <a:ea typeface="+mn-ea"/>
                <a:cs typeface="+mn-cs"/>
                <a:sym typeface="Trebuchet MS" panose="020B0603020202020204" pitchFamily="34" charset="0"/>
              </a:rPr>
              <a:t>Disclaimer</a:t>
            </a:r>
          </a:p>
        </p:txBody>
      </p:sp>
      <p:cxnSp>
        <p:nvCxnSpPr>
          <p:cNvPr id="9" name="Straight Connector 8"/>
          <p:cNvCxnSpPr/>
          <p:nvPr/>
        </p:nvCxnSpPr>
        <p:spPr>
          <a:xfrm>
            <a:off x="4596426"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pic>
        <p:nvPicPr>
          <p:cNvPr id="13" name="Graphic 12">
            <a:extLst>
              <a:ext uri="{FF2B5EF4-FFF2-40B4-BE49-F238E27FC236}">
                <a16:creationId xmlns:a16="http://schemas.microsoft.com/office/drawing/2014/main" id="{C7A923F7-C3B8-4E5D-A83D-E5889B6CBC85}"/>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428018" y="6271005"/>
            <a:ext cx="498632" cy="517662"/>
          </a:xfrm>
          <a:prstGeom prst="rect">
            <a:avLst/>
          </a:prstGeom>
        </p:spPr>
      </p:pic>
    </p:spTree>
    <p:extLst>
      <p:ext uri="{BB962C8B-B14F-4D97-AF65-F5344CB8AC3E}">
        <p14:creationId xmlns:p14="http://schemas.microsoft.com/office/powerpoint/2010/main" val="32655609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1_Special gray">
    <p:bg>
      <p:bgPr>
        <a:solidFill>
          <a:schemeClr val="bg2">
            <a:lumMod val="10000"/>
          </a:schemeClr>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0836D22-EA77-4740-B317-3368A41A47EC}"/>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6" name="Object 5" hidden="1">
                        <a:extLst>
                          <a:ext uri="{FF2B5EF4-FFF2-40B4-BE49-F238E27FC236}">
                            <a16:creationId xmlns:a16="http://schemas.microsoft.com/office/drawing/2014/main" id="{F0836D22-EA77-4740-B317-3368A41A47E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3 by Boston Consulting Group. All rights reserved.</a:t>
            </a:r>
          </a:p>
        </p:txBody>
      </p:sp>
      <p:sp>
        <p:nvSpPr>
          <p:cNvPr id="4" name="Title 3"/>
          <p:cNvSpPr>
            <a:spLocks noGrp="1"/>
          </p:cNvSpPr>
          <p:nvPr>
            <p:ph type="title" hasCustomPrompt="1"/>
          </p:nvPr>
        </p:nvSpPr>
        <p:spPr>
          <a:xfrm>
            <a:off x="630000" y="622800"/>
            <a:ext cx="10933200" cy="470898"/>
          </a:xfrm>
        </p:spPr>
        <p:txBody>
          <a:bodyPr vert="horz"/>
          <a:lstStyle>
            <a:lvl1pPr>
              <a:defRPr sz="3400">
                <a:solidFill>
                  <a:schemeClr val="bg1"/>
                </a:solidFill>
                <a:latin typeface="+mj-lt"/>
                <a:ea typeface="+mj-ea"/>
                <a:cs typeface="+mj-cs"/>
                <a:sym typeface="Trebuchet MS" panose="020B0603020202020204" pitchFamily="34" charset="0"/>
              </a:defRPr>
            </a:lvl1pPr>
          </a:lstStyle>
          <a:p>
            <a:r>
              <a:rPr lang="en-US"/>
              <a:t>Click to add title</a:t>
            </a:r>
          </a:p>
        </p:txBody>
      </p:sp>
      <p:pic>
        <p:nvPicPr>
          <p:cNvPr id="9" name="Graphic 8">
            <a:extLst>
              <a:ext uri="{FF2B5EF4-FFF2-40B4-BE49-F238E27FC236}">
                <a16:creationId xmlns:a16="http://schemas.microsoft.com/office/drawing/2014/main" id="{5C2FE644-9988-4926-B6CB-628BAE492ECF}"/>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428018" y="6271005"/>
            <a:ext cx="498632" cy="517662"/>
          </a:xfrm>
          <a:prstGeom prst="rect">
            <a:avLst/>
          </a:prstGeom>
        </p:spPr>
      </p:pic>
    </p:spTree>
    <p:extLst>
      <p:ext uri="{BB962C8B-B14F-4D97-AF65-F5344CB8AC3E}">
        <p14:creationId xmlns:p14="http://schemas.microsoft.com/office/powerpoint/2010/main" val="13537872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type="blank" preserve="1">
  <p:cSld name="1_Blank">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B1416DB-A46D-48B8-9FF7-021DB74926D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Object 1" hidden="1">
                        <a:extLst>
                          <a:ext uri="{FF2B5EF4-FFF2-40B4-BE49-F238E27FC236}">
                            <a16:creationId xmlns:a16="http://schemas.microsoft.com/office/drawing/2014/main" id="{5B1416DB-A46D-48B8-9FF7-021DB74926D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3 by Boston Consulting Group. All rights reserved.</a:t>
            </a:r>
          </a:p>
        </p:txBody>
      </p:sp>
      <p:pic>
        <p:nvPicPr>
          <p:cNvPr id="8" name="Graphic 7">
            <a:extLst>
              <a:ext uri="{FF2B5EF4-FFF2-40B4-BE49-F238E27FC236}">
                <a16:creationId xmlns:a16="http://schemas.microsoft.com/office/drawing/2014/main" id="{85512120-739F-4FE1-889C-B478C7A4AE4F}"/>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428018" y="6271005"/>
            <a:ext cx="498632" cy="517662"/>
          </a:xfrm>
          <a:prstGeom prst="rect">
            <a:avLst/>
          </a:prstGeom>
        </p:spPr>
      </p:pic>
    </p:spTree>
    <p:extLst>
      <p:ext uri="{BB962C8B-B14F-4D97-AF65-F5344CB8AC3E}">
        <p14:creationId xmlns:p14="http://schemas.microsoft.com/office/powerpoint/2010/main" val="26598273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1_Blank green">
    <p:bg>
      <p:bgPr>
        <a:gradFill>
          <a:gsLst>
            <a:gs pos="0">
              <a:srgbClr val="004E2A"/>
            </a:gs>
            <a:gs pos="100000">
              <a:srgbClr val="78B944"/>
            </a:gs>
          </a:gsLst>
          <a:lin ang="8100000" scaled="1"/>
        </a:gra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59184B9-8F5A-462A-8E54-7FF3FA849CA7}"/>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Object 1" hidden="1">
                        <a:extLst>
                          <a:ext uri="{FF2B5EF4-FFF2-40B4-BE49-F238E27FC236}">
                            <a16:creationId xmlns:a16="http://schemas.microsoft.com/office/drawing/2014/main" id="{E59184B9-8F5A-462A-8E54-7FF3FA849CA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3 by Boston Consulting Group. All rights reserved.</a:t>
            </a:r>
          </a:p>
        </p:txBody>
      </p:sp>
      <p:pic>
        <p:nvPicPr>
          <p:cNvPr id="6" name="Graphic 5">
            <a:extLst>
              <a:ext uri="{FF2B5EF4-FFF2-40B4-BE49-F238E27FC236}">
                <a16:creationId xmlns:a16="http://schemas.microsoft.com/office/drawing/2014/main" id="{7B5544E2-5AD1-4FCC-BB43-1795045CC838}"/>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428018" y="6271005"/>
            <a:ext cx="498632" cy="517662"/>
          </a:xfrm>
          <a:prstGeom prst="rect">
            <a:avLst/>
          </a:prstGeom>
        </p:spPr>
      </p:pic>
    </p:spTree>
    <p:extLst>
      <p:ext uri="{BB962C8B-B14F-4D97-AF65-F5344CB8AC3E}">
        <p14:creationId xmlns:p14="http://schemas.microsoft.com/office/powerpoint/2010/main" val="27324811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Title Only" type="titleOnly">
  <p:cSld name="TITLE_ONLY">
    <p:spTree>
      <p:nvGrpSpPr>
        <p:cNvPr id="1" name="Shape 45"/>
        <p:cNvGrpSpPr/>
        <p:nvPr/>
      </p:nvGrpSpPr>
      <p:grpSpPr>
        <a:xfrm>
          <a:off x="0" y="0"/>
          <a:ext cx="0" cy="0"/>
          <a:chOff x="0" y="0"/>
          <a:chExt cx="0" cy="0"/>
        </a:xfrm>
      </p:grpSpPr>
      <p:sp>
        <p:nvSpPr>
          <p:cNvPr id="46" name="Google Shape;46;p17"/>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7" name="Google Shape;47;p17"/>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48" name="Google Shape;48;p17"/>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49" name="Google Shape;49;p17"/>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GB"/>
              <a:t>‹#›</a:t>
            </a:fld>
            <a:endParaRPr/>
          </a:p>
        </p:txBody>
      </p:sp>
    </p:spTree>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_Disclaimer">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577A53A-3A1D-4319-99C0-BA68D727172E}"/>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Object 1" hidden="1">
                        <a:extLst>
                          <a:ext uri="{FF2B5EF4-FFF2-40B4-BE49-F238E27FC236}">
                            <a16:creationId xmlns:a16="http://schemas.microsoft.com/office/drawing/2014/main" id="{5577A53A-3A1D-4319-99C0-BA68D727172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2B9BA0BE-0815-4FFD-B83B-3B0DB4A90951}"/>
              </a:ext>
            </a:extLst>
          </p:cNvPr>
          <p:cNvSpPr>
            <a:spLocks noGrp="1"/>
          </p:cNvSpPr>
          <p:nvPr>
            <p:ph type="body" sz="quarter" idx="10"/>
          </p:nvPr>
        </p:nvSpPr>
        <p:spPr>
          <a:xfrm>
            <a:off x="5354278" y="1664256"/>
            <a:ext cx="6209072" cy="3323987"/>
          </a:xfrm>
        </p:spPr>
        <p:txBody>
          <a:bodyPr/>
          <a:lstStyle>
            <a:lvl1pPr marL="0" indent="0" algn="l" defTabSz="914400" rtl="0" eaLnBrk="1" latinLnBrk="0" hangingPunct="1">
              <a:lnSpc>
                <a:spcPct val="100000"/>
              </a:lnSpc>
              <a:defRPr lang="en-US" sz="900" b="0" kern="1200" dirty="0" smtClean="0">
                <a:solidFill>
                  <a:schemeClr val="tx1"/>
                </a:solidFill>
                <a:latin typeface="+mn-lt"/>
                <a:ea typeface="+mn-ea"/>
                <a:cs typeface="+mn-cs"/>
              </a:defRPr>
            </a:lvl1pPr>
          </a:lstStyle>
          <a:p>
            <a:pPr lvl="0"/>
            <a:r>
              <a:rPr lang="en-US"/>
              <a:t>Edit Master text style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a:gradFill>
                  <a:gsLst>
                    <a:gs pos="100000">
                      <a:schemeClr val="tx2"/>
                    </a:gs>
                    <a:gs pos="2000">
                      <a:schemeClr val="accent2"/>
                    </a:gs>
                  </a:gsLst>
                  <a:lin ang="2700000" scaled="0"/>
                </a:gradFill>
                <a:latin typeface="+mn-lt"/>
                <a:ea typeface="+mn-ea"/>
                <a:cs typeface="+mn-cs"/>
                <a:sym typeface="Trebuchet MS" panose="020B0603020202020204" pitchFamily="34" charset="0"/>
              </a:rPr>
              <a:t>Disclaimer</a:t>
            </a:r>
          </a:p>
        </p:txBody>
      </p:sp>
      <p:cxnSp>
        <p:nvCxnSpPr>
          <p:cNvPr id="9" name="Straight Connector 8"/>
          <p:cNvCxnSpPr/>
          <p:nvPr/>
        </p:nvCxnSpPr>
        <p:spPr>
          <a:xfrm>
            <a:off x="4596426"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3 by Boston Consulting Group. All rights reserved.</a:t>
            </a:r>
          </a:p>
        </p:txBody>
      </p:sp>
      <p:pic>
        <p:nvPicPr>
          <p:cNvPr id="13" name="Graphic 12">
            <a:extLst>
              <a:ext uri="{FF2B5EF4-FFF2-40B4-BE49-F238E27FC236}">
                <a16:creationId xmlns:a16="http://schemas.microsoft.com/office/drawing/2014/main" id="{C7A923F7-C3B8-4E5D-A83D-E5889B6CBC85}"/>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428018" y="6271005"/>
            <a:ext cx="498632" cy="517662"/>
          </a:xfrm>
          <a:prstGeom prst="rect">
            <a:avLst/>
          </a:prstGeom>
        </p:spPr>
      </p:pic>
    </p:spTree>
    <p:extLst>
      <p:ext uri="{BB962C8B-B14F-4D97-AF65-F5344CB8AC3E}">
        <p14:creationId xmlns:p14="http://schemas.microsoft.com/office/powerpoint/2010/main" val="35963519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grpSp>
        <p:nvGrpSpPr>
          <p:cNvPr id="10" name="Group 9">
            <a:extLst>
              <a:ext uri="{FF2B5EF4-FFF2-40B4-BE49-F238E27FC236}">
                <a16:creationId xmlns:a16="http://schemas.microsoft.com/office/drawing/2014/main" id="{FD137AEE-FFB1-4D47-9A44-B4BD164D2373}"/>
              </a:ext>
            </a:extLst>
          </p:cNvPr>
          <p:cNvGrpSpPr/>
          <p:nvPr userDrawn="1"/>
        </p:nvGrpSpPr>
        <p:grpSpPr>
          <a:xfrm>
            <a:off x="5986458" y="-12701"/>
            <a:ext cx="6211891" cy="6737351"/>
            <a:chOff x="5973758" y="-12700"/>
            <a:chExt cx="6211891" cy="6858000"/>
          </a:xfrm>
        </p:grpSpPr>
        <p:sp>
          <p:nvSpPr>
            <p:cNvPr id="11" name="Freeform 3">
              <a:extLst>
                <a:ext uri="{FF2B5EF4-FFF2-40B4-BE49-F238E27FC236}">
                  <a16:creationId xmlns:a16="http://schemas.microsoft.com/office/drawing/2014/main" id="{D43F4AE0-5A0F-445A-BABA-B81F2E88E0E8}"/>
                </a:ext>
              </a:extLst>
            </p:cNvPr>
            <p:cNvSpPr/>
            <p:nvPr userDrawn="1"/>
          </p:nvSpPr>
          <p:spPr>
            <a:xfrm>
              <a:off x="7466628" y="0"/>
              <a:ext cx="4719021" cy="6845300"/>
            </a:xfrm>
            <a:custGeom>
              <a:avLst/>
              <a:gdLst>
                <a:gd name="connsiteX0" fmla="*/ 1123950 w 6781800"/>
                <a:gd name="connsiteY0" fmla="*/ 0 h 6838950"/>
                <a:gd name="connsiteX1" fmla="*/ 6781800 w 6781800"/>
                <a:gd name="connsiteY1" fmla="*/ 0 h 6838950"/>
                <a:gd name="connsiteX2" fmla="*/ 6781800 w 6781800"/>
                <a:gd name="connsiteY2" fmla="*/ 6838950 h 6838950"/>
                <a:gd name="connsiteX3" fmla="*/ 342900 w 6781800"/>
                <a:gd name="connsiteY3" fmla="*/ 6838950 h 6838950"/>
                <a:gd name="connsiteX4" fmla="*/ 0 w 6781800"/>
                <a:gd name="connsiteY4" fmla="*/ 4705350 h 6838950"/>
                <a:gd name="connsiteX5" fmla="*/ 419100 w 6781800"/>
                <a:gd name="connsiteY5" fmla="*/ 2152650 h 6838950"/>
                <a:gd name="connsiteX6" fmla="*/ 1123950 w 6781800"/>
                <a:gd name="connsiteY6" fmla="*/ 0 h 6838950"/>
                <a:gd name="connsiteX0" fmla="*/ 1215746 w 6873596"/>
                <a:gd name="connsiteY0" fmla="*/ 0 h 6838950"/>
                <a:gd name="connsiteX1" fmla="*/ 6873596 w 6873596"/>
                <a:gd name="connsiteY1" fmla="*/ 0 h 6838950"/>
                <a:gd name="connsiteX2" fmla="*/ 6873596 w 6873596"/>
                <a:gd name="connsiteY2" fmla="*/ 6838950 h 6838950"/>
                <a:gd name="connsiteX3" fmla="*/ 434696 w 6873596"/>
                <a:gd name="connsiteY3" fmla="*/ 6838950 h 6838950"/>
                <a:gd name="connsiteX4" fmla="*/ 91796 w 6873596"/>
                <a:gd name="connsiteY4" fmla="*/ 4705350 h 6838950"/>
                <a:gd name="connsiteX5" fmla="*/ 510896 w 6873596"/>
                <a:gd name="connsiteY5" fmla="*/ 2152650 h 6838950"/>
                <a:gd name="connsiteX6" fmla="*/ 1215746 w 6873596"/>
                <a:gd name="connsiteY6" fmla="*/ 0 h 6838950"/>
                <a:gd name="connsiteX0" fmla="*/ 1234581 w 6892431"/>
                <a:gd name="connsiteY0" fmla="*/ 0 h 6838950"/>
                <a:gd name="connsiteX1" fmla="*/ 6892431 w 6892431"/>
                <a:gd name="connsiteY1" fmla="*/ 0 h 6838950"/>
                <a:gd name="connsiteX2" fmla="*/ 6892431 w 6892431"/>
                <a:gd name="connsiteY2" fmla="*/ 6838950 h 6838950"/>
                <a:gd name="connsiteX3" fmla="*/ 453531 w 6892431"/>
                <a:gd name="connsiteY3" fmla="*/ 6838950 h 6838950"/>
                <a:gd name="connsiteX4" fmla="*/ 110631 w 6892431"/>
                <a:gd name="connsiteY4" fmla="*/ 4705350 h 6838950"/>
                <a:gd name="connsiteX5" fmla="*/ 529731 w 6892431"/>
                <a:gd name="connsiteY5" fmla="*/ 2152650 h 6838950"/>
                <a:gd name="connsiteX6" fmla="*/ 1234581 w 6892431"/>
                <a:gd name="connsiteY6" fmla="*/ 0 h 6838950"/>
                <a:gd name="connsiteX0" fmla="*/ 1254804 w 6912654"/>
                <a:gd name="connsiteY0" fmla="*/ 0 h 6838950"/>
                <a:gd name="connsiteX1" fmla="*/ 6912654 w 6912654"/>
                <a:gd name="connsiteY1" fmla="*/ 0 h 6838950"/>
                <a:gd name="connsiteX2" fmla="*/ 6912654 w 6912654"/>
                <a:gd name="connsiteY2" fmla="*/ 6838950 h 6838950"/>
                <a:gd name="connsiteX3" fmla="*/ 473754 w 6912654"/>
                <a:gd name="connsiteY3" fmla="*/ 6838950 h 6838950"/>
                <a:gd name="connsiteX4" fmla="*/ 130854 w 6912654"/>
                <a:gd name="connsiteY4" fmla="*/ 4705350 h 6838950"/>
                <a:gd name="connsiteX5" fmla="*/ 549954 w 6912654"/>
                <a:gd name="connsiteY5" fmla="*/ 2152650 h 6838950"/>
                <a:gd name="connsiteX6" fmla="*/ 1254804 w 6912654"/>
                <a:gd name="connsiteY6" fmla="*/ 0 h 6838950"/>
                <a:gd name="connsiteX0" fmla="*/ 1211631 w 6869481"/>
                <a:gd name="connsiteY0" fmla="*/ 0 h 6838950"/>
                <a:gd name="connsiteX1" fmla="*/ 6869481 w 6869481"/>
                <a:gd name="connsiteY1" fmla="*/ 0 h 6838950"/>
                <a:gd name="connsiteX2" fmla="*/ 6869481 w 6869481"/>
                <a:gd name="connsiteY2" fmla="*/ 6838950 h 6838950"/>
                <a:gd name="connsiteX3" fmla="*/ 430581 w 6869481"/>
                <a:gd name="connsiteY3" fmla="*/ 6838950 h 6838950"/>
                <a:gd name="connsiteX4" fmla="*/ 87681 w 6869481"/>
                <a:gd name="connsiteY4" fmla="*/ 4705350 h 6838950"/>
                <a:gd name="connsiteX5" fmla="*/ 506781 w 6869481"/>
                <a:gd name="connsiteY5" fmla="*/ 2152650 h 6838950"/>
                <a:gd name="connsiteX6" fmla="*/ 1211631 w 6869481"/>
                <a:gd name="connsiteY6" fmla="*/ 0 h 6838950"/>
                <a:gd name="connsiteX0" fmla="*/ 1225365 w 6883215"/>
                <a:gd name="connsiteY0" fmla="*/ 0 h 6838950"/>
                <a:gd name="connsiteX1" fmla="*/ 6883215 w 6883215"/>
                <a:gd name="connsiteY1" fmla="*/ 0 h 6838950"/>
                <a:gd name="connsiteX2" fmla="*/ 6883215 w 6883215"/>
                <a:gd name="connsiteY2" fmla="*/ 6838950 h 6838950"/>
                <a:gd name="connsiteX3" fmla="*/ 444315 w 6883215"/>
                <a:gd name="connsiteY3" fmla="*/ 6838950 h 6838950"/>
                <a:gd name="connsiteX4" fmla="*/ 101415 w 6883215"/>
                <a:gd name="connsiteY4" fmla="*/ 4705350 h 6838950"/>
                <a:gd name="connsiteX5" fmla="*/ 520515 w 6883215"/>
                <a:gd name="connsiteY5" fmla="*/ 2152650 h 6838950"/>
                <a:gd name="connsiteX6" fmla="*/ 1225365 w 6883215"/>
                <a:gd name="connsiteY6" fmla="*/ 0 h 6838950"/>
                <a:gd name="connsiteX0" fmla="*/ 1229999 w 6887849"/>
                <a:gd name="connsiteY0" fmla="*/ 0 h 6838950"/>
                <a:gd name="connsiteX1" fmla="*/ 6887849 w 6887849"/>
                <a:gd name="connsiteY1" fmla="*/ 0 h 6838950"/>
                <a:gd name="connsiteX2" fmla="*/ 6887849 w 6887849"/>
                <a:gd name="connsiteY2" fmla="*/ 6838950 h 6838950"/>
                <a:gd name="connsiteX3" fmla="*/ 448949 w 6887849"/>
                <a:gd name="connsiteY3" fmla="*/ 6838950 h 6838950"/>
                <a:gd name="connsiteX4" fmla="*/ 106049 w 6887849"/>
                <a:gd name="connsiteY4" fmla="*/ 4705350 h 6838950"/>
                <a:gd name="connsiteX5" fmla="*/ 525149 w 6887849"/>
                <a:gd name="connsiteY5" fmla="*/ 2152650 h 6838950"/>
                <a:gd name="connsiteX6" fmla="*/ 1229999 w 6887849"/>
                <a:gd name="connsiteY6" fmla="*/ 0 h 6838950"/>
                <a:gd name="connsiteX0" fmla="*/ 1238263 w 6896113"/>
                <a:gd name="connsiteY0" fmla="*/ 0 h 6838950"/>
                <a:gd name="connsiteX1" fmla="*/ 6896113 w 6896113"/>
                <a:gd name="connsiteY1" fmla="*/ 0 h 6838950"/>
                <a:gd name="connsiteX2" fmla="*/ 6896113 w 6896113"/>
                <a:gd name="connsiteY2" fmla="*/ 6838950 h 6838950"/>
                <a:gd name="connsiteX3" fmla="*/ 457213 w 6896113"/>
                <a:gd name="connsiteY3" fmla="*/ 6838950 h 6838950"/>
                <a:gd name="connsiteX4" fmla="*/ 114313 w 6896113"/>
                <a:gd name="connsiteY4" fmla="*/ 4705350 h 6838950"/>
                <a:gd name="connsiteX5" fmla="*/ 533413 w 6896113"/>
                <a:gd name="connsiteY5" fmla="*/ 2152650 h 6838950"/>
                <a:gd name="connsiteX6" fmla="*/ 1238263 w 6896113"/>
                <a:gd name="connsiteY6" fmla="*/ 0 h 6838950"/>
                <a:gd name="connsiteX0" fmla="*/ 1962216 w 6896113"/>
                <a:gd name="connsiteY0" fmla="*/ 0 h 6838950"/>
                <a:gd name="connsiteX1" fmla="*/ 6896113 w 6896113"/>
                <a:gd name="connsiteY1" fmla="*/ 0 h 6838950"/>
                <a:gd name="connsiteX2" fmla="*/ 6896113 w 6896113"/>
                <a:gd name="connsiteY2" fmla="*/ 6838950 h 6838950"/>
                <a:gd name="connsiteX3" fmla="*/ 457213 w 6896113"/>
                <a:gd name="connsiteY3" fmla="*/ 6838950 h 6838950"/>
                <a:gd name="connsiteX4" fmla="*/ 114313 w 6896113"/>
                <a:gd name="connsiteY4" fmla="*/ 4705350 h 6838950"/>
                <a:gd name="connsiteX5" fmla="*/ 533413 w 6896113"/>
                <a:gd name="connsiteY5" fmla="*/ 2152650 h 6838950"/>
                <a:gd name="connsiteX6" fmla="*/ 1962216 w 6896113"/>
                <a:gd name="connsiteY6" fmla="*/ 0 h 6838950"/>
                <a:gd name="connsiteX0" fmla="*/ 1925356 w 6859253"/>
                <a:gd name="connsiteY0" fmla="*/ 0 h 6838950"/>
                <a:gd name="connsiteX1" fmla="*/ 6859253 w 6859253"/>
                <a:gd name="connsiteY1" fmla="*/ 0 h 6838950"/>
                <a:gd name="connsiteX2" fmla="*/ 6859253 w 6859253"/>
                <a:gd name="connsiteY2" fmla="*/ 6838950 h 6838950"/>
                <a:gd name="connsiteX3" fmla="*/ 420353 w 6859253"/>
                <a:gd name="connsiteY3" fmla="*/ 6838950 h 6838950"/>
                <a:gd name="connsiteX4" fmla="*/ 77453 w 6859253"/>
                <a:gd name="connsiteY4" fmla="*/ 4705350 h 6838950"/>
                <a:gd name="connsiteX5" fmla="*/ 682182 w 6859253"/>
                <a:gd name="connsiteY5" fmla="*/ 2216091 h 6838950"/>
                <a:gd name="connsiteX6" fmla="*/ 1925356 w 6859253"/>
                <a:gd name="connsiteY6" fmla="*/ 0 h 6838950"/>
                <a:gd name="connsiteX0" fmla="*/ 1963636 w 6897533"/>
                <a:gd name="connsiteY0" fmla="*/ 0 h 6838950"/>
                <a:gd name="connsiteX1" fmla="*/ 6897533 w 6897533"/>
                <a:gd name="connsiteY1" fmla="*/ 0 h 6838950"/>
                <a:gd name="connsiteX2" fmla="*/ 6897533 w 6897533"/>
                <a:gd name="connsiteY2" fmla="*/ 6838950 h 6838950"/>
                <a:gd name="connsiteX3" fmla="*/ 458633 w 6897533"/>
                <a:gd name="connsiteY3" fmla="*/ 6838950 h 6838950"/>
                <a:gd name="connsiteX4" fmla="*/ 115733 w 6897533"/>
                <a:gd name="connsiteY4" fmla="*/ 4705350 h 6838950"/>
                <a:gd name="connsiteX5" fmla="*/ 720462 w 6897533"/>
                <a:gd name="connsiteY5" fmla="*/ 2216091 h 6838950"/>
                <a:gd name="connsiteX6" fmla="*/ 1963636 w 6897533"/>
                <a:gd name="connsiteY6" fmla="*/ 0 h 6838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897533" h="6838950">
                  <a:moveTo>
                    <a:pt x="1963636" y="0"/>
                  </a:moveTo>
                  <a:lnTo>
                    <a:pt x="6897533" y="0"/>
                  </a:lnTo>
                  <a:lnTo>
                    <a:pt x="6897533" y="6838950"/>
                  </a:lnTo>
                  <a:lnTo>
                    <a:pt x="458633" y="6838950"/>
                  </a:lnTo>
                  <a:lnTo>
                    <a:pt x="115733" y="4705350"/>
                  </a:lnTo>
                  <a:cubicBezTo>
                    <a:pt x="-102707" y="3471316"/>
                    <a:pt x="-68712" y="3864660"/>
                    <a:pt x="720462" y="2216091"/>
                  </a:cubicBezTo>
                  <a:lnTo>
                    <a:pt x="1963636" y="0"/>
                  </a:lnTo>
                  <a:close/>
                </a:path>
              </a:pathLst>
            </a:custGeom>
            <a:gradFill>
              <a:gsLst>
                <a:gs pos="0">
                  <a:srgbClr val="004E2A"/>
                </a:gs>
                <a:gs pos="100000">
                  <a:srgbClr val="78B944"/>
                </a:gs>
              </a:gsLst>
              <a:lin ang="8100000" scaled="1"/>
            </a:gradFill>
            <a:ln w="10795" cap="flat" cmpd="sng" algn="ctr">
              <a:noFill/>
              <a:prstDash val="solid"/>
            </a:ln>
            <a:effectLst/>
          </p:spPr>
          <p:txBody>
            <a:bodyPr wrap="square" rtlCol="0" anchor="t">
              <a:noAutofit/>
            </a:bodyPr>
            <a:lstStyle/>
            <a:p>
              <a:pPr marL="0" marR="0" lvl="0" indent="0" defTabSz="914400" eaLnBrk="1" fontAlgn="auto" latinLnBrk="0" hangingPunct="1">
                <a:lnSpc>
                  <a:spcPct val="90000"/>
                </a:lnSpc>
                <a:spcBef>
                  <a:spcPts val="0"/>
                </a:spcBef>
                <a:spcAft>
                  <a:spcPts val="1000"/>
                </a:spcAft>
                <a:buClrTx/>
                <a:buSzTx/>
                <a:buFontTx/>
                <a:buNone/>
                <a:tabLst/>
                <a:defRPr/>
              </a:pPr>
              <a:endParaRPr kumimoji="0" lang="en-US" sz="1200" b="0" i="0" u="none" strike="noStrike" kern="0" cap="none" spc="0" normalizeH="0" baseline="0" noProof="0">
                <a:ln>
                  <a:noFill/>
                </a:ln>
                <a:solidFill>
                  <a:prstClr val="white"/>
                </a:solidFill>
                <a:effectLst/>
                <a:uLnTx/>
                <a:uFillTx/>
                <a:latin typeface="+mn-lt"/>
                <a:ea typeface="+mn-ea"/>
                <a:cs typeface="+mn-cs"/>
                <a:sym typeface="+mn-lt"/>
              </a:endParaRPr>
            </a:p>
          </p:txBody>
        </p:sp>
        <p:grpSp>
          <p:nvGrpSpPr>
            <p:cNvPr id="12" name="Group 11">
              <a:extLst>
                <a:ext uri="{FF2B5EF4-FFF2-40B4-BE49-F238E27FC236}">
                  <a16:creationId xmlns:a16="http://schemas.microsoft.com/office/drawing/2014/main" id="{F7FC377D-2AAE-4F74-82D7-D6DEA628CEA2}"/>
                </a:ext>
              </a:extLst>
            </p:cNvPr>
            <p:cNvGrpSpPr/>
            <p:nvPr userDrawn="1"/>
          </p:nvGrpSpPr>
          <p:grpSpPr>
            <a:xfrm>
              <a:off x="7658563" y="0"/>
              <a:ext cx="1292932" cy="6835882"/>
              <a:chOff x="5613863" y="0"/>
              <a:chExt cx="1292932" cy="6835882"/>
            </a:xfrm>
          </p:grpSpPr>
          <p:sp>
            <p:nvSpPr>
              <p:cNvPr id="14" name="Freeform 6">
                <a:extLst>
                  <a:ext uri="{FF2B5EF4-FFF2-40B4-BE49-F238E27FC236}">
                    <a16:creationId xmlns:a16="http://schemas.microsoft.com/office/drawing/2014/main" id="{D4FF3D81-2EA4-4B27-8A0E-56402A6D998B}"/>
                  </a:ext>
                </a:extLst>
              </p:cNvPr>
              <p:cNvSpPr/>
              <p:nvPr userDrawn="1"/>
            </p:nvSpPr>
            <p:spPr>
              <a:xfrm>
                <a:off x="5746799" y="0"/>
                <a:ext cx="1159996" cy="6830163"/>
              </a:xfrm>
              <a:custGeom>
                <a:avLst/>
                <a:gdLst>
                  <a:gd name="connsiteX0" fmla="*/ 1058779 w 1058779"/>
                  <a:gd name="connsiteY0" fmla="*/ 0 h 6785811"/>
                  <a:gd name="connsiteX1" fmla="*/ 24063 w 1058779"/>
                  <a:gd name="connsiteY1" fmla="*/ 3380874 h 6785811"/>
                  <a:gd name="connsiteX2" fmla="*/ 0 w 1058779"/>
                  <a:gd name="connsiteY2" fmla="*/ 4547937 h 6785811"/>
                  <a:gd name="connsiteX3" fmla="*/ 288758 w 1058779"/>
                  <a:gd name="connsiteY3" fmla="*/ 6136105 h 6785811"/>
                  <a:gd name="connsiteX4" fmla="*/ 360947 w 1058779"/>
                  <a:gd name="connsiteY4" fmla="*/ 6785811 h 6785811"/>
                  <a:gd name="connsiteX0" fmla="*/ 1165680 w 1165680"/>
                  <a:gd name="connsiteY0" fmla="*/ 0 h 6785811"/>
                  <a:gd name="connsiteX1" fmla="*/ 130964 w 1165680"/>
                  <a:gd name="connsiteY1" fmla="*/ 3380874 h 6785811"/>
                  <a:gd name="connsiteX2" fmla="*/ 106901 w 1165680"/>
                  <a:gd name="connsiteY2" fmla="*/ 4547937 h 6785811"/>
                  <a:gd name="connsiteX3" fmla="*/ 395659 w 1165680"/>
                  <a:gd name="connsiteY3" fmla="*/ 6136105 h 6785811"/>
                  <a:gd name="connsiteX4" fmla="*/ 467848 w 1165680"/>
                  <a:gd name="connsiteY4" fmla="*/ 6785811 h 6785811"/>
                  <a:gd name="connsiteX0" fmla="*/ 1188376 w 1188376"/>
                  <a:gd name="connsiteY0" fmla="*/ 0 h 6785811"/>
                  <a:gd name="connsiteX1" fmla="*/ 153660 w 1188376"/>
                  <a:gd name="connsiteY1" fmla="*/ 3380874 h 6785811"/>
                  <a:gd name="connsiteX2" fmla="*/ 129597 w 1188376"/>
                  <a:gd name="connsiteY2" fmla="*/ 4547937 h 6785811"/>
                  <a:gd name="connsiteX3" fmla="*/ 418355 w 1188376"/>
                  <a:gd name="connsiteY3" fmla="*/ 6136105 h 6785811"/>
                  <a:gd name="connsiteX4" fmla="*/ 490544 w 1188376"/>
                  <a:gd name="connsiteY4" fmla="*/ 6785811 h 6785811"/>
                  <a:gd name="connsiteX0" fmla="*/ 1159996 w 1159996"/>
                  <a:gd name="connsiteY0" fmla="*/ 0 h 6785811"/>
                  <a:gd name="connsiteX1" fmla="*/ 125280 w 1159996"/>
                  <a:gd name="connsiteY1" fmla="*/ 3380874 h 6785811"/>
                  <a:gd name="connsiteX2" fmla="*/ 101217 w 1159996"/>
                  <a:gd name="connsiteY2" fmla="*/ 4547937 h 6785811"/>
                  <a:gd name="connsiteX3" fmla="*/ 389975 w 1159996"/>
                  <a:gd name="connsiteY3" fmla="*/ 6136105 h 6785811"/>
                  <a:gd name="connsiteX4" fmla="*/ 462164 w 1159996"/>
                  <a:gd name="connsiteY4" fmla="*/ 6785811 h 6785811"/>
                  <a:gd name="connsiteX0" fmla="*/ 1159996 w 1159996"/>
                  <a:gd name="connsiteY0" fmla="*/ 0 h 6785811"/>
                  <a:gd name="connsiteX1" fmla="*/ 125280 w 1159996"/>
                  <a:gd name="connsiteY1" fmla="*/ 3380874 h 6785811"/>
                  <a:gd name="connsiteX2" fmla="*/ 101217 w 1159996"/>
                  <a:gd name="connsiteY2" fmla="*/ 4547937 h 6785811"/>
                  <a:gd name="connsiteX3" fmla="*/ 389975 w 1159996"/>
                  <a:gd name="connsiteY3" fmla="*/ 6136105 h 6785811"/>
                  <a:gd name="connsiteX4" fmla="*/ 462164 w 1159996"/>
                  <a:gd name="connsiteY4" fmla="*/ 6785811 h 6785811"/>
                  <a:gd name="connsiteX0" fmla="*/ 1159996 w 1159996"/>
                  <a:gd name="connsiteY0" fmla="*/ 0 h 6785811"/>
                  <a:gd name="connsiteX1" fmla="*/ 125280 w 1159996"/>
                  <a:gd name="connsiteY1" fmla="*/ 3380874 h 6785811"/>
                  <a:gd name="connsiteX2" fmla="*/ 101217 w 1159996"/>
                  <a:gd name="connsiteY2" fmla="*/ 4547937 h 6785811"/>
                  <a:gd name="connsiteX3" fmla="*/ 389975 w 1159996"/>
                  <a:gd name="connsiteY3" fmla="*/ 6136105 h 6785811"/>
                  <a:gd name="connsiteX4" fmla="*/ 462164 w 1159996"/>
                  <a:gd name="connsiteY4" fmla="*/ 6785811 h 6785811"/>
                  <a:gd name="connsiteX0" fmla="*/ 1159996 w 1159996"/>
                  <a:gd name="connsiteY0" fmla="*/ 0 h 6785811"/>
                  <a:gd name="connsiteX1" fmla="*/ 125280 w 1159996"/>
                  <a:gd name="connsiteY1" fmla="*/ 3380874 h 6785811"/>
                  <a:gd name="connsiteX2" fmla="*/ 101217 w 1159996"/>
                  <a:gd name="connsiteY2" fmla="*/ 4547937 h 6785811"/>
                  <a:gd name="connsiteX3" fmla="*/ 402675 w 1159996"/>
                  <a:gd name="connsiteY3" fmla="*/ 6136105 h 6785811"/>
                  <a:gd name="connsiteX4" fmla="*/ 462164 w 1159996"/>
                  <a:gd name="connsiteY4" fmla="*/ 6785811 h 6785811"/>
                  <a:gd name="connsiteX0" fmla="*/ 1159996 w 1159996"/>
                  <a:gd name="connsiteY0" fmla="*/ 0 h 6785811"/>
                  <a:gd name="connsiteX1" fmla="*/ 125280 w 1159996"/>
                  <a:gd name="connsiteY1" fmla="*/ 3380874 h 6785811"/>
                  <a:gd name="connsiteX2" fmla="*/ 101217 w 1159996"/>
                  <a:gd name="connsiteY2" fmla="*/ 4547937 h 6785811"/>
                  <a:gd name="connsiteX3" fmla="*/ 402675 w 1159996"/>
                  <a:gd name="connsiteY3" fmla="*/ 6136105 h 6785811"/>
                  <a:gd name="connsiteX4" fmla="*/ 462164 w 1159996"/>
                  <a:gd name="connsiteY4" fmla="*/ 6785811 h 6785811"/>
                  <a:gd name="connsiteX0" fmla="*/ 1159996 w 1159996"/>
                  <a:gd name="connsiteY0" fmla="*/ 0 h 6785811"/>
                  <a:gd name="connsiteX1" fmla="*/ 125280 w 1159996"/>
                  <a:gd name="connsiteY1" fmla="*/ 3380874 h 6785811"/>
                  <a:gd name="connsiteX2" fmla="*/ 101217 w 1159996"/>
                  <a:gd name="connsiteY2" fmla="*/ 4547937 h 6785811"/>
                  <a:gd name="connsiteX3" fmla="*/ 402675 w 1159996"/>
                  <a:gd name="connsiteY3" fmla="*/ 6136105 h 6785811"/>
                  <a:gd name="connsiteX4" fmla="*/ 462164 w 1159996"/>
                  <a:gd name="connsiteY4" fmla="*/ 6785811 h 6785811"/>
                  <a:gd name="connsiteX0" fmla="*/ 1159996 w 1159996"/>
                  <a:gd name="connsiteY0" fmla="*/ 0 h 6785811"/>
                  <a:gd name="connsiteX1" fmla="*/ 125280 w 1159996"/>
                  <a:gd name="connsiteY1" fmla="*/ 3380874 h 6785811"/>
                  <a:gd name="connsiteX2" fmla="*/ 101217 w 1159996"/>
                  <a:gd name="connsiteY2" fmla="*/ 4547937 h 6785811"/>
                  <a:gd name="connsiteX3" fmla="*/ 402675 w 1159996"/>
                  <a:gd name="connsiteY3" fmla="*/ 6136105 h 6785811"/>
                  <a:gd name="connsiteX4" fmla="*/ 462164 w 1159996"/>
                  <a:gd name="connsiteY4" fmla="*/ 6785811 h 6785811"/>
                  <a:gd name="connsiteX0" fmla="*/ 1159996 w 1159996"/>
                  <a:gd name="connsiteY0" fmla="*/ 0 h 6785811"/>
                  <a:gd name="connsiteX1" fmla="*/ 125280 w 1159996"/>
                  <a:gd name="connsiteY1" fmla="*/ 3380874 h 6785811"/>
                  <a:gd name="connsiteX2" fmla="*/ 101217 w 1159996"/>
                  <a:gd name="connsiteY2" fmla="*/ 4547937 h 6785811"/>
                  <a:gd name="connsiteX3" fmla="*/ 402675 w 1159996"/>
                  <a:gd name="connsiteY3" fmla="*/ 6136105 h 6785811"/>
                  <a:gd name="connsiteX4" fmla="*/ 462164 w 1159996"/>
                  <a:gd name="connsiteY4" fmla="*/ 6785811 h 6785811"/>
                  <a:gd name="connsiteX0" fmla="*/ 1159996 w 1159996"/>
                  <a:gd name="connsiteY0" fmla="*/ 0 h 6785811"/>
                  <a:gd name="connsiteX1" fmla="*/ 125280 w 1159996"/>
                  <a:gd name="connsiteY1" fmla="*/ 3380874 h 6785811"/>
                  <a:gd name="connsiteX2" fmla="*/ 101217 w 1159996"/>
                  <a:gd name="connsiteY2" fmla="*/ 4547937 h 6785811"/>
                  <a:gd name="connsiteX3" fmla="*/ 402675 w 1159996"/>
                  <a:gd name="connsiteY3" fmla="*/ 6136105 h 6785811"/>
                  <a:gd name="connsiteX4" fmla="*/ 462164 w 1159996"/>
                  <a:gd name="connsiteY4" fmla="*/ 6785811 h 67858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59996" h="6785811">
                    <a:moveTo>
                      <a:pt x="1159996" y="0"/>
                    </a:moveTo>
                    <a:lnTo>
                      <a:pt x="125280" y="3380874"/>
                    </a:lnTo>
                    <a:cubicBezTo>
                      <a:pt x="-92291" y="3941345"/>
                      <a:pt x="23513" y="4149391"/>
                      <a:pt x="101217" y="4547937"/>
                    </a:cubicBezTo>
                    <a:lnTo>
                      <a:pt x="402675" y="6136105"/>
                    </a:lnTo>
                    <a:cubicBezTo>
                      <a:pt x="547388" y="6828924"/>
                      <a:pt x="469851" y="6708942"/>
                      <a:pt x="462164" y="6785811"/>
                    </a:cubicBezTo>
                  </a:path>
                </a:pathLst>
              </a:custGeom>
              <a:noFill/>
              <a:ln w="9525" cap="rnd" cmpd="sng" algn="ctr">
                <a:solidFill>
                  <a:sysClr val="window" lastClr="FFFFFF"/>
                </a:solidFill>
                <a:prstDash val="solid"/>
                <a:round/>
                <a:headEnd type="none" w="med" len="med"/>
                <a:tailEnd type="none" w="med" len="me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mn-lt"/>
                  <a:ea typeface="+mn-ea"/>
                  <a:cs typeface="+mn-cs"/>
                  <a:sym typeface="+mn-lt"/>
                </a:endParaRPr>
              </a:p>
            </p:txBody>
          </p:sp>
          <p:sp>
            <p:nvSpPr>
              <p:cNvPr id="16" name="Freeform 7">
                <a:extLst>
                  <a:ext uri="{FF2B5EF4-FFF2-40B4-BE49-F238E27FC236}">
                    <a16:creationId xmlns:a16="http://schemas.microsoft.com/office/drawing/2014/main" id="{C53B124A-62ED-40FE-BD8C-84B8A582CE2B}"/>
                  </a:ext>
                </a:extLst>
              </p:cNvPr>
              <p:cNvSpPr/>
              <p:nvPr userDrawn="1"/>
            </p:nvSpPr>
            <p:spPr>
              <a:xfrm>
                <a:off x="5613863" y="12111"/>
                <a:ext cx="911931" cy="6823771"/>
              </a:xfrm>
              <a:custGeom>
                <a:avLst/>
                <a:gdLst>
                  <a:gd name="connsiteX0" fmla="*/ 1058779 w 1058779"/>
                  <a:gd name="connsiteY0" fmla="*/ 0 h 6785811"/>
                  <a:gd name="connsiteX1" fmla="*/ 24063 w 1058779"/>
                  <a:gd name="connsiteY1" fmla="*/ 3380874 h 6785811"/>
                  <a:gd name="connsiteX2" fmla="*/ 0 w 1058779"/>
                  <a:gd name="connsiteY2" fmla="*/ 4547937 h 6785811"/>
                  <a:gd name="connsiteX3" fmla="*/ 288758 w 1058779"/>
                  <a:gd name="connsiteY3" fmla="*/ 6136105 h 6785811"/>
                  <a:gd name="connsiteX4" fmla="*/ 360947 w 1058779"/>
                  <a:gd name="connsiteY4" fmla="*/ 6785811 h 6785811"/>
                  <a:gd name="connsiteX0" fmla="*/ 1165680 w 1165680"/>
                  <a:gd name="connsiteY0" fmla="*/ 0 h 6785811"/>
                  <a:gd name="connsiteX1" fmla="*/ 130964 w 1165680"/>
                  <a:gd name="connsiteY1" fmla="*/ 3380874 h 6785811"/>
                  <a:gd name="connsiteX2" fmla="*/ 106901 w 1165680"/>
                  <a:gd name="connsiteY2" fmla="*/ 4547937 h 6785811"/>
                  <a:gd name="connsiteX3" fmla="*/ 395659 w 1165680"/>
                  <a:gd name="connsiteY3" fmla="*/ 6136105 h 6785811"/>
                  <a:gd name="connsiteX4" fmla="*/ 467848 w 1165680"/>
                  <a:gd name="connsiteY4" fmla="*/ 6785811 h 6785811"/>
                  <a:gd name="connsiteX0" fmla="*/ 1188376 w 1188376"/>
                  <a:gd name="connsiteY0" fmla="*/ 0 h 6785811"/>
                  <a:gd name="connsiteX1" fmla="*/ 153660 w 1188376"/>
                  <a:gd name="connsiteY1" fmla="*/ 3380874 h 6785811"/>
                  <a:gd name="connsiteX2" fmla="*/ 129597 w 1188376"/>
                  <a:gd name="connsiteY2" fmla="*/ 4547937 h 6785811"/>
                  <a:gd name="connsiteX3" fmla="*/ 418355 w 1188376"/>
                  <a:gd name="connsiteY3" fmla="*/ 6136105 h 6785811"/>
                  <a:gd name="connsiteX4" fmla="*/ 490544 w 1188376"/>
                  <a:gd name="connsiteY4" fmla="*/ 6785811 h 6785811"/>
                  <a:gd name="connsiteX0" fmla="*/ 1159996 w 1159996"/>
                  <a:gd name="connsiteY0" fmla="*/ 0 h 6785811"/>
                  <a:gd name="connsiteX1" fmla="*/ 125280 w 1159996"/>
                  <a:gd name="connsiteY1" fmla="*/ 3380874 h 6785811"/>
                  <a:gd name="connsiteX2" fmla="*/ 101217 w 1159996"/>
                  <a:gd name="connsiteY2" fmla="*/ 4547937 h 6785811"/>
                  <a:gd name="connsiteX3" fmla="*/ 389975 w 1159996"/>
                  <a:gd name="connsiteY3" fmla="*/ 6136105 h 6785811"/>
                  <a:gd name="connsiteX4" fmla="*/ 462164 w 1159996"/>
                  <a:gd name="connsiteY4" fmla="*/ 6785811 h 6785811"/>
                  <a:gd name="connsiteX0" fmla="*/ 931396 w 931396"/>
                  <a:gd name="connsiteY0" fmla="*/ 0 h 6785811"/>
                  <a:gd name="connsiteX1" fmla="*/ 125280 w 931396"/>
                  <a:gd name="connsiteY1" fmla="*/ 3380874 h 6785811"/>
                  <a:gd name="connsiteX2" fmla="*/ 101217 w 931396"/>
                  <a:gd name="connsiteY2" fmla="*/ 4547937 h 6785811"/>
                  <a:gd name="connsiteX3" fmla="*/ 389975 w 931396"/>
                  <a:gd name="connsiteY3" fmla="*/ 6136105 h 6785811"/>
                  <a:gd name="connsiteX4" fmla="*/ 462164 w 931396"/>
                  <a:gd name="connsiteY4" fmla="*/ 6785811 h 6785811"/>
                  <a:gd name="connsiteX0" fmla="*/ 931396 w 931396"/>
                  <a:gd name="connsiteY0" fmla="*/ 0 h 6779461"/>
                  <a:gd name="connsiteX1" fmla="*/ 125280 w 931396"/>
                  <a:gd name="connsiteY1" fmla="*/ 3380874 h 6779461"/>
                  <a:gd name="connsiteX2" fmla="*/ 101217 w 931396"/>
                  <a:gd name="connsiteY2" fmla="*/ 4547937 h 6779461"/>
                  <a:gd name="connsiteX3" fmla="*/ 389975 w 931396"/>
                  <a:gd name="connsiteY3" fmla="*/ 6136105 h 6779461"/>
                  <a:gd name="connsiteX4" fmla="*/ 538364 w 931396"/>
                  <a:gd name="connsiteY4" fmla="*/ 6779461 h 6779461"/>
                  <a:gd name="connsiteX0" fmla="*/ 931396 w 931396"/>
                  <a:gd name="connsiteY0" fmla="*/ 0 h 6779461"/>
                  <a:gd name="connsiteX1" fmla="*/ 125280 w 931396"/>
                  <a:gd name="connsiteY1" fmla="*/ 3380874 h 6779461"/>
                  <a:gd name="connsiteX2" fmla="*/ 101217 w 931396"/>
                  <a:gd name="connsiteY2" fmla="*/ 4547937 h 6779461"/>
                  <a:gd name="connsiteX3" fmla="*/ 504275 w 931396"/>
                  <a:gd name="connsiteY3" fmla="*/ 6136105 h 6779461"/>
                  <a:gd name="connsiteX4" fmla="*/ 538364 w 931396"/>
                  <a:gd name="connsiteY4" fmla="*/ 6779461 h 6779461"/>
                  <a:gd name="connsiteX0" fmla="*/ 931396 w 931396"/>
                  <a:gd name="connsiteY0" fmla="*/ 0 h 6779461"/>
                  <a:gd name="connsiteX1" fmla="*/ 125280 w 931396"/>
                  <a:gd name="connsiteY1" fmla="*/ 3380874 h 6779461"/>
                  <a:gd name="connsiteX2" fmla="*/ 101217 w 931396"/>
                  <a:gd name="connsiteY2" fmla="*/ 4547937 h 6779461"/>
                  <a:gd name="connsiteX3" fmla="*/ 504275 w 931396"/>
                  <a:gd name="connsiteY3" fmla="*/ 6136105 h 6779461"/>
                  <a:gd name="connsiteX4" fmla="*/ 538364 w 931396"/>
                  <a:gd name="connsiteY4" fmla="*/ 6779461 h 6779461"/>
                  <a:gd name="connsiteX0" fmla="*/ 931396 w 931396"/>
                  <a:gd name="connsiteY0" fmla="*/ 0 h 6779461"/>
                  <a:gd name="connsiteX1" fmla="*/ 125280 w 931396"/>
                  <a:gd name="connsiteY1" fmla="*/ 3380874 h 6779461"/>
                  <a:gd name="connsiteX2" fmla="*/ 101217 w 931396"/>
                  <a:gd name="connsiteY2" fmla="*/ 4547937 h 6779461"/>
                  <a:gd name="connsiteX3" fmla="*/ 504275 w 931396"/>
                  <a:gd name="connsiteY3" fmla="*/ 6136105 h 6779461"/>
                  <a:gd name="connsiteX4" fmla="*/ 538364 w 931396"/>
                  <a:gd name="connsiteY4" fmla="*/ 6779461 h 6779461"/>
                  <a:gd name="connsiteX0" fmla="*/ 931396 w 931396"/>
                  <a:gd name="connsiteY0" fmla="*/ 0 h 6779461"/>
                  <a:gd name="connsiteX1" fmla="*/ 125280 w 931396"/>
                  <a:gd name="connsiteY1" fmla="*/ 3380874 h 6779461"/>
                  <a:gd name="connsiteX2" fmla="*/ 101217 w 931396"/>
                  <a:gd name="connsiteY2" fmla="*/ 4547937 h 6779461"/>
                  <a:gd name="connsiteX3" fmla="*/ 504275 w 931396"/>
                  <a:gd name="connsiteY3" fmla="*/ 6136105 h 6779461"/>
                  <a:gd name="connsiteX4" fmla="*/ 538364 w 931396"/>
                  <a:gd name="connsiteY4" fmla="*/ 6779461 h 6779461"/>
                  <a:gd name="connsiteX0" fmla="*/ 931396 w 931396"/>
                  <a:gd name="connsiteY0" fmla="*/ 0 h 6779461"/>
                  <a:gd name="connsiteX1" fmla="*/ 125280 w 931396"/>
                  <a:gd name="connsiteY1" fmla="*/ 3380874 h 6779461"/>
                  <a:gd name="connsiteX2" fmla="*/ 101217 w 931396"/>
                  <a:gd name="connsiteY2" fmla="*/ 4547937 h 6779461"/>
                  <a:gd name="connsiteX3" fmla="*/ 504275 w 931396"/>
                  <a:gd name="connsiteY3" fmla="*/ 6136105 h 6779461"/>
                  <a:gd name="connsiteX4" fmla="*/ 538364 w 931396"/>
                  <a:gd name="connsiteY4" fmla="*/ 6779461 h 6779461"/>
                  <a:gd name="connsiteX0" fmla="*/ 931396 w 931396"/>
                  <a:gd name="connsiteY0" fmla="*/ 0 h 6779461"/>
                  <a:gd name="connsiteX1" fmla="*/ 125280 w 931396"/>
                  <a:gd name="connsiteY1" fmla="*/ 3380874 h 6779461"/>
                  <a:gd name="connsiteX2" fmla="*/ 101217 w 931396"/>
                  <a:gd name="connsiteY2" fmla="*/ 4547937 h 6779461"/>
                  <a:gd name="connsiteX3" fmla="*/ 491575 w 931396"/>
                  <a:gd name="connsiteY3" fmla="*/ 6136105 h 6779461"/>
                  <a:gd name="connsiteX4" fmla="*/ 538364 w 931396"/>
                  <a:gd name="connsiteY4" fmla="*/ 6779461 h 6779461"/>
                  <a:gd name="connsiteX0" fmla="*/ 940867 w 940867"/>
                  <a:gd name="connsiteY0" fmla="*/ 0 h 6779461"/>
                  <a:gd name="connsiteX1" fmla="*/ 119511 w 940867"/>
                  <a:gd name="connsiteY1" fmla="*/ 3358014 h 6779461"/>
                  <a:gd name="connsiteX2" fmla="*/ 110688 w 940867"/>
                  <a:gd name="connsiteY2" fmla="*/ 4547937 h 6779461"/>
                  <a:gd name="connsiteX3" fmla="*/ 501046 w 940867"/>
                  <a:gd name="connsiteY3" fmla="*/ 6136105 h 6779461"/>
                  <a:gd name="connsiteX4" fmla="*/ 547835 w 940867"/>
                  <a:gd name="connsiteY4" fmla="*/ 6779461 h 6779461"/>
                  <a:gd name="connsiteX0" fmla="*/ 911931 w 911931"/>
                  <a:gd name="connsiteY0" fmla="*/ 0 h 6779461"/>
                  <a:gd name="connsiteX1" fmla="*/ 90575 w 911931"/>
                  <a:gd name="connsiteY1" fmla="*/ 3358014 h 6779461"/>
                  <a:gd name="connsiteX2" fmla="*/ 81752 w 911931"/>
                  <a:gd name="connsiteY2" fmla="*/ 4547937 h 6779461"/>
                  <a:gd name="connsiteX3" fmla="*/ 472110 w 911931"/>
                  <a:gd name="connsiteY3" fmla="*/ 6136105 h 6779461"/>
                  <a:gd name="connsiteX4" fmla="*/ 518899 w 911931"/>
                  <a:gd name="connsiteY4" fmla="*/ 6779461 h 6779461"/>
                  <a:gd name="connsiteX0" fmla="*/ 911931 w 911931"/>
                  <a:gd name="connsiteY0" fmla="*/ 0 h 6779461"/>
                  <a:gd name="connsiteX1" fmla="*/ 90575 w 911931"/>
                  <a:gd name="connsiteY1" fmla="*/ 3358014 h 6779461"/>
                  <a:gd name="connsiteX2" fmla="*/ 81752 w 911931"/>
                  <a:gd name="connsiteY2" fmla="*/ 4547937 h 6779461"/>
                  <a:gd name="connsiteX3" fmla="*/ 472110 w 911931"/>
                  <a:gd name="connsiteY3" fmla="*/ 6136105 h 6779461"/>
                  <a:gd name="connsiteX4" fmla="*/ 518899 w 911931"/>
                  <a:gd name="connsiteY4" fmla="*/ 6779461 h 67794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1931" h="6779461">
                    <a:moveTo>
                      <a:pt x="911931" y="0"/>
                    </a:moveTo>
                    <a:cubicBezTo>
                      <a:pt x="638146" y="1119338"/>
                      <a:pt x="387220" y="2238676"/>
                      <a:pt x="90575" y="3358014"/>
                    </a:cubicBezTo>
                    <a:cubicBezTo>
                      <a:pt x="-58416" y="4002305"/>
                      <a:pt x="4048" y="4149391"/>
                      <a:pt x="81752" y="4547937"/>
                    </a:cubicBezTo>
                    <a:lnTo>
                      <a:pt x="472110" y="6136105"/>
                    </a:lnTo>
                    <a:cubicBezTo>
                      <a:pt x="616823" y="6725207"/>
                      <a:pt x="539286" y="6749159"/>
                      <a:pt x="518899" y="6779461"/>
                    </a:cubicBezTo>
                  </a:path>
                </a:pathLst>
              </a:custGeom>
              <a:noFill/>
              <a:ln w="9525" cap="rnd" cmpd="sng" algn="ctr">
                <a:solidFill>
                  <a:sysClr val="window" lastClr="FFFFFF"/>
                </a:solidFill>
                <a:prstDash val="solid"/>
                <a:round/>
                <a:headEnd type="none" w="med" len="med"/>
                <a:tailEnd type="none" w="med" len="me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mn-lt"/>
                  <a:ea typeface="+mn-ea"/>
                  <a:cs typeface="+mn-cs"/>
                  <a:sym typeface="+mn-lt"/>
                </a:endParaRPr>
              </a:p>
            </p:txBody>
          </p:sp>
          <p:sp>
            <p:nvSpPr>
              <p:cNvPr id="17" name="Freeform 8">
                <a:extLst>
                  <a:ext uri="{FF2B5EF4-FFF2-40B4-BE49-F238E27FC236}">
                    <a16:creationId xmlns:a16="http://schemas.microsoft.com/office/drawing/2014/main" id="{0EF19ADC-6BEB-457A-980F-F800552D6F7B}"/>
                  </a:ext>
                </a:extLst>
              </p:cNvPr>
              <p:cNvSpPr/>
              <p:nvPr userDrawn="1"/>
            </p:nvSpPr>
            <p:spPr>
              <a:xfrm>
                <a:off x="5720080" y="1625998"/>
                <a:ext cx="568102" cy="5031391"/>
              </a:xfrm>
              <a:custGeom>
                <a:avLst/>
                <a:gdLst>
                  <a:gd name="connsiteX0" fmla="*/ 281940 w 510540"/>
                  <a:gd name="connsiteY0" fmla="*/ 0 h 4998720"/>
                  <a:gd name="connsiteX1" fmla="*/ 304800 w 510540"/>
                  <a:gd name="connsiteY1" fmla="*/ 998220 h 4998720"/>
                  <a:gd name="connsiteX2" fmla="*/ 510540 w 510540"/>
                  <a:gd name="connsiteY2" fmla="*/ 2727960 h 4998720"/>
                  <a:gd name="connsiteX3" fmla="*/ 464820 w 510540"/>
                  <a:gd name="connsiteY3" fmla="*/ 3848100 h 4998720"/>
                  <a:gd name="connsiteX4" fmla="*/ 0 w 510540"/>
                  <a:gd name="connsiteY4" fmla="*/ 4998720 h 4998720"/>
                  <a:gd name="connsiteX0" fmla="*/ 281940 w 585809"/>
                  <a:gd name="connsiteY0" fmla="*/ 0 h 4998720"/>
                  <a:gd name="connsiteX1" fmla="*/ 304800 w 585809"/>
                  <a:gd name="connsiteY1" fmla="*/ 998220 h 4998720"/>
                  <a:gd name="connsiteX2" fmla="*/ 510540 w 585809"/>
                  <a:gd name="connsiteY2" fmla="*/ 2727960 h 4998720"/>
                  <a:gd name="connsiteX3" fmla="*/ 464820 w 585809"/>
                  <a:gd name="connsiteY3" fmla="*/ 3848100 h 4998720"/>
                  <a:gd name="connsiteX4" fmla="*/ 0 w 585809"/>
                  <a:gd name="connsiteY4" fmla="*/ 4998720 h 4998720"/>
                  <a:gd name="connsiteX0" fmla="*/ 281940 w 612461"/>
                  <a:gd name="connsiteY0" fmla="*/ 0 h 4998720"/>
                  <a:gd name="connsiteX1" fmla="*/ 304800 w 612461"/>
                  <a:gd name="connsiteY1" fmla="*/ 998220 h 4998720"/>
                  <a:gd name="connsiteX2" fmla="*/ 510540 w 612461"/>
                  <a:gd name="connsiteY2" fmla="*/ 2727960 h 4998720"/>
                  <a:gd name="connsiteX3" fmla="*/ 464820 w 612461"/>
                  <a:gd name="connsiteY3" fmla="*/ 3848100 h 4998720"/>
                  <a:gd name="connsiteX4" fmla="*/ 0 w 612461"/>
                  <a:gd name="connsiteY4" fmla="*/ 4998720 h 4998720"/>
                  <a:gd name="connsiteX0" fmla="*/ 281940 w 581999"/>
                  <a:gd name="connsiteY0" fmla="*/ 0 h 4998720"/>
                  <a:gd name="connsiteX1" fmla="*/ 304800 w 581999"/>
                  <a:gd name="connsiteY1" fmla="*/ 998220 h 4998720"/>
                  <a:gd name="connsiteX2" fmla="*/ 510540 w 581999"/>
                  <a:gd name="connsiteY2" fmla="*/ 2727960 h 4998720"/>
                  <a:gd name="connsiteX3" fmla="*/ 464820 w 581999"/>
                  <a:gd name="connsiteY3" fmla="*/ 3848100 h 4998720"/>
                  <a:gd name="connsiteX4" fmla="*/ 0 w 581999"/>
                  <a:gd name="connsiteY4" fmla="*/ 4998720 h 4998720"/>
                  <a:gd name="connsiteX0" fmla="*/ 281940 w 568102"/>
                  <a:gd name="connsiteY0" fmla="*/ 0 h 4998720"/>
                  <a:gd name="connsiteX1" fmla="*/ 304800 w 568102"/>
                  <a:gd name="connsiteY1" fmla="*/ 998220 h 4998720"/>
                  <a:gd name="connsiteX2" fmla="*/ 510540 w 568102"/>
                  <a:gd name="connsiteY2" fmla="*/ 2727960 h 4998720"/>
                  <a:gd name="connsiteX3" fmla="*/ 464820 w 568102"/>
                  <a:gd name="connsiteY3" fmla="*/ 3848100 h 4998720"/>
                  <a:gd name="connsiteX4" fmla="*/ 0 w 568102"/>
                  <a:gd name="connsiteY4" fmla="*/ 4998720 h 4998720"/>
                  <a:gd name="connsiteX0" fmla="*/ 281940 w 568102"/>
                  <a:gd name="connsiteY0" fmla="*/ 0 h 4998720"/>
                  <a:gd name="connsiteX1" fmla="*/ 304800 w 568102"/>
                  <a:gd name="connsiteY1" fmla="*/ 998220 h 4998720"/>
                  <a:gd name="connsiteX2" fmla="*/ 510540 w 568102"/>
                  <a:gd name="connsiteY2" fmla="*/ 2727960 h 4998720"/>
                  <a:gd name="connsiteX3" fmla="*/ 464820 w 568102"/>
                  <a:gd name="connsiteY3" fmla="*/ 3848100 h 4998720"/>
                  <a:gd name="connsiteX4" fmla="*/ 0 w 568102"/>
                  <a:gd name="connsiteY4" fmla="*/ 4998720 h 4998720"/>
                  <a:gd name="connsiteX0" fmla="*/ 281940 w 568102"/>
                  <a:gd name="connsiteY0" fmla="*/ 0 h 4998720"/>
                  <a:gd name="connsiteX1" fmla="*/ 304800 w 568102"/>
                  <a:gd name="connsiteY1" fmla="*/ 998220 h 4998720"/>
                  <a:gd name="connsiteX2" fmla="*/ 510540 w 568102"/>
                  <a:gd name="connsiteY2" fmla="*/ 2727960 h 4998720"/>
                  <a:gd name="connsiteX3" fmla="*/ 464820 w 568102"/>
                  <a:gd name="connsiteY3" fmla="*/ 3848100 h 4998720"/>
                  <a:gd name="connsiteX4" fmla="*/ 0 w 568102"/>
                  <a:gd name="connsiteY4" fmla="*/ 4998720 h 49987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8102" h="4998720">
                    <a:moveTo>
                      <a:pt x="281940" y="0"/>
                    </a:moveTo>
                    <a:cubicBezTo>
                      <a:pt x="251460" y="302260"/>
                      <a:pt x="198120" y="299720"/>
                      <a:pt x="304800" y="998220"/>
                    </a:cubicBezTo>
                    <a:lnTo>
                      <a:pt x="510540" y="2727960"/>
                    </a:lnTo>
                    <a:cubicBezTo>
                      <a:pt x="586740" y="3505200"/>
                      <a:pt x="601980" y="3474720"/>
                      <a:pt x="464820" y="3848100"/>
                    </a:cubicBezTo>
                    <a:lnTo>
                      <a:pt x="0" y="4998720"/>
                    </a:lnTo>
                  </a:path>
                </a:pathLst>
              </a:custGeom>
              <a:noFill/>
              <a:ln w="9525" cap="rnd" cmpd="sng" algn="ctr">
                <a:solidFill>
                  <a:sysClr val="window" lastClr="FFFFFF"/>
                </a:solidFill>
                <a:prstDash val="solid"/>
                <a:round/>
                <a:headEnd type="none" w="med" len="med"/>
                <a:tailEnd type="none" w="med" len="me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mn-lt"/>
                  <a:ea typeface="+mn-ea"/>
                  <a:cs typeface="+mn-cs"/>
                  <a:sym typeface="+mn-lt"/>
                </a:endParaRPr>
              </a:p>
            </p:txBody>
          </p:sp>
          <p:sp>
            <p:nvSpPr>
              <p:cNvPr id="18" name="Freeform 9">
                <a:extLst>
                  <a:ext uri="{FF2B5EF4-FFF2-40B4-BE49-F238E27FC236}">
                    <a16:creationId xmlns:a16="http://schemas.microsoft.com/office/drawing/2014/main" id="{57C04823-BEC0-4B00-BD06-E447BCABEA28}"/>
                  </a:ext>
                </a:extLst>
              </p:cNvPr>
              <p:cNvSpPr/>
              <p:nvPr userDrawn="1"/>
            </p:nvSpPr>
            <p:spPr>
              <a:xfrm>
                <a:off x="5706951" y="1756385"/>
                <a:ext cx="522382" cy="4839646"/>
              </a:xfrm>
              <a:custGeom>
                <a:avLst/>
                <a:gdLst>
                  <a:gd name="connsiteX0" fmla="*/ 281940 w 510540"/>
                  <a:gd name="connsiteY0" fmla="*/ 0 h 4998720"/>
                  <a:gd name="connsiteX1" fmla="*/ 304800 w 510540"/>
                  <a:gd name="connsiteY1" fmla="*/ 998220 h 4998720"/>
                  <a:gd name="connsiteX2" fmla="*/ 510540 w 510540"/>
                  <a:gd name="connsiteY2" fmla="*/ 2727960 h 4998720"/>
                  <a:gd name="connsiteX3" fmla="*/ 464820 w 510540"/>
                  <a:gd name="connsiteY3" fmla="*/ 3848100 h 4998720"/>
                  <a:gd name="connsiteX4" fmla="*/ 0 w 510540"/>
                  <a:gd name="connsiteY4" fmla="*/ 4998720 h 4998720"/>
                  <a:gd name="connsiteX0" fmla="*/ 281940 w 585809"/>
                  <a:gd name="connsiteY0" fmla="*/ 0 h 4998720"/>
                  <a:gd name="connsiteX1" fmla="*/ 304800 w 585809"/>
                  <a:gd name="connsiteY1" fmla="*/ 998220 h 4998720"/>
                  <a:gd name="connsiteX2" fmla="*/ 510540 w 585809"/>
                  <a:gd name="connsiteY2" fmla="*/ 2727960 h 4998720"/>
                  <a:gd name="connsiteX3" fmla="*/ 464820 w 585809"/>
                  <a:gd name="connsiteY3" fmla="*/ 3848100 h 4998720"/>
                  <a:gd name="connsiteX4" fmla="*/ 0 w 585809"/>
                  <a:gd name="connsiteY4" fmla="*/ 4998720 h 4998720"/>
                  <a:gd name="connsiteX0" fmla="*/ 281940 w 612461"/>
                  <a:gd name="connsiteY0" fmla="*/ 0 h 4998720"/>
                  <a:gd name="connsiteX1" fmla="*/ 304800 w 612461"/>
                  <a:gd name="connsiteY1" fmla="*/ 998220 h 4998720"/>
                  <a:gd name="connsiteX2" fmla="*/ 510540 w 612461"/>
                  <a:gd name="connsiteY2" fmla="*/ 2727960 h 4998720"/>
                  <a:gd name="connsiteX3" fmla="*/ 464820 w 612461"/>
                  <a:gd name="connsiteY3" fmla="*/ 3848100 h 4998720"/>
                  <a:gd name="connsiteX4" fmla="*/ 0 w 612461"/>
                  <a:gd name="connsiteY4" fmla="*/ 4998720 h 4998720"/>
                  <a:gd name="connsiteX0" fmla="*/ 281940 w 581999"/>
                  <a:gd name="connsiteY0" fmla="*/ 0 h 4998720"/>
                  <a:gd name="connsiteX1" fmla="*/ 304800 w 581999"/>
                  <a:gd name="connsiteY1" fmla="*/ 998220 h 4998720"/>
                  <a:gd name="connsiteX2" fmla="*/ 510540 w 581999"/>
                  <a:gd name="connsiteY2" fmla="*/ 2727960 h 4998720"/>
                  <a:gd name="connsiteX3" fmla="*/ 464820 w 581999"/>
                  <a:gd name="connsiteY3" fmla="*/ 3848100 h 4998720"/>
                  <a:gd name="connsiteX4" fmla="*/ 0 w 581999"/>
                  <a:gd name="connsiteY4" fmla="*/ 4998720 h 4998720"/>
                  <a:gd name="connsiteX0" fmla="*/ 281940 w 568102"/>
                  <a:gd name="connsiteY0" fmla="*/ 0 h 4998720"/>
                  <a:gd name="connsiteX1" fmla="*/ 304800 w 568102"/>
                  <a:gd name="connsiteY1" fmla="*/ 998220 h 4998720"/>
                  <a:gd name="connsiteX2" fmla="*/ 510540 w 568102"/>
                  <a:gd name="connsiteY2" fmla="*/ 2727960 h 4998720"/>
                  <a:gd name="connsiteX3" fmla="*/ 464820 w 568102"/>
                  <a:gd name="connsiteY3" fmla="*/ 3848100 h 4998720"/>
                  <a:gd name="connsiteX4" fmla="*/ 0 w 568102"/>
                  <a:gd name="connsiteY4" fmla="*/ 4998720 h 4998720"/>
                  <a:gd name="connsiteX0" fmla="*/ 281940 w 568102"/>
                  <a:gd name="connsiteY0" fmla="*/ 0 h 4998720"/>
                  <a:gd name="connsiteX1" fmla="*/ 304800 w 568102"/>
                  <a:gd name="connsiteY1" fmla="*/ 998220 h 4998720"/>
                  <a:gd name="connsiteX2" fmla="*/ 510540 w 568102"/>
                  <a:gd name="connsiteY2" fmla="*/ 2727960 h 4998720"/>
                  <a:gd name="connsiteX3" fmla="*/ 464820 w 568102"/>
                  <a:gd name="connsiteY3" fmla="*/ 3848100 h 4998720"/>
                  <a:gd name="connsiteX4" fmla="*/ 0 w 568102"/>
                  <a:gd name="connsiteY4" fmla="*/ 4998720 h 4998720"/>
                  <a:gd name="connsiteX0" fmla="*/ 281940 w 568102"/>
                  <a:gd name="connsiteY0" fmla="*/ 0 h 4998720"/>
                  <a:gd name="connsiteX1" fmla="*/ 304800 w 568102"/>
                  <a:gd name="connsiteY1" fmla="*/ 998220 h 4998720"/>
                  <a:gd name="connsiteX2" fmla="*/ 510540 w 568102"/>
                  <a:gd name="connsiteY2" fmla="*/ 2727960 h 4998720"/>
                  <a:gd name="connsiteX3" fmla="*/ 464820 w 568102"/>
                  <a:gd name="connsiteY3" fmla="*/ 3848100 h 4998720"/>
                  <a:gd name="connsiteX4" fmla="*/ 0 w 568102"/>
                  <a:gd name="connsiteY4" fmla="*/ 4998720 h 4998720"/>
                  <a:gd name="connsiteX0" fmla="*/ 236220 w 522382"/>
                  <a:gd name="connsiteY0" fmla="*/ 0 h 4943875"/>
                  <a:gd name="connsiteX1" fmla="*/ 259080 w 522382"/>
                  <a:gd name="connsiteY1" fmla="*/ 998220 h 4943875"/>
                  <a:gd name="connsiteX2" fmla="*/ 464820 w 522382"/>
                  <a:gd name="connsiteY2" fmla="*/ 2727960 h 4943875"/>
                  <a:gd name="connsiteX3" fmla="*/ 419100 w 522382"/>
                  <a:gd name="connsiteY3" fmla="*/ 3848100 h 4943875"/>
                  <a:gd name="connsiteX4" fmla="*/ 0 w 522382"/>
                  <a:gd name="connsiteY4" fmla="*/ 4943875 h 4943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382" h="4943875">
                    <a:moveTo>
                      <a:pt x="236220" y="0"/>
                    </a:moveTo>
                    <a:cubicBezTo>
                      <a:pt x="205740" y="302260"/>
                      <a:pt x="152400" y="299720"/>
                      <a:pt x="259080" y="998220"/>
                    </a:cubicBezTo>
                    <a:lnTo>
                      <a:pt x="464820" y="2727960"/>
                    </a:lnTo>
                    <a:cubicBezTo>
                      <a:pt x="541020" y="3505200"/>
                      <a:pt x="556260" y="3474720"/>
                      <a:pt x="419100" y="3848100"/>
                    </a:cubicBezTo>
                    <a:lnTo>
                      <a:pt x="0" y="4943875"/>
                    </a:lnTo>
                  </a:path>
                </a:pathLst>
              </a:custGeom>
              <a:noFill/>
              <a:ln w="9525" cap="rnd" cmpd="sng" algn="ctr">
                <a:solidFill>
                  <a:sysClr val="window" lastClr="FFFFFF"/>
                </a:solidFill>
                <a:prstDash val="solid"/>
                <a:round/>
                <a:headEnd type="none" w="med" len="med"/>
                <a:tailEnd type="none" w="med" len="me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mn-lt"/>
                  <a:ea typeface="+mn-ea"/>
                  <a:cs typeface="+mn-cs"/>
                  <a:sym typeface="+mn-lt"/>
                </a:endParaRPr>
              </a:p>
            </p:txBody>
          </p:sp>
        </p:grpSp>
        <p:sp>
          <p:nvSpPr>
            <p:cNvPr id="13" name="Freeform 5">
              <a:extLst>
                <a:ext uri="{FF2B5EF4-FFF2-40B4-BE49-F238E27FC236}">
                  <a16:creationId xmlns:a16="http://schemas.microsoft.com/office/drawing/2014/main" id="{26009BC5-7CD2-415B-B821-CA3A8BEFC389}"/>
                </a:ext>
              </a:extLst>
            </p:cNvPr>
            <p:cNvSpPr/>
            <p:nvPr userDrawn="1"/>
          </p:nvSpPr>
          <p:spPr>
            <a:xfrm>
              <a:off x="5973758" y="-12700"/>
              <a:ext cx="2357442" cy="6858000"/>
            </a:xfrm>
            <a:custGeom>
              <a:avLst/>
              <a:gdLst>
                <a:gd name="connsiteX0" fmla="*/ 1651000 w 2247900"/>
                <a:gd name="connsiteY0" fmla="*/ 6819900 h 6819900"/>
                <a:gd name="connsiteX1" fmla="*/ 381000 w 2247900"/>
                <a:gd name="connsiteY1" fmla="*/ 6819900 h 6819900"/>
                <a:gd name="connsiteX2" fmla="*/ 0 w 2247900"/>
                <a:gd name="connsiteY2" fmla="*/ 4724400 h 6819900"/>
                <a:gd name="connsiteX3" fmla="*/ 762000 w 2247900"/>
                <a:gd name="connsiteY3" fmla="*/ 1968500 h 6819900"/>
                <a:gd name="connsiteX4" fmla="*/ 1727200 w 2247900"/>
                <a:gd name="connsiteY4" fmla="*/ 0 h 6819900"/>
                <a:gd name="connsiteX5" fmla="*/ 2247900 w 2247900"/>
                <a:gd name="connsiteY5" fmla="*/ 0 h 6819900"/>
                <a:gd name="connsiteX6" fmla="*/ 1524000 w 2247900"/>
                <a:gd name="connsiteY6" fmla="*/ 1968500 h 6819900"/>
                <a:gd name="connsiteX7" fmla="*/ 1016000 w 2247900"/>
                <a:gd name="connsiteY7" fmla="*/ 4521200 h 6819900"/>
                <a:gd name="connsiteX8" fmla="*/ 1651000 w 2247900"/>
                <a:gd name="connsiteY8" fmla="*/ 6819900 h 6819900"/>
                <a:gd name="connsiteX0" fmla="*/ 1651000 w 2247900"/>
                <a:gd name="connsiteY0" fmla="*/ 6819900 h 6819900"/>
                <a:gd name="connsiteX1" fmla="*/ 381000 w 2247900"/>
                <a:gd name="connsiteY1" fmla="*/ 6819900 h 6819900"/>
                <a:gd name="connsiteX2" fmla="*/ 0 w 2247900"/>
                <a:gd name="connsiteY2" fmla="*/ 4724400 h 6819900"/>
                <a:gd name="connsiteX3" fmla="*/ 762000 w 2247900"/>
                <a:gd name="connsiteY3" fmla="*/ 1968500 h 6819900"/>
                <a:gd name="connsiteX4" fmla="*/ 1727200 w 2247900"/>
                <a:gd name="connsiteY4" fmla="*/ 0 h 6819900"/>
                <a:gd name="connsiteX5" fmla="*/ 2247900 w 2247900"/>
                <a:gd name="connsiteY5" fmla="*/ 0 h 6819900"/>
                <a:gd name="connsiteX6" fmla="*/ 1524000 w 2247900"/>
                <a:gd name="connsiteY6" fmla="*/ 1968500 h 6819900"/>
                <a:gd name="connsiteX7" fmla="*/ 1168400 w 2247900"/>
                <a:gd name="connsiteY7" fmla="*/ 4711700 h 6819900"/>
                <a:gd name="connsiteX8" fmla="*/ 1651000 w 2247900"/>
                <a:gd name="connsiteY8" fmla="*/ 6819900 h 6819900"/>
                <a:gd name="connsiteX0" fmla="*/ 1651000 w 2247900"/>
                <a:gd name="connsiteY0" fmla="*/ 6819900 h 6819900"/>
                <a:gd name="connsiteX1" fmla="*/ 381000 w 2247900"/>
                <a:gd name="connsiteY1" fmla="*/ 6819900 h 6819900"/>
                <a:gd name="connsiteX2" fmla="*/ 0 w 2247900"/>
                <a:gd name="connsiteY2" fmla="*/ 4724400 h 6819900"/>
                <a:gd name="connsiteX3" fmla="*/ 762000 w 2247900"/>
                <a:gd name="connsiteY3" fmla="*/ 1968500 h 6819900"/>
                <a:gd name="connsiteX4" fmla="*/ 1727200 w 2247900"/>
                <a:gd name="connsiteY4" fmla="*/ 0 h 6819900"/>
                <a:gd name="connsiteX5" fmla="*/ 2247900 w 2247900"/>
                <a:gd name="connsiteY5" fmla="*/ 0 h 6819900"/>
                <a:gd name="connsiteX6" fmla="*/ 1524000 w 2247900"/>
                <a:gd name="connsiteY6" fmla="*/ 1968500 h 6819900"/>
                <a:gd name="connsiteX7" fmla="*/ 1168400 w 2247900"/>
                <a:gd name="connsiteY7" fmla="*/ 4711700 h 6819900"/>
                <a:gd name="connsiteX8" fmla="*/ 1651000 w 2247900"/>
                <a:gd name="connsiteY8" fmla="*/ 6819900 h 6819900"/>
                <a:gd name="connsiteX0" fmla="*/ 1651000 w 2247900"/>
                <a:gd name="connsiteY0" fmla="*/ 6819900 h 6819900"/>
                <a:gd name="connsiteX1" fmla="*/ 381000 w 2247900"/>
                <a:gd name="connsiteY1" fmla="*/ 6819900 h 6819900"/>
                <a:gd name="connsiteX2" fmla="*/ 0 w 2247900"/>
                <a:gd name="connsiteY2" fmla="*/ 4724400 h 6819900"/>
                <a:gd name="connsiteX3" fmla="*/ 762000 w 2247900"/>
                <a:gd name="connsiteY3" fmla="*/ 1968500 h 6819900"/>
                <a:gd name="connsiteX4" fmla="*/ 1727200 w 2247900"/>
                <a:gd name="connsiteY4" fmla="*/ 0 h 6819900"/>
                <a:gd name="connsiteX5" fmla="*/ 2247900 w 2247900"/>
                <a:gd name="connsiteY5" fmla="*/ 0 h 6819900"/>
                <a:gd name="connsiteX6" fmla="*/ 1524000 w 2247900"/>
                <a:gd name="connsiteY6" fmla="*/ 1968500 h 6819900"/>
                <a:gd name="connsiteX7" fmla="*/ 1244600 w 2247900"/>
                <a:gd name="connsiteY7" fmla="*/ 4724400 h 6819900"/>
                <a:gd name="connsiteX8" fmla="*/ 1651000 w 2247900"/>
                <a:gd name="connsiteY8" fmla="*/ 6819900 h 6819900"/>
                <a:gd name="connsiteX0" fmla="*/ 1651000 w 2247900"/>
                <a:gd name="connsiteY0" fmla="*/ 6819900 h 6819900"/>
                <a:gd name="connsiteX1" fmla="*/ 381000 w 2247900"/>
                <a:gd name="connsiteY1" fmla="*/ 6819900 h 6819900"/>
                <a:gd name="connsiteX2" fmla="*/ 0 w 2247900"/>
                <a:gd name="connsiteY2" fmla="*/ 4724400 h 6819900"/>
                <a:gd name="connsiteX3" fmla="*/ 762000 w 2247900"/>
                <a:gd name="connsiteY3" fmla="*/ 1968500 h 6819900"/>
                <a:gd name="connsiteX4" fmla="*/ 1727200 w 2247900"/>
                <a:gd name="connsiteY4" fmla="*/ 0 h 6819900"/>
                <a:gd name="connsiteX5" fmla="*/ 2247900 w 2247900"/>
                <a:gd name="connsiteY5" fmla="*/ 0 h 6819900"/>
                <a:gd name="connsiteX6" fmla="*/ 1524000 w 2247900"/>
                <a:gd name="connsiteY6" fmla="*/ 1968500 h 6819900"/>
                <a:gd name="connsiteX7" fmla="*/ 1244600 w 2247900"/>
                <a:gd name="connsiteY7" fmla="*/ 4724400 h 6819900"/>
                <a:gd name="connsiteX8" fmla="*/ 1651000 w 2247900"/>
                <a:gd name="connsiteY8" fmla="*/ 6819900 h 6819900"/>
                <a:gd name="connsiteX0" fmla="*/ 1651000 w 2247900"/>
                <a:gd name="connsiteY0" fmla="*/ 6819900 h 6819900"/>
                <a:gd name="connsiteX1" fmla="*/ 381000 w 2247900"/>
                <a:gd name="connsiteY1" fmla="*/ 6819900 h 6819900"/>
                <a:gd name="connsiteX2" fmla="*/ 0 w 2247900"/>
                <a:gd name="connsiteY2" fmla="*/ 4724400 h 6819900"/>
                <a:gd name="connsiteX3" fmla="*/ 762000 w 2247900"/>
                <a:gd name="connsiteY3" fmla="*/ 1968500 h 6819900"/>
                <a:gd name="connsiteX4" fmla="*/ 1727200 w 2247900"/>
                <a:gd name="connsiteY4" fmla="*/ 0 h 6819900"/>
                <a:gd name="connsiteX5" fmla="*/ 2247900 w 2247900"/>
                <a:gd name="connsiteY5" fmla="*/ 0 h 6819900"/>
                <a:gd name="connsiteX6" fmla="*/ 1524000 w 2247900"/>
                <a:gd name="connsiteY6" fmla="*/ 1968500 h 6819900"/>
                <a:gd name="connsiteX7" fmla="*/ 1244600 w 2247900"/>
                <a:gd name="connsiteY7" fmla="*/ 4724400 h 6819900"/>
                <a:gd name="connsiteX8" fmla="*/ 1651000 w 2247900"/>
                <a:gd name="connsiteY8" fmla="*/ 6819900 h 6819900"/>
                <a:gd name="connsiteX0" fmla="*/ 1651000 w 2247900"/>
                <a:gd name="connsiteY0" fmla="*/ 6819900 h 6819900"/>
                <a:gd name="connsiteX1" fmla="*/ 381000 w 2247900"/>
                <a:gd name="connsiteY1" fmla="*/ 6819900 h 6819900"/>
                <a:gd name="connsiteX2" fmla="*/ 0 w 2247900"/>
                <a:gd name="connsiteY2" fmla="*/ 4724400 h 6819900"/>
                <a:gd name="connsiteX3" fmla="*/ 762000 w 2247900"/>
                <a:gd name="connsiteY3" fmla="*/ 1968500 h 6819900"/>
                <a:gd name="connsiteX4" fmla="*/ 1727200 w 2247900"/>
                <a:gd name="connsiteY4" fmla="*/ 0 h 6819900"/>
                <a:gd name="connsiteX5" fmla="*/ 2247900 w 2247900"/>
                <a:gd name="connsiteY5" fmla="*/ 0 h 6819900"/>
                <a:gd name="connsiteX6" fmla="*/ 1524000 w 2247900"/>
                <a:gd name="connsiteY6" fmla="*/ 1968500 h 6819900"/>
                <a:gd name="connsiteX7" fmla="*/ 1308100 w 2247900"/>
                <a:gd name="connsiteY7" fmla="*/ 4699000 h 6819900"/>
                <a:gd name="connsiteX8" fmla="*/ 1651000 w 2247900"/>
                <a:gd name="connsiteY8" fmla="*/ 6819900 h 6819900"/>
                <a:gd name="connsiteX0" fmla="*/ 1651000 w 2247900"/>
                <a:gd name="connsiteY0" fmla="*/ 6819900 h 6819900"/>
                <a:gd name="connsiteX1" fmla="*/ 381000 w 2247900"/>
                <a:gd name="connsiteY1" fmla="*/ 6819900 h 6819900"/>
                <a:gd name="connsiteX2" fmla="*/ 0 w 2247900"/>
                <a:gd name="connsiteY2" fmla="*/ 4724400 h 6819900"/>
                <a:gd name="connsiteX3" fmla="*/ 762000 w 2247900"/>
                <a:gd name="connsiteY3" fmla="*/ 1968500 h 6819900"/>
                <a:gd name="connsiteX4" fmla="*/ 1727200 w 2247900"/>
                <a:gd name="connsiteY4" fmla="*/ 0 h 6819900"/>
                <a:gd name="connsiteX5" fmla="*/ 2247900 w 2247900"/>
                <a:gd name="connsiteY5" fmla="*/ 0 h 6819900"/>
                <a:gd name="connsiteX6" fmla="*/ 1638300 w 2247900"/>
                <a:gd name="connsiteY6" fmla="*/ 2032000 h 6819900"/>
                <a:gd name="connsiteX7" fmla="*/ 1308100 w 2247900"/>
                <a:gd name="connsiteY7" fmla="*/ 4699000 h 6819900"/>
                <a:gd name="connsiteX8" fmla="*/ 1651000 w 2247900"/>
                <a:gd name="connsiteY8" fmla="*/ 6819900 h 6819900"/>
                <a:gd name="connsiteX0" fmla="*/ 1651000 w 2247900"/>
                <a:gd name="connsiteY0" fmla="*/ 6819900 h 6819900"/>
                <a:gd name="connsiteX1" fmla="*/ 381000 w 2247900"/>
                <a:gd name="connsiteY1" fmla="*/ 6819900 h 6819900"/>
                <a:gd name="connsiteX2" fmla="*/ 0 w 2247900"/>
                <a:gd name="connsiteY2" fmla="*/ 4724400 h 6819900"/>
                <a:gd name="connsiteX3" fmla="*/ 762000 w 2247900"/>
                <a:gd name="connsiteY3" fmla="*/ 1968500 h 6819900"/>
                <a:gd name="connsiteX4" fmla="*/ 1727200 w 2247900"/>
                <a:gd name="connsiteY4" fmla="*/ 0 h 6819900"/>
                <a:gd name="connsiteX5" fmla="*/ 2247900 w 2247900"/>
                <a:gd name="connsiteY5" fmla="*/ 0 h 6819900"/>
                <a:gd name="connsiteX6" fmla="*/ 1638300 w 2247900"/>
                <a:gd name="connsiteY6" fmla="*/ 2032000 h 6819900"/>
                <a:gd name="connsiteX7" fmla="*/ 1308100 w 2247900"/>
                <a:gd name="connsiteY7" fmla="*/ 4699000 h 6819900"/>
                <a:gd name="connsiteX8" fmla="*/ 1651000 w 2247900"/>
                <a:gd name="connsiteY8" fmla="*/ 6819900 h 6819900"/>
                <a:gd name="connsiteX0" fmla="*/ 1651000 w 2247900"/>
                <a:gd name="connsiteY0" fmla="*/ 6819900 h 6819900"/>
                <a:gd name="connsiteX1" fmla="*/ 381000 w 2247900"/>
                <a:gd name="connsiteY1" fmla="*/ 6819900 h 6819900"/>
                <a:gd name="connsiteX2" fmla="*/ 0 w 2247900"/>
                <a:gd name="connsiteY2" fmla="*/ 4724400 h 6819900"/>
                <a:gd name="connsiteX3" fmla="*/ 762000 w 2247900"/>
                <a:gd name="connsiteY3" fmla="*/ 1968500 h 6819900"/>
                <a:gd name="connsiteX4" fmla="*/ 1727200 w 2247900"/>
                <a:gd name="connsiteY4" fmla="*/ 0 h 6819900"/>
                <a:gd name="connsiteX5" fmla="*/ 2247900 w 2247900"/>
                <a:gd name="connsiteY5" fmla="*/ 0 h 6819900"/>
                <a:gd name="connsiteX6" fmla="*/ 1638300 w 2247900"/>
                <a:gd name="connsiteY6" fmla="*/ 2032000 h 6819900"/>
                <a:gd name="connsiteX7" fmla="*/ 1308100 w 2247900"/>
                <a:gd name="connsiteY7" fmla="*/ 4699000 h 6819900"/>
                <a:gd name="connsiteX8" fmla="*/ 1651000 w 2247900"/>
                <a:gd name="connsiteY8" fmla="*/ 6819900 h 6819900"/>
                <a:gd name="connsiteX0" fmla="*/ 1651000 w 2247900"/>
                <a:gd name="connsiteY0" fmla="*/ 6819900 h 6819900"/>
                <a:gd name="connsiteX1" fmla="*/ 381000 w 2247900"/>
                <a:gd name="connsiteY1" fmla="*/ 6819900 h 6819900"/>
                <a:gd name="connsiteX2" fmla="*/ 0 w 2247900"/>
                <a:gd name="connsiteY2" fmla="*/ 4724400 h 6819900"/>
                <a:gd name="connsiteX3" fmla="*/ 762000 w 2247900"/>
                <a:gd name="connsiteY3" fmla="*/ 1968500 h 6819900"/>
                <a:gd name="connsiteX4" fmla="*/ 1727200 w 2247900"/>
                <a:gd name="connsiteY4" fmla="*/ 0 h 6819900"/>
                <a:gd name="connsiteX5" fmla="*/ 2247900 w 2247900"/>
                <a:gd name="connsiteY5" fmla="*/ 0 h 6819900"/>
                <a:gd name="connsiteX6" fmla="*/ 1638300 w 2247900"/>
                <a:gd name="connsiteY6" fmla="*/ 2032000 h 6819900"/>
                <a:gd name="connsiteX7" fmla="*/ 1308100 w 2247900"/>
                <a:gd name="connsiteY7" fmla="*/ 4699000 h 6819900"/>
                <a:gd name="connsiteX8" fmla="*/ 1651000 w 2247900"/>
                <a:gd name="connsiteY8" fmla="*/ 6819900 h 6819900"/>
                <a:gd name="connsiteX0" fmla="*/ 1651000 w 2286000"/>
                <a:gd name="connsiteY0" fmla="*/ 6832600 h 6832600"/>
                <a:gd name="connsiteX1" fmla="*/ 381000 w 2286000"/>
                <a:gd name="connsiteY1" fmla="*/ 6832600 h 6832600"/>
                <a:gd name="connsiteX2" fmla="*/ 0 w 2286000"/>
                <a:gd name="connsiteY2" fmla="*/ 4737100 h 6832600"/>
                <a:gd name="connsiteX3" fmla="*/ 762000 w 2286000"/>
                <a:gd name="connsiteY3" fmla="*/ 1981200 h 6832600"/>
                <a:gd name="connsiteX4" fmla="*/ 1727200 w 2286000"/>
                <a:gd name="connsiteY4" fmla="*/ 12700 h 6832600"/>
                <a:gd name="connsiteX5" fmla="*/ 2286000 w 2286000"/>
                <a:gd name="connsiteY5" fmla="*/ 0 h 6832600"/>
                <a:gd name="connsiteX6" fmla="*/ 1638300 w 2286000"/>
                <a:gd name="connsiteY6" fmla="*/ 2044700 h 6832600"/>
                <a:gd name="connsiteX7" fmla="*/ 1308100 w 2286000"/>
                <a:gd name="connsiteY7" fmla="*/ 4711700 h 6832600"/>
                <a:gd name="connsiteX8" fmla="*/ 1651000 w 2286000"/>
                <a:gd name="connsiteY8" fmla="*/ 6832600 h 6832600"/>
                <a:gd name="connsiteX0" fmla="*/ 1651000 w 2286000"/>
                <a:gd name="connsiteY0" fmla="*/ 6832600 h 6832600"/>
                <a:gd name="connsiteX1" fmla="*/ 381000 w 2286000"/>
                <a:gd name="connsiteY1" fmla="*/ 6832600 h 6832600"/>
                <a:gd name="connsiteX2" fmla="*/ 0 w 2286000"/>
                <a:gd name="connsiteY2" fmla="*/ 4737100 h 6832600"/>
                <a:gd name="connsiteX3" fmla="*/ 863600 w 2286000"/>
                <a:gd name="connsiteY3" fmla="*/ 1993900 h 6832600"/>
                <a:gd name="connsiteX4" fmla="*/ 1727200 w 2286000"/>
                <a:gd name="connsiteY4" fmla="*/ 12700 h 6832600"/>
                <a:gd name="connsiteX5" fmla="*/ 2286000 w 2286000"/>
                <a:gd name="connsiteY5" fmla="*/ 0 h 6832600"/>
                <a:gd name="connsiteX6" fmla="*/ 1638300 w 2286000"/>
                <a:gd name="connsiteY6" fmla="*/ 2044700 h 6832600"/>
                <a:gd name="connsiteX7" fmla="*/ 1308100 w 2286000"/>
                <a:gd name="connsiteY7" fmla="*/ 4711700 h 6832600"/>
                <a:gd name="connsiteX8" fmla="*/ 1651000 w 2286000"/>
                <a:gd name="connsiteY8" fmla="*/ 6832600 h 6832600"/>
                <a:gd name="connsiteX0" fmla="*/ 1651000 w 2286000"/>
                <a:gd name="connsiteY0" fmla="*/ 6832600 h 6832600"/>
                <a:gd name="connsiteX1" fmla="*/ 381000 w 2286000"/>
                <a:gd name="connsiteY1" fmla="*/ 6832600 h 6832600"/>
                <a:gd name="connsiteX2" fmla="*/ 0 w 2286000"/>
                <a:gd name="connsiteY2" fmla="*/ 4737100 h 6832600"/>
                <a:gd name="connsiteX3" fmla="*/ 863600 w 2286000"/>
                <a:gd name="connsiteY3" fmla="*/ 1993900 h 6832600"/>
                <a:gd name="connsiteX4" fmla="*/ 1727200 w 2286000"/>
                <a:gd name="connsiteY4" fmla="*/ 12700 h 6832600"/>
                <a:gd name="connsiteX5" fmla="*/ 2286000 w 2286000"/>
                <a:gd name="connsiteY5" fmla="*/ 0 h 6832600"/>
                <a:gd name="connsiteX6" fmla="*/ 1638300 w 2286000"/>
                <a:gd name="connsiteY6" fmla="*/ 2044700 h 6832600"/>
                <a:gd name="connsiteX7" fmla="*/ 1308100 w 2286000"/>
                <a:gd name="connsiteY7" fmla="*/ 4711700 h 6832600"/>
                <a:gd name="connsiteX8" fmla="*/ 1651000 w 2286000"/>
                <a:gd name="connsiteY8" fmla="*/ 6832600 h 6832600"/>
                <a:gd name="connsiteX0" fmla="*/ 1651000 w 2286000"/>
                <a:gd name="connsiteY0" fmla="*/ 6832600 h 6832600"/>
                <a:gd name="connsiteX1" fmla="*/ 381000 w 2286000"/>
                <a:gd name="connsiteY1" fmla="*/ 6832600 h 6832600"/>
                <a:gd name="connsiteX2" fmla="*/ 0 w 2286000"/>
                <a:gd name="connsiteY2" fmla="*/ 4737100 h 6832600"/>
                <a:gd name="connsiteX3" fmla="*/ 863600 w 2286000"/>
                <a:gd name="connsiteY3" fmla="*/ 1993900 h 6832600"/>
                <a:gd name="connsiteX4" fmla="*/ 1600200 w 2286000"/>
                <a:gd name="connsiteY4" fmla="*/ 12700 h 6832600"/>
                <a:gd name="connsiteX5" fmla="*/ 2286000 w 2286000"/>
                <a:gd name="connsiteY5" fmla="*/ 0 h 6832600"/>
                <a:gd name="connsiteX6" fmla="*/ 1638300 w 2286000"/>
                <a:gd name="connsiteY6" fmla="*/ 2044700 h 6832600"/>
                <a:gd name="connsiteX7" fmla="*/ 1308100 w 2286000"/>
                <a:gd name="connsiteY7" fmla="*/ 4711700 h 6832600"/>
                <a:gd name="connsiteX8" fmla="*/ 1651000 w 2286000"/>
                <a:gd name="connsiteY8" fmla="*/ 6832600 h 6832600"/>
                <a:gd name="connsiteX0" fmla="*/ 1727976 w 2362976"/>
                <a:gd name="connsiteY0" fmla="*/ 6832600 h 6832600"/>
                <a:gd name="connsiteX1" fmla="*/ 457976 w 2362976"/>
                <a:gd name="connsiteY1" fmla="*/ 6832600 h 6832600"/>
                <a:gd name="connsiteX2" fmla="*/ 76976 w 2362976"/>
                <a:gd name="connsiteY2" fmla="*/ 4737100 h 6832600"/>
                <a:gd name="connsiteX3" fmla="*/ 940576 w 2362976"/>
                <a:gd name="connsiteY3" fmla="*/ 1993900 h 6832600"/>
                <a:gd name="connsiteX4" fmla="*/ 1677176 w 2362976"/>
                <a:gd name="connsiteY4" fmla="*/ 12700 h 6832600"/>
                <a:gd name="connsiteX5" fmla="*/ 2362976 w 2362976"/>
                <a:gd name="connsiteY5" fmla="*/ 0 h 6832600"/>
                <a:gd name="connsiteX6" fmla="*/ 1715276 w 2362976"/>
                <a:gd name="connsiteY6" fmla="*/ 2044700 h 6832600"/>
                <a:gd name="connsiteX7" fmla="*/ 1385076 w 2362976"/>
                <a:gd name="connsiteY7" fmla="*/ 4711700 h 6832600"/>
                <a:gd name="connsiteX8" fmla="*/ 1727976 w 2362976"/>
                <a:gd name="connsiteY8" fmla="*/ 6832600 h 6832600"/>
                <a:gd name="connsiteX0" fmla="*/ 1745560 w 2380560"/>
                <a:gd name="connsiteY0" fmla="*/ 6832600 h 6832600"/>
                <a:gd name="connsiteX1" fmla="*/ 475560 w 2380560"/>
                <a:gd name="connsiteY1" fmla="*/ 6832600 h 6832600"/>
                <a:gd name="connsiteX2" fmla="*/ 94560 w 2380560"/>
                <a:gd name="connsiteY2" fmla="*/ 4737100 h 6832600"/>
                <a:gd name="connsiteX3" fmla="*/ 958160 w 2380560"/>
                <a:gd name="connsiteY3" fmla="*/ 1993900 h 6832600"/>
                <a:gd name="connsiteX4" fmla="*/ 1694760 w 2380560"/>
                <a:gd name="connsiteY4" fmla="*/ 12700 h 6832600"/>
                <a:gd name="connsiteX5" fmla="*/ 2380560 w 2380560"/>
                <a:gd name="connsiteY5" fmla="*/ 0 h 6832600"/>
                <a:gd name="connsiteX6" fmla="*/ 1732860 w 2380560"/>
                <a:gd name="connsiteY6" fmla="*/ 2044700 h 6832600"/>
                <a:gd name="connsiteX7" fmla="*/ 1402660 w 2380560"/>
                <a:gd name="connsiteY7" fmla="*/ 4711700 h 6832600"/>
                <a:gd name="connsiteX8" fmla="*/ 1745560 w 2380560"/>
                <a:gd name="connsiteY8" fmla="*/ 6832600 h 6832600"/>
                <a:gd name="connsiteX0" fmla="*/ 1676931 w 2311931"/>
                <a:gd name="connsiteY0" fmla="*/ 6832600 h 6832600"/>
                <a:gd name="connsiteX1" fmla="*/ 406931 w 2311931"/>
                <a:gd name="connsiteY1" fmla="*/ 6832600 h 6832600"/>
                <a:gd name="connsiteX2" fmla="*/ 25931 w 2311931"/>
                <a:gd name="connsiteY2" fmla="*/ 4737100 h 6832600"/>
                <a:gd name="connsiteX3" fmla="*/ 889531 w 2311931"/>
                <a:gd name="connsiteY3" fmla="*/ 1993900 h 6832600"/>
                <a:gd name="connsiteX4" fmla="*/ 1626131 w 2311931"/>
                <a:gd name="connsiteY4" fmla="*/ 12700 h 6832600"/>
                <a:gd name="connsiteX5" fmla="*/ 2311931 w 2311931"/>
                <a:gd name="connsiteY5" fmla="*/ 0 h 6832600"/>
                <a:gd name="connsiteX6" fmla="*/ 1664231 w 2311931"/>
                <a:gd name="connsiteY6" fmla="*/ 2044700 h 6832600"/>
                <a:gd name="connsiteX7" fmla="*/ 1334031 w 2311931"/>
                <a:gd name="connsiteY7" fmla="*/ 4711700 h 6832600"/>
                <a:gd name="connsiteX8" fmla="*/ 1676931 w 2311931"/>
                <a:gd name="connsiteY8" fmla="*/ 6832600 h 6832600"/>
                <a:gd name="connsiteX0" fmla="*/ 1713441 w 2348441"/>
                <a:gd name="connsiteY0" fmla="*/ 6832600 h 6832600"/>
                <a:gd name="connsiteX1" fmla="*/ 443441 w 2348441"/>
                <a:gd name="connsiteY1" fmla="*/ 6832600 h 6832600"/>
                <a:gd name="connsiteX2" fmla="*/ 62441 w 2348441"/>
                <a:gd name="connsiteY2" fmla="*/ 4737100 h 6832600"/>
                <a:gd name="connsiteX3" fmla="*/ 926041 w 2348441"/>
                <a:gd name="connsiteY3" fmla="*/ 1993900 h 6832600"/>
                <a:gd name="connsiteX4" fmla="*/ 1662641 w 2348441"/>
                <a:gd name="connsiteY4" fmla="*/ 12700 h 6832600"/>
                <a:gd name="connsiteX5" fmla="*/ 2348441 w 2348441"/>
                <a:gd name="connsiteY5" fmla="*/ 0 h 6832600"/>
                <a:gd name="connsiteX6" fmla="*/ 1700741 w 2348441"/>
                <a:gd name="connsiteY6" fmla="*/ 2044700 h 6832600"/>
                <a:gd name="connsiteX7" fmla="*/ 1370541 w 2348441"/>
                <a:gd name="connsiteY7" fmla="*/ 4711700 h 6832600"/>
                <a:gd name="connsiteX8" fmla="*/ 1713441 w 2348441"/>
                <a:gd name="connsiteY8" fmla="*/ 6832600 h 6832600"/>
                <a:gd name="connsiteX0" fmla="*/ 1756980 w 2391980"/>
                <a:gd name="connsiteY0" fmla="*/ 6832600 h 6832600"/>
                <a:gd name="connsiteX1" fmla="*/ 486980 w 2391980"/>
                <a:gd name="connsiteY1" fmla="*/ 6832600 h 6832600"/>
                <a:gd name="connsiteX2" fmla="*/ 105980 w 2391980"/>
                <a:gd name="connsiteY2" fmla="*/ 4737100 h 6832600"/>
                <a:gd name="connsiteX3" fmla="*/ 969580 w 2391980"/>
                <a:gd name="connsiteY3" fmla="*/ 1993900 h 6832600"/>
                <a:gd name="connsiteX4" fmla="*/ 1706180 w 2391980"/>
                <a:gd name="connsiteY4" fmla="*/ 12700 h 6832600"/>
                <a:gd name="connsiteX5" fmla="*/ 2391980 w 2391980"/>
                <a:gd name="connsiteY5" fmla="*/ 0 h 6832600"/>
                <a:gd name="connsiteX6" fmla="*/ 1744280 w 2391980"/>
                <a:gd name="connsiteY6" fmla="*/ 2044700 h 6832600"/>
                <a:gd name="connsiteX7" fmla="*/ 1414080 w 2391980"/>
                <a:gd name="connsiteY7" fmla="*/ 4711700 h 6832600"/>
                <a:gd name="connsiteX8" fmla="*/ 1756980 w 2391980"/>
                <a:gd name="connsiteY8" fmla="*/ 6832600 h 6832600"/>
                <a:gd name="connsiteX0" fmla="*/ 1766447 w 2401447"/>
                <a:gd name="connsiteY0" fmla="*/ 6832600 h 6832600"/>
                <a:gd name="connsiteX1" fmla="*/ 496447 w 2401447"/>
                <a:gd name="connsiteY1" fmla="*/ 6832600 h 6832600"/>
                <a:gd name="connsiteX2" fmla="*/ 115447 w 2401447"/>
                <a:gd name="connsiteY2" fmla="*/ 4737100 h 6832600"/>
                <a:gd name="connsiteX3" fmla="*/ 928247 w 2401447"/>
                <a:gd name="connsiteY3" fmla="*/ 1993900 h 6832600"/>
                <a:gd name="connsiteX4" fmla="*/ 1715647 w 2401447"/>
                <a:gd name="connsiteY4" fmla="*/ 12700 h 6832600"/>
                <a:gd name="connsiteX5" fmla="*/ 2401447 w 2401447"/>
                <a:gd name="connsiteY5" fmla="*/ 0 h 6832600"/>
                <a:gd name="connsiteX6" fmla="*/ 1753747 w 2401447"/>
                <a:gd name="connsiteY6" fmla="*/ 2044700 h 6832600"/>
                <a:gd name="connsiteX7" fmla="*/ 1423547 w 2401447"/>
                <a:gd name="connsiteY7" fmla="*/ 4711700 h 6832600"/>
                <a:gd name="connsiteX8" fmla="*/ 1766447 w 2401447"/>
                <a:gd name="connsiteY8" fmla="*/ 6832600 h 6832600"/>
                <a:gd name="connsiteX0" fmla="*/ 1715508 w 2350508"/>
                <a:gd name="connsiteY0" fmla="*/ 6832600 h 6832600"/>
                <a:gd name="connsiteX1" fmla="*/ 445508 w 2350508"/>
                <a:gd name="connsiteY1" fmla="*/ 6832600 h 6832600"/>
                <a:gd name="connsiteX2" fmla="*/ 64508 w 2350508"/>
                <a:gd name="connsiteY2" fmla="*/ 4737100 h 6832600"/>
                <a:gd name="connsiteX3" fmla="*/ 877308 w 2350508"/>
                <a:gd name="connsiteY3" fmla="*/ 1993900 h 6832600"/>
                <a:gd name="connsiteX4" fmla="*/ 1664708 w 2350508"/>
                <a:gd name="connsiteY4" fmla="*/ 12700 h 6832600"/>
                <a:gd name="connsiteX5" fmla="*/ 2350508 w 2350508"/>
                <a:gd name="connsiteY5" fmla="*/ 0 h 6832600"/>
                <a:gd name="connsiteX6" fmla="*/ 1702808 w 2350508"/>
                <a:gd name="connsiteY6" fmla="*/ 2044700 h 6832600"/>
                <a:gd name="connsiteX7" fmla="*/ 1372608 w 2350508"/>
                <a:gd name="connsiteY7" fmla="*/ 4711700 h 6832600"/>
                <a:gd name="connsiteX8" fmla="*/ 1715508 w 2350508"/>
                <a:gd name="connsiteY8" fmla="*/ 6832600 h 6832600"/>
                <a:gd name="connsiteX0" fmla="*/ 1698933 w 2333933"/>
                <a:gd name="connsiteY0" fmla="*/ 6832600 h 6832600"/>
                <a:gd name="connsiteX1" fmla="*/ 428933 w 2333933"/>
                <a:gd name="connsiteY1" fmla="*/ 6832600 h 6832600"/>
                <a:gd name="connsiteX2" fmla="*/ 47933 w 2333933"/>
                <a:gd name="connsiteY2" fmla="*/ 4737100 h 6832600"/>
                <a:gd name="connsiteX3" fmla="*/ 860733 w 2333933"/>
                <a:gd name="connsiteY3" fmla="*/ 1993900 h 6832600"/>
                <a:gd name="connsiteX4" fmla="*/ 1648133 w 2333933"/>
                <a:gd name="connsiteY4" fmla="*/ 12700 h 6832600"/>
                <a:gd name="connsiteX5" fmla="*/ 2333933 w 2333933"/>
                <a:gd name="connsiteY5" fmla="*/ 0 h 6832600"/>
                <a:gd name="connsiteX6" fmla="*/ 1686233 w 2333933"/>
                <a:gd name="connsiteY6" fmla="*/ 2044700 h 6832600"/>
                <a:gd name="connsiteX7" fmla="*/ 1356033 w 2333933"/>
                <a:gd name="connsiteY7" fmla="*/ 4711700 h 6832600"/>
                <a:gd name="connsiteX8" fmla="*/ 1698933 w 2333933"/>
                <a:gd name="connsiteY8" fmla="*/ 6832600 h 6832600"/>
                <a:gd name="connsiteX0" fmla="*/ 1702652 w 2337652"/>
                <a:gd name="connsiteY0" fmla="*/ 6832600 h 6832600"/>
                <a:gd name="connsiteX1" fmla="*/ 432652 w 2337652"/>
                <a:gd name="connsiteY1" fmla="*/ 6832600 h 6832600"/>
                <a:gd name="connsiteX2" fmla="*/ 51652 w 2337652"/>
                <a:gd name="connsiteY2" fmla="*/ 4737100 h 6832600"/>
                <a:gd name="connsiteX3" fmla="*/ 788252 w 2337652"/>
                <a:gd name="connsiteY3" fmla="*/ 1968500 h 6832600"/>
                <a:gd name="connsiteX4" fmla="*/ 1651852 w 2337652"/>
                <a:gd name="connsiteY4" fmla="*/ 12700 h 6832600"/>
                <a:gd name="connsiteX5" fmla="*/ 2337652 w 2337652"/>
                <a:gd name="connsiteY5" fmla="*/ 0 h 6832600"/>
                <a:gd name="connsiteX6" fmla="*/ 1689952 w 2337652"/>
                <a:gd name="connsiteY6" fmla="*/ 2044700 h 6832600"/>
                <a:gd name="connsiteX7" fmla="*/ 1359752 w 2337652"/>
                <a:gd name="connsiteY7" fmla="*/ 4711700 h 6832600"/>
                <a:gd name="connsiteX8" fmla="*/ 1702652 w 2337652"/>
                <a:gd name="connsiteY8" fmla="*/ 6832600 h 6832600"/>
                <a:gd name="connsiteX0" fmla="*/ 1737855 w 2372855"/>
                <a:gd name="connsiteY0" fmla="*/ 6832600 h 6832600"/>
                <a:gd name="connsiteX1" fmla="*/ 467855 w 2372855"/>
                <a:gd name="connsiteY1" fmla="*/ 6832600 h 6832600"/>
                <a:gd name="connsiteX2" fmla="*/ 86855 w 2372855"/>
                <a:gd name="connsiteY2" fmla="*/ 4737100 h 6832600"/>
                <a:gd name="connsiteX3" fmla="*/ 823455 w 2372855"/>
                <a:gd name="connsiteY3" fmla="*/ 1968500 h 6832600"/>
                <a:gd name="connsiteX4" fmla="*/ 1687055 w 2372855"/>
                <a:gd name="connsiteY4" fmla="*/ 12700 h 6832600"/>
                <a:gd name="connsiteX5" fmla="*/ 2372855 w 2372855"/>
                <a:gd name="connsiteY5" fmla="*/ 0 h 6832600"/>
                <a:gd name="connsiteX6" fmla="*/ 1725155 w 2372855"/>
                <a:gd name="connsiteY6" fmla="*/ 2044700 h 6832600"/>
                <a:gd name="connsiteX7" fmla="*/ 1394955 w 2372855"/>
                <a:gd name="connsiteY7" fmla="*/ 4711700 h 6832600"/>
                <a:gd name="connsiteX8" fmla="*/ 1737855 w 2372855"/>
                <a:gd name="connsiteY8" fmla="*/ 6832600 h 6832600"/>
                <a:gd name="connsiteX0" fmla="*/ 1722442 w 2357442"/>
                <a:gd name="connsiteY0" fmla="*/ 6832600 h 6832600"/>
                <a:gd name="connsiteX1" fmla="*/ 452442 w 2357442"/>
                <a:gd name="connsiteY1" fmla="*/ 6832600 h 6832600"/>
                <a:gd name="connsiteX2" fmla="*/ 71442 w 2357442"/>
                <a:gd name="connsiteY2" fmla="*/ 4737100 h 6832600"/>
                <a:gd name="connsiteX3" fmla="*/ 808042 w 2357442"/>
                <a:gd name="connsiteY3" fmla="*/ 1968500 h 6832600"/>
                <a:gd name="connsiteX4" fmla="*/ 1671642 w 2357442"/>
                <a:gd name="connsiteY4" fmla="*/ 12700 h 6832600"/>
                <a:gd name="connsiteX5" fmla="*/ 2357442 w 2357442"/>
                <a:gd name="connsiteY5" fmla="*/ 0 h 6832600"/>
                <a:gd name="connsiteX6" fmla="*/ 1709742 w 2357442"/>
                <a:gd name="connsiteY6" fmla="*/ 2044700 h 6832600"/>
                <a:gd name="connsiteX7" fmla="*/ 1379542 w 2357442"/>
                <a:gd name="connsiteY7" fmla="*/ 4711700 h 6832600"/>
                <a:gd name="connsiteX8" fmla="*/ 1722442 w 2357442"/>
                <a:gd name="connsiteY8" fmla="*/ 6832600 h 6832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57442" h="6832600">
                  <a:moveTo>
                    <a:pt x="1722442" y="6832600"/>
                  </a:moveTo>
                  <a:lnTo>
                    <a:pt x="452442" y="6832600"/>
                  </a:lnTo>
                  <a:lnTo>
                    <a:pt x="71442" y="4737100"/>
                  </a:lnTo>
                  <a:cubicBezTo>
                    <a:pt x="-148691" y="3708400"/>
                    <a:pt x="151875" y="3352800"/>
                    <a:pt x="808042" y="1968500"/>
                  </a:cubicBezTo>
                  <a:cubicBezTo>
                    <a:pt x="1070509" y="1282700"/>
                    <a:pt x="1383775" y="673100"/>
                    <a:pt x="1671642" y="12700"/>
                  </a:cubicBezTo>
                  <a:lnTo>
                    <a:pt x="2357442" y="0"/>
                  </a:lnTo>
                  <a:lnTo>
                    <a:pt x="1709742" y="2044700"/>
                  </a:lnTo>
                  <a:cubicBezTo>
                    <a:pt x="1273709" y="3416300"/>
                    <a:pt x="1142475" y="3619500"/>
                    <a:pt x="1379542" y="4711700"/>
                  </a:cubicBezTo>
                  <a:lnTo>
                    <a:pt x="1722442" y="6832600"/>
                  </a:lnTo>
                  <a:close/>
                </a:path>
              </a:pathLst>
            </a:custGeom>
            <a:gradFill>
              <a:gsLst>
                <a:gs pos="0">
                  <a:srgbClr val="478D39"/>
                </a:gs>
                <a:gs pos="100000">
                  <a:srgbClr val="78B944"/>
                </a:gs>
              </a:gsLst>
              <a:lin ang="8100000" scaled="1"/>
            </a:gradFill>
            <a:ln w="10795" cap="flat" cmpd="sng" algn="ctr">
              <a:noFill/>
              <a:prstDash val="solid"/>
            </a:ln>
            <a:effectLst/>
          </p:spPr>
          <p:txBody>
            <a:bodyPr wrap="square" rtlCol="0" anchor="t">
              <a:noAutofit/>
            </a:bodyPr>
            <a:lstStyle/>
            <a:p>
              <a:pPr marL="0" marR="0" lvl="0" indent="0" defTabSz="914400" eaLnBrk="1" fontAlgn="auto" latinLnBrk="0" hangingPunct="1">
                <a:lnSpc>
                  <a:spcPct val="90000"/>
                </a:lnSpc>
                <a:spcBef>
                  <a:spcPts val="0"/>
                </a:spcBef>
                <a:spcAft>
                  <a:spcPts val="1000"/>
                </a:spcAft>
                <a:buClrTx/>
                <a:buSzTx/>
                <a:buFontTx/>
                <a:buNone/>
                <a:tabLst/>
                <a:defRPr/>
              </a:pPr>
              <a:r>
                <a:rPr kumimoji="0" lang="en-US" sz="1200" b="0" i="0" u="none" strike="noStrike" kern="0" cap="none" spc="0" normalizeH="0" baseline="0" noProof="0">
                  <a:ln>
                    <a:noFill/>
                  </a:ln>
                  <a:solidFill>
                    <a:prstClr val="white"/>
                  </a:solidFill>
                  <a:effectLst/>
                  <a:uLnTx/>
                  <a:uFillTx/>
                  <a:latin typeface="+mn-lt"/>
                  <a:ea typeface="+mn-ea"/>
                  <a:cs typeface="+mn-cs"/>
                  <a:sym typeface="+mn-lt"/>
                </a:rPr>
                <a:t>g</a:t>
              </a:r>
            </a:p>
          </p:txBody>
        </p:sp>
      </p:grpSp>
      <p:grpSp>
        <p:nvGrpSpPr>
          <p:cNvPr id="19" name="Group 18">
            <a:extLst>
              <a:ext uri="{FF2B5EF4-FFF2-40B4-BE49-F238E27FC236}">
                <a16:creationId xmlns:a16="http://schemas.microsoft.com/office/drawing/2014/main" id="{5903E39D-F847-4F1D-B0CD-42258F92C69F}"/>
              </a:ext>
            </a:extLst>
          </p:cNvPr>
          <p:cNvGrpSpPr/>
          <p:nvPr userDrawn="1"/>
        </p:nvGrpSpPr>
        <p:grpSpPr>
          <a:xfrm>
            <a:off x="0" y="6768738"/>
            <a:ext cx="12198348" cy="91440"/>
            <a:chOff x="0" y="6768738"/>
            <a:chExt cx="12198348" cy="91440"/>
          </a:xfrm>
        </p:grpSpPr>
        <p:sp>
          <p:nvSpPr>
            <p:cNvPr id="20" name="Rectangle 19">
              <a:extLst>
                <a:ext uri="{FF2B5EF4-FFF2-40B4-BE49-F238E27FC236}">
                  <a16:creationId xmlns:a16="http://schemas.microsoft.com/office/drawing/2014/main" id="{3F42D740-F646-4A44-8790-B7DC2BF8B3EC}"/>
                </a:ext>
              </a:extLst>
            </p:cNvPr>
            <p:cNvSpPr/>
            <p:nvPr userDrawn="1"/>
          </p:nvSpPr>
          <p:spPr>
            <a:xfrm>
              <a:off x="0" y="6814458"/>
              <a:ext cx="12198348" cy="45720"/>
            </a:xfrm>
            <a:prstGeom prst="rect">
              <a:avLst/>
            </a:prstGeom>
            <a:solidFill>
              <a:srgbClr val="B8D6AB"/>
            </a:solidFill>
            <a:ln w="9525" cap="rnd"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mn-lt"/>
                <a:ea typeface="+mn-ea"/>
                <a:cs typeface="+mn-cs"/>
                <a:sym typeface="+mn-lt"/>
              </a:endParaRPr>
            </a:p>
          </p:txBody>
        </p:sp>
        <p:sp>
          <p:nvSpPr>
            <p:cNvPr id="21" name="Rectangle 20">
              <a:extLst>
                <a:ext uri="{FF2B5EF4-FFF2-40B4-BE49-F238E27FC236}">
                  <a16:creationId xmlns:a16="http://schemas.microsoft.com/office/drawing/2014/main" id="{01CC8422-D213-4341-A6D9-38C8CB03C803}"/>
                </a:ext>
              </a:extLst>
            </p:cNvPr>
            <p:cNvSpPr/>
            <p:nvPr userDrawn="1"/>
          </p:nvSpPr>
          <p:spPr>
            <a:xfrm>
              <a:off x="0" y="6768738"/>
              <a:ext cx="12198348" cy="45720"/>
            </a:xfrm>
            <a:prstGeom prst="rect">
              <a:avLst/>
            </a:prstGeom>
            <a:solidFill>
              <a:srgbClr val="64A35A"/>
            </a:solidFill>
            <a:ln w="9525" cap="rnd"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mn-lt"/>
                <a:ea typeface="+mn-ea"/>
                <a:cs typeface="+mn-cs"/>
                <a:sym typeface="+mn-lt"/>
              </a:endParaRPr>
            </a:p>
          </p:txBody>
        </p:sp>
      </p:grpSp>
      <p:sp>
        <p:nvSpPr>
          <p:cNvPr id="22" name="TextBox 21">
            <a:extLst>
              <a:ext uri="{FF2B5EF4-FFF2-40B4-BE49-F238E27FC236}">
                <a16:creationId xmlns:a16="http://schemas.microsoft.com/office/drawing/2014/main" id="{047655C1-4DA8-48F6-A063-67241FC5AFFA}"/>
              </a:ext>
            </a:extLst>
          </p:cNvPr>
          <p:cNvSpPr txBox="1"/>
          <p:nvPr userDrawn="1"/>
        </p:nvSpPr>
        <p:spPr>
          <a:xfrm>
            <a:off x="630000" y="6369978"/>
            <a:ext cx="1878250" cy="170067"/>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04E2A"/>
                </a:solidFill>
                <a:effectLst/>
                <a:uLnTx/>
                <a:uFillTx/>
                <a:latin typeface="+mn-lt"/>
                <a:ea typeface="+mn-ea"/>
                <a:cs typeface="+mn-cs"/>
                <a:sym typeface="+mn-lt"/>
              </a:rPr>
              <a:t>www.vietcombank.com.vn</a:t>
            </a:r>
          </a:p>
        </p:txBody>
      </p:sp>
      <p:grpSp>
        <p:nvGrpSpPr>
          <p:cNvPr id="23" name="Group 22">
            <a:extLst>
              <a:ext uri="{FF2B5EF4-FFF2-40B4-BE49-F238E27FC236}">
                <a16:creationId xmlns:a16="http://schemas.microsoft.com/office/drawing/2014/main" id="{93165D5C-A7D7-406F-839E-92FD365239C8}"/>
              </a:ext>
            </a:extLst>
          </p:cNvPr>
          <p:cNvGrpSpPr/>
          <p:nvPr userDrawn="1"/>
        </p:nvGrpSpPr>
        <p:grpSpPr>
          <a:xfrm>
            <a:off x="630000" y="622800"/>
            <a:ext cx="4462732" cy="1884094"/>
            <a:chOff x="630000" y="622800"/>
            <a:chExt cx="1954766" cy="825271"/>
          </a:xfrm>
        </p:grpSpPr>
        <p:pic>
          <p:nvPicPr>
            <p:cNvPr id="24" name="Picture 54" descr="Image result for Vietcombank">
              <a:extLst>
                <a:ext uri="{FF2B5EF4-FFF2-40B4-BE49-F238E27FC236}">
                  <a16:creationId xmlns:a16="http://schemas.microsoft.com/office/drawing/2014/main" id="{FA9F5F49-E630-40E9-B764-2DA979629841}"/>
                </a:ext>
              </a:extLst>
            </p:cNvPr>
            <p:cNvPicPr>
              <a:picLocks noChangeAspect="1" noChangeArrowheads="1"/>
            </p:cNvPicPr>
            <p:nvPr userDrawn="1"/>
          </p:nvPicPr>
          <p:blipFill>
            <a:blip r:embed="rId5" cstate="print">
              <a:extLst>
                <a:ext uri="{28A0092B-C50C-407E-A947-70E740481C1C}">
                  <a14:useLocalDpi xmlns:a14="http://schemas.microsoft.com/office/drawing/2010/main"/>
                </a:ext>
              </a:extLst>
            </a:blip>
            <a:srcRect/>
            <a:stretch>
              <a:fillRect/>
            </a:stretch>
          </p:blipFill>
          <p:spPr bwMode="auto">
            <a:xfrm>
              <a:off x="630000" y="622800"/>
              <a:ext cx="1954766" cy="666248"/>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65" descr="Related image">
              <a:extLst>
                <a:ext uri="{FF2B5EF4-FFF2-40B4-BE49-F238E27FC236}">
                  <a16:creationId xmlns:a16="http://schemas.microsoft.com/office/drawing/2014/main" id="{CDF17B61-CFC7-4A3F-9339-B805B19EAA61}"/>
                </a:ext>
              </a:extLst>
            </p:cNvPr>
            <p:cNvPicPr>
              <a:picLocks noChangeAspect="1" noChangeArrowheads="1"/>
            </p:cNvPicPr>
            <p:nvPr userDrawn="1"/>
          </p:nvPicPr>
          <p:blipFill rotWithShape="1">
            <a:blip r:embed="rId6" cstate="print">
              <a:extLst>
                <a:ext uri="{28A0092B-C50C-407E-A947-70E740481C1C}">
                  <a14:useLocalDpi xmlns:a14="http://schemas.microsoft.com/office/drawing/2010/main"/>
                </a:ext>
              </a:extLst>
            </a:blip>
            <a:srcRect/>
            <a:stretch/>
          </p:blipFill>
          <p:spPr bwMode="auto">
            <a:xfrm>
              <a:off x="1269283" y="1317896"/>
              <a:ext cx="1315483" cy="130175"/>
            </a:xfrm>
            <a:prstGeom prst="rect">
              <a:avLst/>
            </a:prstGeom>
            <a:noFill/>
            <a:extLst>
              <a:ext uri="{909E8E84-426E-40DD-AFC4-6F175D3DCCD1}">
                <a14:hiddenFill xmlns:a14="http://schemas.microsoft.com/office/drawing/2010/main">
                  <a:solidFill>
                    <a:srgbClr val="FFFFFF"/>
                  </a:solidFill>
                </a14:hiddenFill>
              </a:ext>
            </a:extLst>
          </p:spPr>
        </p:pic>
      </p:grpSp>
      <p:sp>
        <p:nvSpPr>
          <p:cNvPr id="26" name="TextBox 25">
            <a:extLst>
              <a:ext uri="{FF2B5EF4-FFF2-40B4-BE49-F238E27FC236}">
                <a16:creationId xmlns:a16="http://schemas.microsoft.com/office/drawing/2014/main" id="{8F245861-8E98-414C-AC72-6321318634B8}"/>
              </a:ext>
            </a:extLst>
          </p:cNvPr>
          <p:cNvSpPr txBox="1"/>
          <p:nvPr userDrawn="1"/>
        </p:nvSpPr>
        <p:spPr>
          <a:xfrm>
            <a:off x="630000" y="3411995"/>
            <a:ext cx="4462732" cy="1751480"/>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5400" b="0" i="0" u="none" strike="noStrike" kern="0" cap="none" spc="0" normalizeH="0" baseline="0" noProof="0">
                <a:ln>
                  <a:noFill/>
                </a:ln>
                <a:solidFill>
                  <a:srgbClr val="000000"/>
                </a:solidFill>
                <a:effectLst/>
                <a:uLnTx/>
                <a:uFillTx/>
                <a:latin typeface="+mn-lt"/>
                <a:ea typeface="+mn-ea"/>
                <a:cs typeface="+mn-cs"/>
                <a:sym typeface="+mn-lt"/>
              </a:rPr>
              <a:t>Thank You</a:t>
            </a:r>
          </a:p>
        </p:txBody>
      </p:sp>
      <p:grpSp>
        <p:nvGrpSpPr>
          <p:cNvPr id="27" name="Group 26">
            <a:extLst>
              <a:ext uri="{FF2B5EF4-FFF2-40B4-BE49-F238E27FC236}">
                <a16:creationId xmlns:a16="http://schemas.microsoft.com/office/drawing/2014/main" id="{435D6EB0-4470-4AB7-8688-5A50E923C1E0}"/>
              </a:ext>
            </a:extLst>
          </p:cNvPr>
          <p:cNvGrpSpPr/>
          <p:nvPr userDrawn="1"/>
        </p:nvGrpSpPr>
        <p:grpSpPr>
          <a:xfrm>
            <a:off x="1508704" y="2918575"/>
            <a:ext cx="2705323" cy="914400"/>
            <a:chOff x="1911810" y="2918575"/>
            <a:chExt cx="2705323" cy="914400"/>
          </a:xfrm>
        </p:grpSpPr>
        <p:pic>
          <p:nvPicPr>
            <p:cNvPr id="28" name="Picture 27" descr="Diagram&#10;&#10;Description automatically generated">
              <a:extLst>
                <a:ext uri="{FF2B5EF4-FFF2-40B4-BE49-F238E27FC236}">
                  <a16:creationId xmlns:a16="http://schemas.microsoft.com/office/drawing/2014/main" id="{AC348C86-06AD-4577-9935-7C8B01C0DFE2}"/>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l="41793" t="2693" r="39762" b="65918"/>
            <a:stretch/>
          </p:blipFill>
          <p:spPr>
            <a:xfrm>
              <a:off x="1911810" y="2918575"/>
              <a:ext cx="955245" cy="914400"/>
            </a:xfrm>
            <a:prstGeom prst="rect">
              <a:avLst/>
            </a:prstGeom>
          </p:spPr>
        </p:pic>
        <p:sp>
          <p:nvSpPr>
            <p:cNvPr id="29" name="Freeform 5">
              <a:extLst>
                <a:ext uri="{FF2B5EF4-FFF2-40B4-BE49-F238E27FC236}">
                  <a16:creationId xmlns:a16="http://schemas.microsoft.com/office/drawing/2014/main" id="{F4E9A905-D58F-4A03-AD43-4856C0D91DF1}"/>
                </a:ext>
              </a:extLst>
            </p:cNvPr>
            <p:cNvSpPr>
              <a:spLocks noChangeAspect="1" noEditPoints="1"/>
            </p:cNvSpPr>
            <p:nvPr/>
          </p:nvSpPr>
          <p:spPr bwMode="auto">
            <a:xfrm>
              <a:off x="3285327" y="3101455"/>
              <a:ext cx="1331806" cy="548640"/>
            </a:xfrm>
            <a:custGeom>
              <a:avLst/>
              <a:gdLst>
                <a:gd name="T0" fmla="*/ 395 w 395"/>
                <a:gd name="T1" fmla="*/ 73 h 160"/>
                <a:gd name="T2" fmla="*/ 363 w 395"/>
                <a:gd name="T3" fmla="*/ 67 h 160"/>
                <a:gd name="T4" fmla="*/ 323 w 395"/>
                <a:gd name="T5" fmla="*/ 81 h 160"/>
                <a:gd name="T6" fmla="*/ 361 w 395"/>
                <a:gd name="T7" fmla="*/ 96 h 160"/>
                <a:gd name="T8" fmla="*/ 318 w 395"/>
                <a:gd name="T9" fmla="*/ 130 h 160"/>
                <a:gd name="T10" fmla="*/ 270 w 395"/>
                <a:gd name="T11" fmla="*/ 80 h 160"/>
                <a:gd name="T12" fmla="*/ 318 w 395"/>
                <a:gd name="T13" fmla="*/ 31 h 160"/>
                <a:gd name="T14" fmla="*/ 349 w 395"/>
                <a:gd name="T15" fmla="*/ 41 h 160"/>
                <a:gd name="T16" fmla="*/ 365 w 395"/>
                <a:gd name="T17" fmla="*/ 14 h 160"/>
                <a:gd name="T18" fmla="*/ 319 w 395"/>
                <a:gd name="T19" fmla="*/ 0 h 160"/>
                <a:gd name="T20" fmla="*/ 261 w 395"/>
                <a:gd name="T21" fmla="*/ 23 h 160"/>
                <a:gd name="T22" fmla="*/ 219 w 395"/>
                <a:gd name="T23" fmla="*/ 115 h 160"/>
                <a:gd name="T24" fmla="*/ 184 w 395"/>
                <a:gd name="T25" fmla="*/ 129 h 160"/>
                <a:gd name="T26" fmla="*/ 134 w 395"/>
                <a:gd name="T27" fmla="*/ 80 h 160"/>
                <a:gd name="T28" fmla="*/ 184 w 395"/>
                <a:gd name="T29" fmla="*/ 30 h 160"/>
                <a:gd name="T30" fmla="*/ 214 w 395"/>
                <a:gd name="T31" fmla="*/ 40 h 160"/>
                <a:gd name="T32" fmla="*/ 231 w 395"/>
                <a:gd name="T33" fmla="*/ 14 h 160"/>
                <a:gd name="T34" fmla="*/ 184 w 395"/>
                <a:gd name="T35" fmla="*/ 0 h 160"/>
                <a:gd name="T36" fmla="*/ 118 w 395"/>
                <a:gd name="T37" fmla="*/ 33 h 160"/>
                <a:gd name="T38" fmla="*/ 72 w 395"/>
                <a:gd name="T39" fmla="*/ 3 h 160"/>
                <a:gd name="T40" fmla="*/ 0 w 395"/>
                <a:gd name="T41" fmla="*/ 3 h 160"/>
                <a:gd name="T42" fmla="*/ 0 w 395"/>
                <a:gd name="T43" fmla="*/ 157 h 160"/>
                <a:gd name="T44" fmla="*/ 105 w 395"/>
                <a:gd name="T45" fmla="*/ 150 h 160"/>
                <a:gd name="T46" fmla="*/ 149 w 395"/>
                <a:gd name="T47" fmla="*/ 153 h 160"/>
                <a:gd name="T48" fmla="*/ 222 w 395"/>
                <a:gd name="T49" fmla="*/ 151 h 160"/>
                <a:gd name="T50" fmla="*/ 278 w 395"/>
                <a:gd name="T51" fmla="*/ 151 h 160"/>
                <a:gd name="T52" fmla="*/ 373 w 395"/>
                <a:gd name="T53" fmla="*/ 137 h 160"/>
                <a:gd name="T54" fmla="*/ 33 w 395"/>
                <a:gd name="T55" fmla="*/ 65 h 160"/>
                <a:gd name="T56" fmla="*/ 71 w 395"/>
                <a:gd name="T57" fmla="*/ 32 h 160"/>
                <a:gd name="T58" fmla="*/ 88 w 395"/>
                <a:gd name="T59" fmla="*/ 48 h 160"/>
                <a:gd name="T60" fmla="*/ 71 w 395"/>
                <a:gd name="T61" fmla="*/ 65 h 160"/>
                <a:gd name="T62" fmla="*/ 33 w 395"/>
                <a:gd name="T63" fmla="*/ 65 h 160"/>
                <a:gd name="T64" fmla="*/ 33 w 395"/>
                <a:gd name="T65" fmla="*/ 93 h 160"/>
                <a:gd name="T66" fmla="*/ 92 w 395"/>
                <a:gd name="T67" fmla="*/ 98 h 160"/>
                <a:gd name="T68" fmla="*/ 92 w 395"/>
                <a:gd name="T69" fmla="*/ 123 h 160"/>
                <a:gd name="T70" fmla="*/ 56 w 395"/>
                <a:gd name="T71" fmla="*/ 128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95" h="160">
                  <a:moveTo>
                    <a:pt x="395" y="80"/>
                  </a:moveTo>
                  <a:cubicBezTo>
                    <a:pt x="395" y="78"/>
                    <a:pt x="395" y="75"/>
                    <a:pt x="395" y="73"/>
                  </a:cubicBezTo>
                  <a:cubicBezTo>
                    <a:pt x="395" y="71"/>
                    <a:pt x="395" y="69"/>
                    <a:pt x="394" y="67"/>
                  </a:cubicBezTo>
                  <a:cubicBezTo>
                    <a:pt x="363" y="67"/>
                    <a:pt x="363" y="67"/>
                    <a:pt x="363" y="67"/>
                  </a:cubicBezTo>
                  <a:cubicBezTo>
                    <a:pt x="332" y="67"/>
                    <a:pt x="332" y="67"/>
                    <a:pt x="332" y="67"/>
                  </a:cubicBezTo>
                  <a:cubicBezTo>
                    <a:pt x="323" y="81"/>
                    <a:pt x="323" y="81"/>
                    <a:pt x="323" y="81"/>
                  </a:cubicBezTo>
                  <a:cubicBezTo>
                    <a:pt x="313" y="96"/>
                    <a:pt x="313" y="96"/>
                    <a:pt x="313" y="96"/>
                  </a:cubicBezTo>
                  <a:cubicBezTo>
                    <a:pt x="361" y="96"/>
                    <a:pt x="361" y="96"/>
                    <a:pt x="361" y="96"/>
                  </a:cubicBezTo>
                  <a:cubicBezTo>
                    <a:pt x="358" y="106"/>
                    <a:pt x="353" y="114"/>
                    <a:pt x="346" y="120"/>
                  </a:cubicBezTo>
                  <a:cubicBezTo>
                    <a:pt x="338" y="126"/>
                    <a:pt x="329" y="130"/>
                    <a:pt x="318" y="130"/>
                  </a:cubicBezTo>
                  <a:cubicBezTo>
                    <a:pt x="305" y="130"/>
                    <a:pt x="292" y="124"/>
                    <a:pt x="284" y="115"/>
                  </a:cubicBezTo>
                  <a:cubicBezTo>
                    <a:pt x="275" y="106"/>
                    <a:pt x="270" y="93"/>
                    <a:pt x="270" y="80"/>
                  </a:cubicBezTo>
                  <a:cubicBezTo>
                    <a:pt x="270" y="66"/>
                    <a:pt x="275" y="54"/>
                    <a:pt x="284" y="45"/>
                  </a:cubicBezTo>
                  <a:cubicBezTo>
                    <a:pt x="293" y="36"/>
                    <a:pt x="305" y="31"/>
                    <a:pt x="318" y="31"/>
                  </a:cubicBezTo>
                  <a:cubicBezTo>
                    <a:pt x="324" y="31"/>
                    <a:pt x="330" y="32"/>
                    <a:pt x="335" y="33"/>
                  </a:cubicBezTo>
                  <a:cubicBezTo>
                    <a:pt x="340" y="35"/>
                    <a:pt x="345" y="37"/>
                    <a:pt x="349" y="41"/>
                  </a:cubicBezTo>
                  <a:cubicBezTo>
                    <a:pt x="357" y="27"/>
                    <a:pt x="357" y="27"/>
                    <a:pt x="357" y="27"/>
                  </a:cubicBezTo>
                  <a:cubicBezTo>
                    <a:pt x="365" y="14"/>
                    <a:pt x="365" y="14"/>
                    <a:pt x="365" y="14"/>
                  </a:cubicBezTo>
                  <a:cubicBezTo>
                    <a:pt x="359" y="10"/>
                    <a:pt x="352" y="6"/>
                    <a:pt x="344" y="4"/>
                  </a:cubicBezTo>
                  <a:cubicBezTo>
                    <a:pt x="336" y="1"/>
                    <a:pt x="328" y="0"/>
                    <a:pt x="319" y="0"/>
                  </a:cubicBezTo>
                  <a:cubicBezTo>
                    <a:pt x="307" y="0"/>
                    <a:pt x="296" y="2"/>
                    <a:pt x="286" y="6"/>
                  </a:cubicBezTo>
                  <a:cubicBezTo>
                    <a:pt x="277" y="10"/>
                    <a:pt x="268" y="16"/>
                    <a:pt x="261" y="23"/>
                  </a:cubicBezTo>
                  <a:cubicBezTo>
                    <a:pt x="244" y="40"/>
                    <a:pt x="239" y="57"/>
                    <a:pt x="236" y="73"/>
                  </a:cubicBezTo>
                  <a:cubicBezTo>
                    <a:pt x="232" y="89"/>
                    <a:pt x="230" y="103"/>
                    <a:pt x="219" y="115"/>
                  </a:cubicBezTo>
                  <a:cubicBezTo>
                    <a:pt x="214" y="119"/>
                    <a:pt x="209" y="123"/>
                    <a:pt x="203" y="126"/>
                  </a:cubicBezTo>
                  <a:cubicBezTo>
                    <a:pt x="197" y="128"/>
                    <a:pt x="191" y="129"/>
                    <a:pt x="184" y="129"/>
                  </a:cubicBezTo>
                  <a:cubicBezTo>
                    <a:pt x="170" y="129"/>
                    <a:pt x="158" y="124"/>
                    <a:pt x="149" y="115"/>
                  </a:cubicBezTo>
                  <a:cubicBezTo>
                    <a:pt x="140" y="106"/>
                    <a:pt x="134" y="93"/>
                    <a:pt x="134" y="80"/>
                  </a:cubicBezTo>
                  <a:cubicBezTo>
                    <a:pt x="134" y="67"/>
                    <a:pt x="140" y="54"/>
                    <a:pt x="149" y="45"/>
                  </a:cubicBezTo>
                  <a:cubicBezTo>
                    <a:pt x="158" y="36"/>
                    <a:pt x="170" y="31"/>
                    <a:pt x="184" y="30"/>
                  </a:cubicBezTo>
                  <a:cubicBezTo>
                    <a:pt x="190" y="31"/>
                    <a:pt x="195" y="31"/>
                    <a:pt x="200" y="33"/>
                  </a:cubicBezTo>
                  <a:cubicBezTo>
                    <a:pt x="205" y="35"/>
                    <a:pt x="210" y="37"/>
                    <a:pt x="214" y="40"/>
                  </a:cubicBezTo>
                  <a:cubicBezTo>
                    <a:pt x="222" y="27"/>
                    <a:pt x="222" y="27"/>
                    <a:pt x="222" y="27"/>
                  </a:cubicBezTo>
                  <a:cubicBezTo>
                    <a:pt x="231" y="14"/>
                    <a:pt x="231" y="14"/>
                    <a:pt x="231" y="14"/>
                  </a:cubicBezTo>
                  <a:cubicBezTo>
                    <a:pt x="224" y="9"/>
                    <a:pt x="217" y="6"/>
                    <a:pt x="209" y="3"/>
                  </a:cubicBezTo>
                  <a:cubicBezTo>
                    <a:pt x="202" y="1"/>
                    <a:pt x="193" y="0"/>
                    <a:pt x="184" y="0"/>
                  </a:cubicBezTo>
                  <a:cubicBezTo>
                    <a:pt x="170" y="0"/>
                    <a:pt x="157" y="3"/>
                    <a:pt x="146" y="9"/>
                  </a:cubicBezTo>
                  <a:cubicBezTo>
                    <a:pt x="135" y="15"/>
                    <a:pt x="125" y="23"/>
                    <a:pt x="118" y="33"/>
                  </a:cubicBezTo>
                  <a:cubicBezTo>
                    <a:pt x="115" y="25"/>
                    <a:pt x="109" y="17"/>
                    <a:pt x="101" y="12"/>
                  </a:cubicBezTo>
                  <a:cubicBezTo>
                    <a:pt x="93" y="6"/>
                    <a:pt x="83" y="3"/>
                    <a:pt x="72" y="3"/>
                  </a:cubicBezTo>
                  <a:cubicBezTo>
                    <a:pt x="36" y="3"/>
                    <a:pt x="36" y="3"/>
                    <a:pt x="36" y="3"/>
                  </a:cubicBezTo>
                  <a:cubicBezTo>
                    <a:pt x="0" y="3"/>
                    <a:pt x="0" y="3"/>
                    <a:pt x="0" y="3"/>
                  </a:cubicBezTo>
                  <a:cubicBezTo>
                    <a:pt x="0" y="80"/>
                    <a:pt x="0" y="80"/>
                    <a:pt x="0" y="80"/>
                  </a:cubicBezTo>
                  <a:cubicBezTo>
                    <a:pt x="0" y="157"/>
                    <a:pt x="0" y="157"/>
                    <a:pt x="0" y="157"/>
                  </a:cubicBezTo>
                  <a:cubicBezTo>
                    <a:pt x="79" y="157"/>
                    <a:pt x="79" y="157"/>
                    <a:pt x="79" y="157"/>
                  </a:cubicBezTo>
                  <a:cubicBezTo>
                    <a:pt x="89" y="157"/>
                    <a:pt x="98" y="154"/>
                    <a:pt x="105" y="150"/>
                  </a:cubicBezTo>
                  <a:cubicBezTo>
                    <a:pt x="113" y="146"/>
                    <a:pt x="119" y="140"/>
                    <a:pt x="123" y="133"/>
                  </a:cubicBezTo>
                  <a:cubicBezTo>
                    <a:pt x="130" y="142"/>
                    <a:pt x="139" y="148"/>
                    <a:pt x="149" y="153"/>
                  </a:cubicBezTo>
                  <a:cubicBezTo>
                    <a:pt x="159" y="157"/>
                    <a:pt x="171" y="160"/>
                    <a:pt x="183" y="160"/>
                  </a:cubicBezTo>
                  <a:cubicBezTo>
                    <a:pt x="197" y="160"/>
                    <a:pt x="210" y="157"/>
                    <a:pt x="222" y="151"/>
                  </a:cubicBezTo>
                  <a:cubicBezTo>
                    <a:pt x="233" y="145"/>
                    <a:pt x="243" y="136"/>
                    <a:pt x="250" y="126"/>
                  </a:cubicBezTo>
                  <a:cubicBezTo>
                    <a:pt x="257" y="136"/>
                    <a:pt x="267" y="145"/>
                    <a:pt x="278" y="151"/>
                  </a:cubicBezTo>
                  <a:cubicBezTo>
                    <a:pt x="290" y="157"/>
                    <a:pt x="303" y="160"/>
                    <a:pt x="317" y="160"/>
                  </a:cubicBezTo>
                  <a:cubicBezTo>
                    <a:pt x="339" y="160"/>
                    <a:pt x="359" y="151"/>
                    <a:pt x="373" y="137"/>
                  </a:cubicBezTo>
                  <a:cubicBezTo>
                    <a:pt x="387" y="122"/>
                    <a:pt x="395" y="102"/>
                    <a:pt x="395" y="80"/>
                  </a:cubicBezTo>
                  <a:close/>
                  <a:moveTo>
                    <a:pt x="33" y="65"/>
                  </a:moveTo>
                  <a:cubicBezTo>
                    <a:pt x="33" y="32"/>
                    <a:pt x="33" y="32"/>
                    <a:pt x="33" y="32"/>
                  </a:cubicBezTo>
                  <a:cubicBezTo>
                    <a:pt x="71" y="32"/>
                    <a:pt x="71" y="32"/>
                    <a:pt x="71" y="32"/>
                  </a:cubicBezTo>
                  <a:cubicBezTo>
                    <a:pt x="76" y="32"/>
                    <a:pt x="80" y="34"/>
                    <a:pt x="83" y="36"/>
                  </a:cubicBezTo>
                  <a:cubicBezTo>
                    <a:pt x="86" y="39"/>
                    <a:pt x="88" y="44"/>
                    <a:pt x="88" y="48"/>
                  </a:cubicBezTo>
                  <a:cubicBezTo>
                    <a:pt x="88" y="53"/>
                    <a:pt x="86" y="57"/>
                    <a:pt x="83" y="60"/>
                  </a:cubicBezTo>
                  <a:cubicBezTo>
                    <a:pt x="80" y="64"/>
                    <a:pt x="76" y="65"/>
                    <a:pt x="71" y="65"/>
                  </a:cubicBezTo>
                  <a:cubicBezTo>
                    <a:pt x="52" y="65"/>
                    <a:pt x="52" y="65"/>
                    <a:pt x="52" y="65"/>
                  </a:cubicBezTo>
                  <a:cubicBezTo>
                    <a:pt x="33" y="65"/>
                    <a:pt x="33" y="65"/>
                    <a:pt x="33" y="65"/>
                  </a:cubicBezTo>
                  <a:close/>
                  <a:moveTo>
                    <a:pt x="33" y="128"/>
                  </a:moveTo>
                  <a:cubicBezTo>
                    <a:pt x="33" y="93"/>
                    <a:pt x="33" y="93"/>
                    <a:pt x="33" y="93"/>
                  </a:cubicBezTo>
                  <a:cubicBezTo>
                    <a:pt x="79" y="93"/>
                    <a:pt x="79" y="93"/>
                    <a:pt x="79" y="93"/>
                  </a:cubicBezTo>
                  <a:cubicBezTo>
                    <a:pt x="84" y="93"/>
                    <a:pt x="88" y="95"/>
                    <a:pt x="92" y="98"/>
                  </a:cubicBezTo>
                  <a:cubicBezTo>
                    <a:pt x="95" y="101"/>
                    <a:pt x="97" y="106"/>
                    <a:pt x="97" y="111"/>
                  </a:cubicBezTo>
                  <a:cubicBezTo>
                    <a:pt x="97" y="116"/>
                    <a:pt x="95" y="120"/>
                    <a:pt x="92" y="123"/>
                  </a:cubicBezTo>
                  <a:cubicBezTo>
                    <a:pt x="88" y="126"/>
                    <a:pt x="84" y="128"/>
                    <a:pt x="79" y="128"/>
                  </a:cubicBezTo>
                  <a:cubicBezTo>
                    <a:pt x="56" y="128"/>
                    <a:pt x="56" y="128"/>
                    <a:pt x="56" y="128"/>
                  </a:cubicBezTo>
                  <a:cubicBezTo>
                    <a:pt x="33" y="128"/>
                    <a:pt x="33" y="128"/>
                    <a:pt x="33" y="128"/>
                  </a:cubicBezTo>
                  <a:close/>
                </a:path>
              </a:pathLst>
            </a:custGeom>
            <a:solidFill>
              <a:srgbClr val="177B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grpSp>
    </p:spTree>
    <p:extLst>
      <p:ext uri="{BB962C8B-B14F-4D97-AF65-F5344CB8AC3E}">
        <p14:creationId xmlns:p14="http://schemas.microsoft.com/office/powerpoint/2010/main" val="196628281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4461430-88C3-488B-A9D5-2B7F6F8FFF6C}"/>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Object 1" hidden="1">
                        <a:extLst>
                          <a:ext uri="{FF2B5EF4-FFF2-40B4-BE49-F238E27FC236}">
                            <a16:creationId xmlns:a16="http://schemas.microsoft.com/office/drawing/2014/main" id="{54461430-88C3-488B-A9D5-2B7F6F8FFF6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pic>
        <p:nvPicPr>
          <p:cNvPr id="93" name="Graphic 92">
            <a:extLst>
              <a:ext uri="{FF2B5EF4-FFF2-40B4-BE49-F238E27FC236}">
                <a16:creationId xmlns:a16="http://schemas.microsoft.com/office/drawing/2014/main" id="{E3E9FA39-7AB3-4B26-982D-4789FE1E64DC}"/>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428018" y="6271005"/>
            <a:ext cx="498632" cy="517662"/>
          </a:xfrm>
          <a:prstGeom prst="rect">
            <a:avLst/>
          </a:prstGeom>
        </p:spPr>
      </p:pic>
      <p:grpSp>
        <p:nvGrpSpPr>
          <p:cNvPr id="55" name="Group 54">
            <a:extLst>
              <a:ext uri="{FF2B5EF4-FFF2-40B4-BE49-F238E27FC236}">
                <a16:creationId xmlns:a16="http://schemas.microsoft.com/office/drawing/2014/main" id="{BC9AB5BD-8A98-4549-B03C-386B4A4A002F}"/>
              </a:ext>
            </a:extLst>
          </p:cNvPr>
          <p:cNvGrpSpPr/>
          <p:nvPr userDrawn="1"/>
        </p:nvGrpSpPr>
        <p:grpSpPr>
          <a:xfrm>
            <a:off x="-600" y="-1"/>
            <a:ext cx="12193800" cy="6858001"/>
            <a:chOff x="-600" y="-1"/>
            <a:chExt cx="12193800" cy="6858001"/>
          </a:xfrm>
        </p:grpSpPr>
        <p:sp>
          <p:nvSpPr>
            <p:cNvPr id="94" name="Freeform: Shape 93">
              <a:extLst>
                <a:ext uri="{FF2B5EF4-FFF2-40B4-BE49-F238E27FC236}">
                  <a16:creationId xmlns:a16="http://schemas.microsoft.com/office/drawing/2014/main" id="{F6CD757F-2B7D-4CF6-A662-9F8A636A11D8}"/>
                </a:ext>
              </a:extLst>
            </p:cNvPr>
            <p:cNvSpPr/>
            <p:nvPr/>
          </p:nvSpPr>
          <p:spPr>
            <a:xfrm>
              <a:off x="0" y="-1"/>
              <a:ext cx="12193200" cy="6858000"/>
            </a:xfrm>
            <a:custGeom>
              <a:avLst/>
              <a:gdLst>
                <a:gd name="connsiteX0" fmla="*/ 630001 w 12193200"/>
                <a:gd name="connsiteY0" fmla="*/ 622800 h 6858000"/>
                <a:gd name="connsiteX1" fmla="*/ 630001 w 12193200"/>
                <a:gd name="connsiteY1" fmla="*/ 5806362 h 6858000"/>
                <a:gd name="connsiteX2" fmla="*/ 629400 w 12193200"/>
                <a:gd name="connsiteY2" fmla="*/ 5806362 h 6858000"/>
                <a:gd name="connsiteX3" fmla="*/ 629400 w 12193200"/>
                <a:gd name="connsiteY3" fmla="*/ 6720762 h 6858000"/>
                <a:gd name="connsiteX4" fmla="*/ 11562600 w 12193200"/>
                <a:gd name="connsiteY4" fmla="*/ 6720762 h 6858000"/>
                <a:gd name="connsiteX5" fmla="*/ 11562600 w 12193200"/>
                <a:gd name="connsiteY5" fmla="*/ 5806362 h 6858000"/>
                <a:gd name="connsiteX6" fmla="*/ 11562000 w 12193200"/>
                <a:gd name="connsiteY6" fmla="*/ 5806362 h 6858000"/>
                <a:gd name="connsiteX7" fmla="*/ 11562000 w 12193200"/>
                <a:gd name="connsiteY7" fmla="*/ 622800 h 6858000"/>
                <a:gd name="connsiteX8" fmla="*/ 0 w 12193200"/>
                <a:gd name="connsiteY8" fmla="*/ 0 h 6858000"/>
                <a:gd name="connsiteX9" fmla="*/ 12193200 w 12193200"/>
                <a:gd name="connsiteY9" fmla="*/ 0 h 6858000"/>
                <a:gd name="connsiteX10" fmla="*/ 12193200 w 12193200"/>
                <a:gd name="connsiteY10" fmla="*/ 622800 h 6858000"/>
                <a:gd name="connsiteX11" fmla="*/ 12192000 w 12193200"/>
                <a:gd name="connsiteY11" fmla="*/ 622800 h 6858000"/>
                <a:gd name="connsiteX12" fmla="*/ 12192000 w 12193200"/>
                <a:gd name="connsiteY12" fmla="*/ 6160597 h 6858000"/>
                <a:gd name="connsiteX13" fmla="*/ 12193200 w 12193200"/>
                <a:gd name="connsiteY13" fmla="*/ 6160597 h 6858000"/>
                <a:gd name="connsiteX14" fmla="*/ 12193200 w 12193200"/>
                <a:gd name="connsiteY14" fmla="*/ 6858000 h 6858000"/>
                <a:gd name="connsiteX15" fmla="*/ 12192000 w 12193200"/>
                <a:gd name="connsiteY15" fmla="*/ 6858000 h 6858000"/>
                <a:gd name="connsiteX16" fmla="*/ 11562000 w 12193200"/>
                <a:gd name="connsiteY16" fmla="*/ 6858000 h 6858000"/>
                <a:gd name="connsiteX17" fmla="*/ 630001 w 12193200"/>
                <a:gd name="connsiteY17" fmla="*/ 6858000 h 6858000"/>
                <a:gd name="connsiteX18" fmla="*/ 1 w 12193200"/>
                <a:gd name="connsiteY18" fmla="*/ 6858000 h 6858000"/>
                <a:gd name="connsiteX19" fmla="*/ 1 w 12193200"/>
                <a:gd name="connsiteY19" fmla="*/ 6160597 h 6858000"/>
                <a:gd name="connsiteX20" fmla="*/ 1 w 12193200"/>
                <a:gd name="connsiteY20" fmla="*/ 622800 h 6858000"/>
                <a:gd name="connsiteX21" fmla="*/ 0 w 12193200"/>
                <a:gd name="connsiteY21"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2193200" h="6858000">
                  <a:moveTo>
                    <a:pt x="630001" y="622800"/>
                  </a:moveTo>
                  <a:lnTo>
                    <a:pt x="630001" y="5806362"/>
                  </a:lnTo>
                  <a:lnTo>
                    <a:pt x="629400" y="5806362"/>
                  </a:lnTo>
                  <a:lnTo>
                    <a:pt x="629400" y="6720762"/>
                  </a:lnTo>
                  <a:lnTo>
                    <a:pt x="11562600" y="6720762"/>
                  </a:lnTo>
                  <a:lnTo>
                    <a:pt x="11562600" y="5806362"/>
                  </a:lnTo>
                  <a:lnTo>
                    <a:pt x="11562000" y="5806362"/>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E71C57">
                <a:alpha val="5000"/>
              </a:srgbClr>
            </a:solidFill>
            <a:ln>
              <a:noFill/>
            </a:ln>
          </p:spPr>
          <p:txBody>
            <a:bodyPr vert="horz" wrap="square" lIns="91440" tIns="45720" rIns="91440" bIns="45720" numCol="1" anchor="t" anchorCtr="0" compatLnSpc="1">
              <a:prstTxWarp prst="textNoShape">
                <a:avLst/>
              </a:prstTxWarp>
              <a:noAutofit/>
            </a:bodyPr>
            <a:lstStyle/>
            <a:p>
              <a:endParaRPr lang="en-US">
                <a:solidFill>
                  <a:schemeClr val="tx1"/>
                </a:solidFill>
              </a:endParaRPr>
            </a:p>
          </p:txBody>
        </p:sp>
        <p:grpSp>
          <p:nvGrpSpPr>
            <p:cNvPr id="95" name="Baselines / anchors">
              <a:extLst>
                <a:ext uri="{FF2B5EF4-FFF2-40B4-BE49-F238E27FC236}">
                  <a16:creationId xmlns:a16="http://schemas.microsoft.com/office/drawing/2014/main" id="{19DE4931-C5C1-4A56-9487-1AFF1D8262A2}"/>
                </a:ext>
              </a:extLst>
            </p:cNvPr>
            <p:cNvGrpSpPr/>
            <p:nvPr/>
          </p:nvGrpSpPr>
          <p:grpSpPr>
            <a:xfrm>
              <a:off x="-600" y="622800"/>
              <a:ext cx="12193200" cy="5536800"/>
              <a:chOff x="12623800" y="622800"/>
              <a:chExt cx="11176000" cy="5536800"/>
            </a:xfrm>
          </p:grpSpPr>
          <p:cxnSp>
            <p:nvCxnSpPr>
              <p:cNvPr id="119" name="Straight Connector 118">
                <a:extLst>
                  <a:ext uri="{FF2B5EF4-FFF2-40B4-BE49-F238E27FC236}">
                    <a16:creationId xmlns:a16="http://schemas.microsoft.com/office/drawing/2014/main" id="{2BA17D89-AA68-4FDD-9081-3D23815E3CBB}"/>
                  </a:ext>
                </a:extLst>
              </p:cNvPr>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940B0089-531F-4A73-A4F8-354A9E2E095C}"/>
                  </a:ext>
                </a:extLst>
              </p:cNvPr>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1B760227-707A-43F3-9218-E38402EB52E9}"/>
                  </a:ext>
                </a:extLst>
              </p:cNvPr>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0FEE945A-3AC5-4A5C-8A9B-B1CF3E79502F}"/>
                  </a:ext>
                </a:extLst>
              </p:cNvPr>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6F51471C-4303-46DE-A9C1-5AE353B8D1FA}"/>
                  </a:ext>
                </a:extLst>
              </p:cNvPr>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0FB81A15-5051-4A01-8537-756CB1FF0956}"/>
                  </a:ext>
                </a:extLst>
              </p:cNvPr>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224FC528-2D44-4C91-8C9E-A5046FACDDF0}"/>
                  </a:ext>
                </a:extLst>
              </p:cNvPr>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806F02DE-6574-4538-81A2-4F36BF853768}"/>
                  </a:ext>
                </a:extLst>
              </p:cNvPr>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EF9E412A-CACA-40FC-A849-8291F50B4F4F}"/>
                  </a:ext>
                </a:extLst>
              </p:cNvPr>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17B840B6-F421-4787-A41E-708ED31A91BE}"/>
                  </a:ext>
                </a:extLst>
              </p:cNvPr>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415CD8E3-1372-4629-871C-406B5F3CA0A7}"/>
                  </a:ext>
                </a:extLst>
              </p:cNvPr>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9187CB04-ED7B-4ECF-A0AC-08D332C5152B}"/>
                  </a:ext>
                </a:extLst>
              </p:cNvPr>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313EFC3E-E96C-4D1E-A6F9-9683DB78A34C}"/>
                  </a:ext>
                </a:extLst>
              </p:cNvPr>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57AC8DE3-B962-4777-BEC2-5DA10746599E}"/>
                  </a:ext>
                </a:extLst>
              </p:cNvPr>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96E9FD15-A59A-4B18-A15A-C816387F4DA1}"/>
                  </a:ext>
                </a:extLst>
              </p:cNvPr>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7F4A63A8-8D40-472D-AAF2-CACD6E0A3E29}"/>
                  </a:ext>
                </a:extLst>
              </p:cNvPr>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3FC7C196-AD96-40A8-B4A7-1A7D28A3CC72}"/>
                  </a:ext>
                </a:extLst>
              </p:cNvPr>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A6DFEECE-760E-4BF2-99FA-36D85760674E}"/>
                  </a:ext>
                </a:extLst>
              </p:cNvPr>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A929387F-EB11-47C2-8730-E8ACEEFEC6DA}"/>
                  </a:ext>
                </a:extLst>
              </p:cNvPr>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98B8204D-A3BB-4571-8452-2F1CF2973CFC}"/>
                  </a:ext>
                </a:extLst>
              </p:cNvPr>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96" name="Gutter space">
              <a:extLst>
                <a:ext uri="{FF2B5EF4-FFF2-40B4-BE49-F238E27FC236}">
                  <a16:creationId xmlns:a16="http://schemas.microsoft.com/office/drawing/2014/main" id="{7B97D256-1423-4AC8-86E9-717AF40609DC}"/>
                </a:ext>
              </a:extLst>
            </p:cNvPr>
            <p:cNvGrpSpPr/>
            <p:nvPr/>
          </p:nvGrpSpPr>
          <p:grpSpPr>
            <a:xfrm>
              <a:off x="1277000" y="623550"/>
              <a:ext cx="9638000" cy="5537047"/>
              <a:chOff x="1277000" y="623550"/>
              <a:chExt cx="9638000" cy="5537047"/>
            </a:xfrm>
          </p:grpSpPr>
          <p:sp>
            <p:nvSpPr>
              <p:cNvPr id="108" name="Rectangle 34">
                <a:extLst>
                  <a:ext uri="{FF2B5EF4-FFF2-40B4-BE49-F238E27FC236}">
                    <a16:creationId xmlns:a16="http://schemas.microsoft.com/office/drawing/2014/main" id="{884A876B-4266-4DBF-8A06-66FD935F0F2E}"/>
                  </a:ext>
                </a:extLst>
              </p:cNvPr>
              <p:cNvSpPr>
                <a:spLocks noChangeArrowheads="1"/>
              </p:cNvSpPr>
              <p:nvPr/>
            </p:nvSpPr>
            <p:spPr bwMode="auto">
              <a:xfrm>
                <a:off x="6887000" y="623550"/>
                <a:ext cx="288000" cy="5537047"/>
              </a:xfrm>
              <a:prstGeom prst="rect">
                <a:avLst/>
              </a:prstGeom>
              <a:solidFill>
                <a:srgbClr val="B1B3B3">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 name="Rectangle 35">
                <a:extLst>
                  <a:ext uri="{FF2B5EF4-FFF2-40B4-BE49-F238E27FC236}">
                    <a16:creationId xmlns:a16="http://schemas.microsoft.com/office/drawing/2014/main" id="{1A480E86-C52C-4CCD-9370-58ED8615BC2C}"/>
                  </a:ext>
                </a:extLst>
              </p:cNvPr>
              <p:cNvSpPr>
                <a:spLocks noChangeArrowheads="1"/>
              </p:cNvSpPr>
              <p:nvPr/>
            </p:nvSpPr>
            <p:spPr bwMode="auto">
              <a:xfrm>
                <a:off x="8757000" y="623550"/>
                <a:ext cx="288000" cy="5537047"/>
              </a:xfrm>
              <a:prstGeom prst="rect">
                <a:avLst/>
              </a:prstGeom>
              <a:solidFill>
                <a:srgbClr val="B1B3B3">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 name="Rectangle 36">
                <a:extLst>
                  <a:ext uri="{FF2B5EF4-FFF2-40B4-BE49-F238E27FC236}">
                    <a16:creationId xmlns:a16="http://schemas.microsoft.com/office/drawing/2014/main" id="{A8AD5E45-63D9-4FAB-A956-B2DFD920E002}"/>
                  </a:ext>
                </a:extLst>
              </p:cNvPr>
              <p:cNvSpPr>
                <a:spLocks noChangeArrowheads="1"/>
              </p:cNvSpPr>
              <p:nvPr/>
            </p:nvSpPr>
            <p:spPr bwMode="auto">
              <a:xfrm>
                <a:off x="7822000" y="623550"/>
                <a:ext cx="288000" cy="5537047"/>
              </a:xfrm>
              <a:prstGeom prst="rect">
                <a:avLst/>
              </a:prstGeom>
              <a:solidFill>
                <a:srgbClr val="B1B3B3">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 name="Rectangle 37">
                <a:extLst>
                  <a:ext uri="{FF2B5EF4-FFF2-40B4-BE49-F238E27FC236}">
                    <a16:creationId xmlns:a16="http://schemas.microsoft.com/office/drawing/2014/main" id="{F4BD820B-C517-4453-AAB7-FE82EBFCA4CA}"/>
                  </a:ext>
                </a:extLst>
              </p:cNvPr>
              <p:cNvSpPr>
                <a:spLocks noChangeArrowheads="1"/>
              </p:cNvSpPr>
              <p:nvPr/>
            </p:nvSpPr>
            <p:spPr bwMode="auto">
              <a:xfrm>
                <a:off x="9692000" y="623550"/>
                <a:ext cx="288000" cy="5537047"/>
              </a:xfrm>
              <a:prstGeom prst="rect">
                <a:avLst/>
              </a:prstGeom>
              <a:solidFill>
                <a:srgbClr val="B1B3B3">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 name="Rectangle 38">
                <a:extLst>
                  <a:ext uri="{FF2B5EF4-FFF2-40B4-BE49-F238E27FC236}">
                    <a16:creationId xmlns:a16="http://schemas.microsoft.com/office/drawing/2014/main" id="{1ED2253F-78DD-4F7C-9D0D-0B0D8880B93D}"/>
                  </a:ext>
                </a:extLst>
              </p:cNvPr>
              <p:cNvSpPr>
                <a:spLocks noChangeArrowheads="1"/>
              </p:cNvSpPr>
              <p:nvPr/>
            </p:nvSpPr>
            <p:spPr bwMode="auto">
              <a:xfrm>
                <a:off x="10627000" y="623550"/>
                <a:ext cx="288000" cy="5537047"/>
              </a:xfrm>
              <a:prstGeom prst="rect">
                <a:avLst/>
              </a:prstGeom>
              <a:solidFill>
                <a:srgbClr val="B1B3B3">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3" name="Rectangle 39">
                <a:extLst>
                  <a:ext uri="{FF2B5EF4-FFF2-40B4-BE49-F238E27FC236}">
                    <a16:creationId xmlns:a16="http://schemas.microsoft.com/office/drawing/2014/main" id="{E0BFBC1A-C053-4580-96A7-0947E090B4A8}"/>
                  </a:ext>
                </a:extLst>
              </p:cNvPr>
              <p:cNvSpPr>
                <a:spLocks noChangeArrowheads="1"/>
              </p:cNvSpPr>
              <p:nvPr/>
            </p:nvSpPr>
            <p:spPr bwMode="auto">
              <a:xfrm>
                <a:off x="5952000" y="623550"/>
                <a:ext cx="288000" cy="5537047"/>
              </a:xfrm>
              <a:prstGeom prst="rect">
                <a:avLst/>
              </a:prstGeom>
              <a:solidFill>
                <a:srgbClr val="B1B3B3">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4" name="Rectangle 40">
                <a:extLst>
                  <a:ext uri="{FF2B5EF4-FFF2-40B4-BE49-F238E27FC236}">
                    <a16:creationId xmlns:a16="http://schemas.microsoft.com/office/drawing/2014/main" id="{9D37A949-96D0-42B5-AB98-379D796D76DD}"/>
                  </a:ext>
                </a:extLst>
              </p:cNvPr>
              <p:cNvSpPr>
                <a:spLocks noChangeArrowheads="1"/>
              </p:cNvSpPr>
              <p:nvPr/>
            </p:nvSpPr>
            <p:spPr bwMode="auto">
              <a:xfrm>
                <a:off x="1277000" y="623550"/>
                <a:ext cx="288000" cy="5537047"/>
              </a:xfrm>
              <a:prstGeom prst="rect">
                <a:avLst/>
              </a:prstGeom>
              <a:solidFill>
                <a:srgbClr val="B1B3B3">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5" name="Rectangle 41">
                <a:extLst>
                  <a:ext uri="{FF2B5EF4-FFF2-40B4-BE49-F238E27FC236}">
                    <a16:creationId xmlns:a16="http://schemas.microsoft.com/office/drawing/2014/main" id="{AB83C1F8-8A8A-410C-BCDD-81B4D337AF8E}"/>
                  </a:ext>
                </a:extLst>
              </p:cNvPr>
              <p:cNvSpPr>
                <a:spLocks noChangeArrowheads="1"/>
              </p:cNvSpPr>
              <p:nvPr/>
            </p:nvSpPr>
            <p:spPr bwMode="auto">
              <a:xfrm>
                <a:off x="2212000" y="623550"/>
                <a:ext cx="288000" cy="5537047"/>
              </a:xfrm>
              <a:prstGeom prst="rect">
                <a:avLst/>
              </a:prstGeom>
              <a:solidFill>
                <a:srgbClr val="B1B3B3">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6" name="Rectangle 42">
                <a:extLst>
                  <a:ext uri="{FF2B5EF4-FFF2-40B4-BE49-F238E27FC236}">
                    <a16:creationId xmlns:a16="http://schemas.microsoft.com/office/drawing/2014/main" id="{489ABD8C-8B8B-4004-A77A-2403F2A07311}"/>
                  </a:ext>
                </a:extLst>
              </p:cNvPr>
              <p:cNvSpPr>
                <a:spLocks noChangeArrowheads="1"/>
              </p:cNvSpPr>
              <p:nvPr/>
            </p:nvSpPr>
            <p:spPr bwMode="auto">
              <a:xfrm>
                <a:off x="3147000" y="623550"/>
                <a:ext cx="288000" cy="5537047"/>
              </a:xfrm>
              <a:prstGeom prst="rect">
                <a:avLst/>
              </a:prstGeom>
              <a:solidFill>
                <a:srgbClr val="B1B3B3">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 name="Rectangle 43">
                <a:extLst>
                  <a:ext uri="{FF2B5EF4-FFF2-40B4-BE49-F238E27FC236}">
                    <a16:creationId xmlns:a16="http://schemas.microsoft.com/office/drawing/2014/main" id="{4BF5C34D-D530-4958-83E1-E9A801B79125}"/>
                  </a:ext>
                </a:extLst>
              </p:cNvPr>
              <p:cNvSpPr>
                <a:spLocks noChangeArrowheads="1"/>
              </p:cNvSpPr>
              <p:nvPr/>
            </p:nvSpPr>
            <p:spPr bwMode="auto">
              <a:xfrm>
                <a:off x="4082000" y="623550"/>
                <a:ext cx="288000" cy="5537047"/>
              </a:xfrm>
              <a:prstGeom prst="rect">
                <a:avLst/>
              </a:prstGeom>
              <a:solidFill>
                <a:srgbClr val="B1B3B3">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 name="Rectangle 44">
                <a:extLst>
                  <a:ext uri="{FF2B5EF4-FFF2-40B4-BE49-F238E27FC236}">
                    <a16:creationId xmlns:a16="http://schemas.microsoft.com/office/drawing/2014/main" id="{3AC6FD43-FC93-442E-A714-30CEBD9F1BE4}"/>
                  </a:ext>
                </a:extLst>
              </p:cNvPr>
              <p:cNvSpPr>
                <a:spLocks noChangeArrowheads="1"/>
              </p:cNvSpPr>
              <p:nvPr/>
            </p:nvSpPr>
            <p:spPr bwMode="auto">
              <a:xfrm>
                <a:off x="5017000" y="623550"/>
                <a:ext cx="288000" cy="5537047"/>
              </a:xfrm>
              <a:prstGeom prst="rect">
                <a:avLst/>
              </a:prstGeom>
              <a:solidFill>
                <a:srgbClr val="B1B3B3">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97" name="Slide edges">
              <a:extLst>
                <a:ext uri="{FF2B5EF4-FFF2-40B4-BE49-F238E27FC236}">
                  <a16:creationId xmlns:a16="http://schemas.microsoft.com/office/drawing/2014/main" id="{82273FE1-5F2B-4055-9C37-B3428CCAE45A}"/>
                </a:ext>
              </a:extLst>
            </p:cNvPr>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rgbClr val="B1B3B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ea typeface="+mn-ea"/>
                <a:cs typeface="+mn-cs"/>
              </a:endParaRPr>
            </a:p>
          </p:txBody>
        </p:sp>
        <p:sp>
          <p:nvSpPr>
            <p:cNvPr id="98" name="Footnote measure">
              <a:extLst>
                <a:ext uri="{FF2B5EF4-FFF2-40B4-BE49-F238E27FC236}">
                  <a16:creationId xmlns:a16="http://schemas.microsoft.com/office/drawing/2014/main" id="{4E42FFCA-60E7-4C98-9137-FF9CA3E8E7A6}"/>
                </a:ext>
              </a:extLst>
            </p:cNvPr>
            <p:cNvSpPr>
              <a:spLocks noChangeArrowheads="1"/>
            </p:cNvSpPr>
            <p:nvPr/>
          </p:nvSpPr>
          <p:spPr bwMode="auto">
            <a:xfrm>
              <a:off x="629400" y="6159600"/>
              <a:ext cx="10933200" cy="561161"/>
            </a:xfrm>
            <a:prstGeom prst="rect">
              <a:avLst/>
            </a:prstGeom>
            <a:solidFill>
              <a:srgbClr val="D4DF33">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 name="Whitespace measure">
              <a:extLst>
                <a:ext uri="{FF2B5EF4-FFF2-40B4-BE49-F238E27FC236}">
                  <a16:creationId xmlns:a16="http://schemas.microsoft.com/office/drawing/2014/main" id="{3AD04AA9-5E2C-4A3A-BEFA-4E8F347A49F2}"/>
                </a:ext>
              </a:extLst>
            </p:cNvPr>
            <p:cNvSpPr>
              <a:spLocks noChangeArrowheads="1"/>
            </p:cNvSpPr>
            <p:nvPr/>
          </p:nvSpPr>
          <p:spPr bwMode="auto">
            <a:xfrm>
              <a:off x="629400" y="1497600"/>
              <a:ext cx="10932229" cy="583200"/>
            </a:xfrm>
            <a:prstGeom prst="rect">
              <a:avLst/>
            </a:prstGeom>
            <a:solidFill>
              <a:srgbClr val="D4DF33">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00" name="Five column measure">
              <a:extLst>
                <a:ext uri="{FF2B5EF4-FFF2-40B4-BE49-F238E27FC236}">
                  <a16:creationId xmlns:a16="http://schemas.microsoft.com/office/drawing/2014/main" id="{51E15209-5C6E-4288-A2FD-D6973BDE5716}"/>
                </a:ext>
              </a:extLst>
            </p:cNvPr>
            <p:cNvGrpSpPr/>
            <p:nvPr/>
          </p:nvGrpSpPr>
          <p:grpSpPr>
            <a:xfrm>
              <a:off x="629400" y="5975122"/>
              <a:ext cx="10933200" cy="79536"/>
              <a:chOff x="629400" y="5975122"/>
              <a:chExt cx="10933200" cy="79536"/>
            </a:xfrm>
          </p:grpSpPr>
          <p:sp>
            <p:nvSpPr>
              <p:cNvPr id="103" name="Rectangle 5">
                <a:extLst>
                  <a:ext uri="{FF2B5EF4-FFF2-40B4-BE49-F238E27FC236}">
                    <a16:creationId xmlns:a16="http://schemas.microsoft.com/office/drawing/2014/main" id="{4167C730-E7BA-46AA-8B8F-6B7475870178}"/>
                  </a:ext>
                </a:extLst>
              </p:cNvPr>
              <p:cNvSpPr>
                <a:spLocks noChangeArrowheads="1"/>
              </p:cNvSpPr>
              <p:nvPr/>
            </p:nvSpPr>
            <p:spPr bwMode="auto">
              <a:xfrm>
                <a:off x="2880128" y="5975122"/>
                <a:ext cx="1930288" cy="79536"/>
              </a:xfrm>
              <a:prstGeom prst="rect">
                <a:avLst/>
              </a:prstGeom>
              <a:solidFill>
                <a:srgbClr val="B1B3B3">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 name="Rectangle 7">
                <a:extLst>
                  <a:ext uri="{FF2B5EF4-FFF2-40B4-BE49-F238E27FC236}">
                    <a16:creationId xmlns:a16="http://schemas.microsoft.com/office/drawing/2014/main" id="{DA7EA12C-4155-4EC7-82F8-084012BDBBE9}"/>
                  </a:ext>
                </a:extLst>
              </p:cNvPr>
              <p:cNvSpPr>
                <a:spLocks noChangeArrowheads="1"/>
              </p:cNvSpPr>
              <p:nvPr/>
            </p:nvSpPr>
            <p:spPr bwMode="auto">
              <a:xfrm>
                <a:off x="9626194" y="5975122"/>
                <a:ext cx="1936406" cy="79536"/>
              </a:xfrm>
              <a:prstGeom prst="rect">
                <a:avLst/>
              </a:prstGeom>
              <a:solidFill>
                <a:srgbClr val="B1B3B3">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 name="Rectangle 9">
                <a:extLst>
                  <a:ext uri="{FF2B5EF4-FFF2-40B4-BE49-F238E27FC236}">
                    <a16:creationId xmlns:a16="http://schemas.microsoft.com/office/drawing/2014/main" id="{DCA03B8B-FD93-4581-A622-1F147948814E}"/>
                  </a:ext>
                </a:extLst>
              </p:cNvPr>
              <p:cNvSpPr>
                <a:spLocks noChangeArrowheads="1"/>
              </p:cNvSpPr>
              <p:nvPr/>
            </p:nvSpPr>
            <p:spPr bwMode="auto">
              <a:xfrm>
                <a:off x="7372407" y="5975122"/>
                <a:ext cx="1936406" cy="79536"/>
              </a:xfrm>
              <a:prstGeom prst="rect">
                <a:avLst/>
              </a:prstGeom>
              <a:solidFill>
                <a:srgbClr val="B1B3B3">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 name="Rectangle 11">
                <a:extLst>
                  <a:ext uri="{FF2B5EF4-FFF2-40B4-BE49-F238E27FC236}">
                    <a16:creationId xmlns:a16="http://schemas.microsoft.com/office/drawing/2014/main" id="{9C87B590-2123-4E7D-91A8-DF1A457C56BA}"/>
                  </a:ext>
                </a:extLst>
              </p:cNvPr>
              <p:cNvSpPr>
                <a:spLocks noChangeArrowheads="1"/>
              </p:cNvSpPr>
              <p:nvPr/>
            </p:nvSpPr>
            <p:spPr bwMode="auto">
              <a:xfrm>
                <a:off x="5127797" y="5975122"/>
                <a:ext cx="1927229" cy="79536"/>
              </a:xfrm>
              <a:prstGeom prst="rect">
                <a:avLst/>
              </a:prstGeom>
              <a:solidFill>
                <a:srgbClr val="B1B3B3">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 name="Rectangle 13">
                <a:extLst>
                  <a:ext uri="{FF2B5EF4-FFF2-40B4-BE49-F238E27FC236}">
                    <a16:creationId xmlns:a16="http://schemas.microsoft.com/office/drawing/2014/main" id="{6EF389A9-6721-432C-BD01-8924F8DBBAFB}"/>
                  </a:ext>
                </a:extLst>
              </p:cNvPr>
              <p:cNvSpPr>
                <a:spLocks noChangeArrowheads="1"/>
              </p:cNvSpPr>
              <p:nvPr/>
            </p:nvSpPr>
            <p:spPr bwMode="auto">
              <a:xfrm>
                <a:off x="629400" y="5975122"/>
                <a:ext cx="1933347" cy="79536"/>
              </a:xfrm>
              <a:prstGeom prst="rect">
                <a:avLst/>
              </a:prstGeom>
              <a:solidFill>
                <a:srgbClr val="B1B3B3">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01" name="Footnote example">
              <a:extLst>
                <a:ext uri="{FF2B5EF4-FFF2-40B4-BE49-F238E27FC236}">
                  <a16:creationId xmlns:a16="http://schemas.microsoft.com/office/drawing/2014/main" id="{699BEFEB-0F46-4CC6-9834-4F2D0E4EEC45}"/>
                </a:ext>
              </a:extLst>
            </p:cNvPr>
            <p:cNvSpPr txBox="1"/>
            <p:nvPr/>
          </p:nvSpPr>
          <p:spPr>
            <a:xfrm>
              <a:off x="1069321" y="6305263"/>
              <a:ext cx="9030914" cy="415498"/>
            </a:xfrm>
            <a:prstGeom prst="rect">
              <a:avLst/>
            </a:prstGeom>
            <a:noFill/>
          </p:spPr>
          <p:txBody>
            <a:bodyPr wrap="square" lIns="0" tIns="0" rIns="0" bIns="0" rtlCol="0" anchor="b">
              <a:spAutoFit/>
            </a:bodyPr>
            <a:lstStyle/>
            <a:p>
              <a:pPr lvl="0">
                <a:lnSpc>
                  <a:spcPct val="90000"/>
                </a:lnSpc>
                <a:defRPr/>
              </a:pPr>
              <a:r>
                <a:rPr lang="en-US" sz="1000">
                  <a:solidFill>
                    <a:prstClr val="white">
                      <a:lumMod val="65000"/>
                    </a:prstClr>
                  </a:solidFill>
                  <a:sym typeface="Trebuchet MS" panose="020B0603020202020204" pitchFamily="34" charset="0"/>
                </a:rPr>
                <a:t>1. xxxx  2. xxxx  3. List footnotes in numerical order. Footnote numbers are not bracketed. Use 10pt font</a:t>
              </a:r>
            </a:p>
            <a:p>
              <a:pPr lvl="0">
                <a:lnSpc>
                  <a:spcPct val="90000"/>
                </a:lnSpc>
                <a:defRPr/>
              </a:pPr>
              <a:r>
                <a:rPr lang="en-US" sz="1000">
                  <a:solidFill>
                    <a:prstClr val="white">
                      <a:lumMod val="65000"/>
                    </a:prstClr>
                  </a:solidFill>
                  <a:sym typeface="Trebuchet MS" panose="020B0603020202020204" pitchFamily="34" charset="0"/>
                </a:rPr>
                <a:t>Note: Do not put a period at the end of the note or the source</a:t>
              </a:r>
            </a:p>
            <a:p>
              <a:pPr lvl="0">
                <a:lnSpc>
                  <a:spcPct val="90000"/>
                </a:lnSpc>
                <a:defRPr/>
              </a:pPr>
              <a:r>
                <a:rPr lang="en-US" sz="100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en-US" sz="1000" b="0" i="0" u="none" strike="noStrike" kern="1200" cap="none" spc="0" normalizeH="0" baseline="0" noProof="0">
                <a:ln>
                  <a:noFill/>
                </a:ln>
                <a:solidFill>
                  <a:prstClr val="white">
                    <a:lumMod val="65000"/>
                  </a:prstClr>
                </a:solidFill>
                <a:effectLst/>
                <a:uLnTx/>
                <a:uFillTx/>
                <a:sym typeface="Trebuchet MS" panose="020B0603020202020204" pitchFamily="34" charset="0"/>
              </a:endParaRPr>
            </a:p>
          </p:txBody>
        </p:sp>
        <p:sp>
          <p:nvSpPr>
            <p:cNvPr id="102" name="Live area">
              <a:extLst>
                <a:ext uri="{FF2B5EF4-FFF2-40B4-BE49-F238E27FC236}">
                  <a16:creationId xmlns:a16="http://schemas.microsoft.com/office/drawing/2014/main" id="{94738647-E9AA-4DA4-9479-CD984BBB974D}"/>
                </a:ext>
              </a:extLst>
            </p:cNvPr>
            <p:cNvSpPr/>
            <p:nvPr/>
          </p:nvSpPr>
          <p:spPr>
            <a:xfrm>
              <a:off x="628650" y="2081213"/>
              <a:ext cx="10934700" cy="4079875"/>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endParaRPr>
            </a:p>
          </p:txBody>
        </p:sp>
      </p:grpSp>
    </p:spTree>
    <p:extLst>
      <p:ext uri="{BB962C8B-B14F-4D97-AF65-F5344CB8AC3E}">
        <p14:creationId xmlns:p14="http://schemas.microsoft.com/office/powerpoint/2010/main" val="15479318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1_Layout guid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4461430-88C3-488B-A9D5-2B7F6F8FFF6C}"/>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Object 1" hidden="1">
                        <a:extLst>
                          <a:ext uri="{FF2B5EF4-FFF2-40B4-BE49-F238E27FC236}">
                            <a16:creationId xmlns:a16="http://schemas.microsoft.com/office/drawing/2014/main" id="{54461430-88C3-488B-A9D5-2B7F6F8FFF6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3 by Boston Consulting Group. All rights reserved.</a:t>
            </a:r>
          </a:p>
        </p:txBody>
      </p:sp>
      <p:pic>
        <p:nvPicPr>
          <p:cNvPr id="93" name="Graphic 92">
            <a:extLst>
              <a:ext uri="{FF2B5EF4-FFF2-40B4-BE49-F238E27FC236}">
                <a16:creationId xmlns:a16="http://schemas.microsoft.com/office/drawing/2014/main" id="{E3E9FA39-7AB3-4B26-982D-4789FE1E64DC}"/>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428018" y="6271005"/>
            <a:ext cx="498632" cy="517662"/>
          </a:xfrm>
          <a:prstGeom prst="rect">
            <a:avLst/>
          </a:prstGeom>
        </p:spPr>
      </p:pic>
      <p:grpSp>
        <p:nvGrpSpPr>
          <p:cNvPr id="55" name="Group 54">
            <a:extLst>
              <a:ext uri="{FF2B5EF4-FFF2-40B4-BE49-F238E27FC236}">
                <a16:creationId xmlns:a16="http://schemas.microsoft.com/office/drawing/2014/main" id="{BC9AB5BD-8A98-4549-B03C-386B4A4A002F}"/>
              </a:ext>
            </a:extLst>
          </p:cNvPr>
          <p:cNvGrpSpPr/>
          <p:nvPr userDrawn="1"/>
        </p:nvGrpSpPr>
        <p:grpSpPr>
          <a:xfrm>
            <a:off x="-600" y="-1"/>
            <a:ext cx="12193800" cy="6858001"/>
            <a:chOff x="-600" y="-1"/>
            <a:chExt cx="12193800" cy="6858001"/>
          </a:xfrm>
        </p:grpSpPr>
        <p:sp>
          <p:nvSpPr>
            <p:cNvPr id="94" name="Freeform: Shape 93">
              <a:extLst>
                <a:ext uri="{FF2B5EF4-FFF2-40B4-BE49-F238E27FC236}">
                  <a16:creationId xmlns:a16="http://schemas.microsoft.com/office/drawing/2014/main" id="{F6CD757F-2B7D-4CF6-A662-9F8A636A11D8}"/>
                </a:ext>
              </a:extLst>
            </p:cNvPr>
            <p:cNvSpPr/>
            <p:nvPr/>
          </p:nvSpPr>
          <p:spPr>
            <a:xfrm>
              <a:off x="0" y="-1"/>
              <a:ext cx="12193200" cy="6858000"/>
            </a:xfrm>
            <a:custGeom>
              <a:avLst/>
              <a:gdLst>
                <a:gd name="connsiteX0" fmla="*/ 630001 w 12193200"/>
                <a:gd name="connsiteY0" fmla="*/ 622800 h 6858000"/>
                <a:gd name="connsiteX1" fmla="*/ 630001 w 12193200"/>
                <a:gd name="connsiteY1" fmla="*/ 5806362 h 6858000"/>
                <a:gd name="connsiteX2" fmla="*/ 629400 w 12193200"/>
                <a:gd name="connsiteY2" fmla="*/ 5806362 h 6858000"/>
                <a:gd name="connsiteX3" fmla="*/ 629400 w 12193200"/>
                <a:gd name="connsiteY3" fmla="*/ 6720762 h 6858000"/>
                <a:gd name="connsiteX4" fmla="*/ 11562600 w 12193200"/>
                <a:gd name="connsiteY4" fmla="*/ 6720762 h 6858000"/>
                <a:gd name="connsiteX5" fmla="*/ 11562600 w 12193200"/>
                <a:gd name="connsiteY5" fmla="*/ 5806362 h 6858000"/>
                <a:gd name="connsiteX6" fmla="*/ 11562000 w 12193200"/>
                <a:gd name="connsiteY6" fmla="*/ 5806362 h 6858000"/>
                <a:gd name="connsiteX7" fmla="*/ 11562000 w 12193200"/>
                <a:gd name="connsiteY7" fmla="*/ 622800 h 6858000"/>
                <a:gd name="connsiteX8" fmla="*/ 0 w 12193200"/>
                <a:gd name="connsiteY8" fmla="*/ 0 h 6858000"/>
                <a:gd name="connsiteX9" fmla="*/ 12193200 w 12193200"/>
                <a:gd name="connsiteY9" fmla="*/ 0 h 6858000"/>
                <a:gd name="connsiteX10" fmla="*/ 12193200 w 12193200"/>
                <a:gd name="connsiteY10" fmla="*/ 622800 h 6858000"/>
                <a:gd name="connsiteX11" fmla="*/ 12192000 w 12193200"/>
                <a:gd name="connsiteY11" fmla="*/ 622800 h 6858000"/>
                <a:gd name="connsiteX12" fmla="*/ 12192000 w 12193200"/>
                <a:gd name="connsiteY12" fmla="*/ 6160597 h 6858000"/>
                <a:gd name="connsiteX13" fmla="*/ 12193200 w 12193200"/>
                <a:gd name="connsiteY13" fmla="*/ 6160597 h 6858000"/>
                <a:gd name="connsiteX14" fmla="*/ 12193200 w 12193200"/>
                <a:gd name="connsiteY14" fmla="*/ 6858000 h 6858000"/>
                <a:gd name="connsiteX15" fmla="*/ 12192000 w 12193200"/>
                <a:gd name="connsiteY15" fmla="*/ 6858000 h 6858000"/>
                <a:gd name="connsiteX16" fmla="*/ 11562000 w 12193200"/>
                <a:gd name="connsiteY16" fmla="*/ 6858000 h 6858000"/>
                <a:gd name="connsiteX17" fmla="*/ 630001 w 12193200"/>
                <a:gd name="connsiteY17" fmla="*/ 6858000 h 6858000"/>
                <a:gd name="connsiteX18" fmla="*/ 1 w 12193200"/>
                <a:gd name="connsiteY18" fmla="*/ 6858000 h 6858000"/>
                <a:gd name="connsiteX19" fmla="*/ 1 w 12193200"/>
                <a:gd name="connsiteY19" fmla="*/ 6160597 h 6858000"/>
                <a:gd name="connsiteX20" fmla="*/ 1 w 12193200"/>
                <a:gd name="connsiteY20" fmla="*/ 622800 h 6858000"/>
                <a:gd name="connsiteX21" fmla="*/ 0 w 12193200"/>
                <a:gd name="connsiteY21"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2193200" h="6858000">
                  <a:moveTo>
                    <a:pt x="630001" y="622800"/>
                  </a:moveTo>
                  <a:lnTo>
                    <a:pt x="630001" y="5806362"/>
                  </a:lnTo>
                  <a:lnTo>
                    <a:pt x="629400" y="5806362"/>
                  </a:lnTo>
                  <a:lnTo>
                    <a:pt x="629400" y="6720762"/>
                  </a:lnTo>
                  <a:lnTo>
                    <a:pt x="11562600" y="6720762"/>
                  </a:lnTo>
                  <a:lnTo>
                    <a:pt x="11562600" y="5806362"/>
                  </a:lnTo>
                  <a:lnTo>
                    <a:pt x="11562000" y="5806362"/>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E71C57">
                <a:alpha val="5000"/>
              </a:srgbClr>
            </a:solidFill>
            <a:ln>
              <a:noFill/>
            </a:ln>
          </p:spPr>
          <p:txBody>
            <a:bodyPr vert="horz" wrap="square" lIns="91440" tIns="45720" rIns="91440" bIns="45720" numCol="1" anchor="t" anchorCtr="0" compatLnSpc="1">
              <a:prstTxWarp prst="textNoShape">
                <a:avLst/>
              </a:prstTxWarp>
              <a:noAutofit/>
            </a:bodyPr>
            <a:lstStyle/>
            <a:p>
              <a:endParaRPr lang="en-US">
                <a:solidFill>
                  <a:schemeClr val="tx1"/>
                </a:solidFill>
              </a:endParaRPr>
            </a:p>
          </p:txBody>
        </p:sp>
        <p:grpSp>
          <p:nvGrpSpPr>
            <p:cNvPr id="95" name="Baselines / anchors">
              <a:extLst>
                <a:ext uri="{FF2B5EF4-FFF2-40B4-BE49-F238E27FC236}">
                  <a16:creationId xmlns:a16="http://schemas.microsoft.com/office/drawing/2014/main" id="{19DE4931-C5C1-4A56-9487-1AFF1D8262A2}"/>
                </a:ext>
              </a:extLst>
            </p:cNvPr>
            <p:cNvGrpSpPr/>
            <p:nvPr/>
          </p:nvGrpSpPr>
          <p:grpSpPr>
            <a:xfrm>
              <a:off x="-600" y="622800"/>
              <a:ext cx="12193200" cy="5536800"/>
              <a:chOff x="12623800" y="622800"/>
              <a:chExt cx="11176000" cy="5536800"/>
            </a:xfrm>
          </p:grpSpPr>
          <p:cxnSp>
            <p:nvCxnSpPr>
              <p:cNvPr id="119" name="Straight Connector 118">
                <a:extLst>
                  <a:ext uri="{FF2B5EF4-FFF2-40B4-BE49-F238E27FC236}">
                    <a16:creationId xmlns:a16="http://schemas.microsoft.com/office/drawing/2014/main" id="{2BA17D89-AA68-4FDD-9081-3D23815E3CBB}"/>
                  </a:ext>
                </a:extLst>
              </p:cNvPr>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940B0089-531F-4A73-A4F8-354A9E2E095C}"/>
                  </a:ext>
                </a:extLst>
              </p:cNvPr>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1B760227-707A-43F3-9218-E38402EB52E9}"/>
                  </a:ext>
                </a:extLst>
              </p:cNvPr>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0FEE945A-3AC5-4A5C-8A9B-B1CF3E79502F}"/>
                  </a:ext>
                </a:extLst>
              </p:cNvPr>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6F51471C-4303-46DE-A9C1-5AE353B8D1FA}"/>
                  </a:ext>
                </a:extLst>
              </p:cNvPr>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0FB81A15-5051-4A01-8537-756CB1FF0956}"/>
                  </a:ext>
                </a:extLst>
              </p:cNvPr>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224FC528-2D44-4C91-8C9E-A5046FACDDF0}"/>
                  </a:ext>
                </a:extLst>
              </p:cNvPr>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806F02DE-6574-4538-81A2-4F36BF853768}"/>
                  </a:ext>
                </a:extLst>
              </p:cNvPr>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EF9E412A-CACA-40FC-A849-8291F50B4F4F}"/>
                  </a:ext>
                </a:extLst>
              </p:cNvPr>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17B840B6-F421-4787-A41E-708ED31A91BE}"/>
                  </a:ext>
                </a:extLst>
              </p:cNvPr>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415CD8E3-1372-4629-871C-406B5F3CA0A7}"/>
                  </a:ext>
                </a:extLst>
              </p:cNvPr>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9187CB04-ED7B-4ECF-A0AC-08D332C5152B}"/>
                  </a:ext>
                </a:extLst>
              </p:cNvPr>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313EFC3E-E96C-4D1E-A6F9-9683DB78A34C}"/>
                  </a:ext>
                </a:extLst>
              </p:cNvPr>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57AC8DE3-B962-4777-BEC2-5DA10746599E}"/>
                  </a:ext>
                </a:extLst>
              </p:cNvPr>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96E9FD15-A59A-4B18-A15A-C816387F4DA1}"/>
                  </a:ext>
                </a:extLst>
              </p:cNvPr>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7F4A63A8-8D40-472D-AAF2-CACD6E0A3E29}"/>
                  </a:ext>
                </a:extLst>
              </p:cNvPr>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3FC7C196-AD96-40A8-B4A7-1A7D28A3CC72}"/>
                  </a:ext>
                </a:extLst>
              </p:cNvPr>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A6DFEECE-760E-4BF2-99FA-36D85760674E}"/>
                  </a:ext>
                </a:extLst>
              </p:cNvPr>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A929387F-EB11-47C2-8730-E8ACEEFEC6DA}"/>
                  </a:ext>
                </a:extLst>
              </p:cNvPr>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98B8204D-A3BB-4571-8452-2F1CF2973CFC}"/>
                  </a:ext>
                </a:extLst>
              </p:cNvPr>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96" name="Gutter space">
              <a:extLst>
                <a:ext uri="{FF2B5EF4-FFF2-40B4-BE49-F238E27FC236}">
                  <a16:creationId xmlns:a16="http://schemas.microsoft.com/office/drawing/2014/main" id="{7B97D256-1423-4AC8-86E9-717AF40609DC}"/>
                </a:ext>
              </a:extLst>
            </p:cNvPr>
            <p:cNvGrpSpPr/>
            <p:nvPr/>
          </p:nvGrpSpPr>
          <p:grpSpPr>
            <a:xfrm>
              <a:off x="1277000" y="623550"/>
              <a:ext cx="9638000" cy="5537047"/>
              <a:chOff x="1277000" y="623550"/>
              <a:chExt cx="9638000" cy="5537047"/>
            </a:xfrm>
          </p:grpSpPr>
          <p:sp>
            <p:nvSpPr>
              <p:cNvPr id="108" name="Rectangle 34">
                <a:extLst>
                  <a:ext uri="{FF2B5EF4-FFF2-40B4-BE49-F238E27FC236}">
                    <a16:creationId xmlns:a16="http://schemas.microsoft.com/office/drawing/2014/main" id="{884A876B-4266-4DBF-8A06-66FD935F0F2E}"/>
                  </a:ext>
                </a:extLst>
              </p:cNvPr>
              <p:cNvSpPr>
                <a:spLocks noChangeArrowheads="1"/>
              </p:cNvSpPr>
              <p:nvPr/>
            </p:nvSpPr>
            <p:spPr bwMode="auto">
              <a:xfrm>
                <a:off x="6887000" y="623550"/>
                <a:ext cx="288000" cy="5537047"/>
              </a:xfrm>
              <a:prstGeom prst="rect">
                <a:avLst/>
              </a:prstGeom>
              <a:solidFill>
                <a:srgbClr val="B1B3B3">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 name="Rectangle 35">
                <a:extLst>
                  <a:ext uri="{FF2B5EF4-FFF2-40B4-BE49-F238E27FC236}">
                    <a16:creationId xmlns:a16="http://schemas.microsoft.com/office/drawing/2014/main" id="{1A480E86-C52C-4CCD-9370-58ED8615BC2C}"/>
                  </a:ext>
                </a:extLst>
              </p:cNvPr>
              <p:cNvSpPr>
                <a:spLocks noChangeArrowheads="1"/>
              </p:cNvSpPr>
              <p:nvPr/>
            </p:nvSpPr>
            <p:spPr bwMode="auto">
              <a:xfrm>
                <a:off x="8757000" y="623550"/>
                <a:ext cx="288000" cy="5537047"/>
              </a:xfrm>
              <a:prstGeom prst="rect">
                <a:avLst/>
              </a:prstGeom>
              <a:solidFill>
                <a:srgbClr val="B1B3B3">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 name="Rectangle 36">
                <a:extLst>
                  <a:ext uri="{FF2B5EF4-FFF2-40B4-BE49-F238E27FC236}">
                    <a16:creationId xmlns:a16="http://schemas.microsoft.com/office/drawing/2014/main" id="{A8AD5E45-63D9-4FAB-A956-B2DFD920E002}"/>
                  </a:ext>
                </a:extLst>
              </p:cNvPr>
              <p:cNvSpPr>
                <a:spLocks noChangeArrowheads="1"/>
              </p:cNvSpPr>
              <p:nvPr/>
            </p:nvSpPr>
            <p:spPr bwMode="auto">
              <a:xfrm>
                <a:off x="7822000" y="623550"/>
                <a:ext cx="288000" cy="5537047"/>
              </a:xfrm>
              <a:prstGeom prst="rect">
                <a:avLst/>
              </a:prstGeom>
              <a:solidFill>
                <a:srgbClr val="B1B3B3">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 name="Rectangle 37">
                <a:extLst>
                  <a:ext uri="{FF2B5EF4-FFF2-40B4-BE49-F238E27FC236}">
                    <a16:creationId xmlns:a16="http://schemas.microsoft.com/office/drawing/2014/main" id="{F4BD820B-C517-4453-AAB7-FE82EBFCA4CA}"/>
                  </a:ext>
                </a:extLst>
              </p:cNvPr>
              <p:cNvSpPr>
                <a:spLocks noChangeArrowheads="1"/>
              </p:cNvSpPr>
              <p:nvPr/>
            </p:nvSpPr>
            <p:spPr bwMode="auto">
              <a:xfrm>
                <a:off x="9692000" y="623550"/>
                <a:ext cx="288000" cy="5537047"/>
              </a:xfrm>
              <a:prstGeom prst="rect">
                <a:avLst/>
              </a:prstGeom>
              <a:solidFill>
                <a:srgbClr val="B1B3B3">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 name="Rectangle 38">
                <a:extLst>
                  <a:ext uri="{FF2B5EF4-FFF2-40B4-BE49-F238E27FC236}">
                    <a16:creationId xmlns:a16="http://schemas.microsoft.com/office/drawing/2014/main" id="{1ED2253F-78DD-4F7C-9D0D-0B0D8880B93D}"/>
                  </a:ext>
                </a:extLst>
              </p:cNvPr>
              <p:cNvSpPr>
                <a:spLocks noChangeArrowheads="1"/>
              </p:cNvSpPr>
              <p:nvPr/>
            </p:nvSpPr>
            <p:spPr bwMode="auto">
              <a:xfrm>
                <a:off x="10627000" y="623550"/>
                <a:ext cx="288000" cy="5537047"/>
              </a:xfrm>
              <a:prstGeom prst="rect">
                <a:avLst/>
              </a:prstGeom>
              <a:solidFill>
                <a:srgbClr val="B1B3B3">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3" name="Rectangle 39">
                <a:extLst>
                  <a:ext uri="{FF2B5EF4-FFF2-40B4-BE49-F238E27FC236}">
                    <a16:creationId xmlns:a16="http://schemas.microsoft.com/office/drawing/2014/main" id="{E0BFBC1A-C053-4580-96A7-0947E090B4A8}"/>
                  </a:ext>
                </a:extLst>
              </p:cNvPr>
              <p:cNvSpPr>
                <a:spLocks noChangeArrowheads="1"/>
              </p:cNvSpPr>
              <p:nvPr/>
            </p:nvSpPr>
            <p:spPr bwMode="auto">
              <a:xfrm>
                <a:off x="5952000" y="623550"/>
                <a:ext cx="288000" cy="5537047"/>
              </a:xfrm>
              <a:prstGeom prst="rect">
                <a:avLst/>
              </a:prstGeom>
              <a:solidFill>
                <a:srgbClr val="B1B3B3">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4" name="Rectangle 40">
                <a:extLst>
                  <a:ext uri="{FF2B5EF4-FFF2-40B4-BE49-F238E27FC236}">
                    <a16:creationId xmlns:a16="http://schemas.microsoft.com/office/drawing/2014/main" id="{9D37A949-96D0-42B5-AB98-379D796D76DD}"/>
                  </a:ext>
                </a:extLst>
              </p:cNvPr>
              <p:cNvSpPr>
                <a:spLocks noChangeArrowheads="1"/>
              </p:cNvSpPr>
              <p:nvPr/>
            </p:nvSpPr>
            <p:spPr bwMode="auto">
              <a:xfrm>
                <a:off x="1277000" y="623550"/>
                <a:ext cx="288000" cy="5537047"/>
              </a:xfrm>
              <a:prstGeom prst="rect">
                <a:avLst/>
              </a:prstGeom>
              <a:solidFill>
                <a:srgbClr val="B1B3B3">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5" name="Rectangle 41">
                <a:extLst>
                  <a:ext uri="{FF2B5EF4-FFF2-40B4-BE49-F238E27FC236}">
                    <a16:creationId xmlns:a16="http://schemas.microsoft.com/office/drawing/2014/main" id="{AB83C1F8-8A8A-410C-BCDD-81B4D337AF8E}"/>
                  </a:ext>
                </a:extLst>
              </p:cNvPr>
              <p:cNvSpPr>
                <a:spLocks noChangeArrowheads="1"/>
              </p:cNvSpPr>
              <p:nvPr/>
            </p:nvSpPr>
            <p:spPr bwMode="auto">
              <a:xfrm>
                <a:off x="2212000" y="623550"/>
                <a:ext cx="288000" cy="5537047"/>
              </a:xfrm>
              <a:prstGeom prst="rect">
                <a:avLst/>
              </a:prstGeom>
              <a:solidFill>
                <a:srgbClr val="B1B3B3">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6" name="Rectangle 42">
                <a:extLst>
                  <a:ext uri="{FF2B5EF4-FFF2-40B4-BE49-F238E27FC236}">
                    <a16:creationId xmlns:a16="http://schemas.microsoft.com/office/drawing/2014/main" id="{489ABD8C-8B8B-4004-A77A-2403F2A07311}"/>
                  </a:ext>
                </a:extLst>
              </p:cNvPr>
              <p:cNvSpPr>
                <a:spLocks noChangeArrowheads="1"/>
              </p:cNvSpPr>
              <p:nvPr/>
            </p:nvSpPr>
            <p:spPr bwMode="auto">
              <a:xfrm>
                <a:off x="3147000" y="623550"/>
                <a:ext cx="288000" cy="5537047"/>
              </a:xfrm>
              <a:prstGeom prst="rect">
                <a:avLst/>
              </a:prstGeom>
              <a:solidFill>
                <a:srgbClr val="B1B3B3">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 name="Rectangle 43">
                <a:extLst>
                  <a:ext uri="{FF2B5EF4-FFF2-40B4-BE49-F238E27FC236}">
                    <a16:creationId xmlns:a16="http://schemas.microsoft.com/office/drawing/2014/main" id="{4BF5C34D-D530-4958-83E1-E9A801B79125}"/>
                  </a:ext>
                </a:extLst>
              </p:cNvPr>
              <p:cNvSpPr>
                <a:spLocks noChangeArrowheads="1"/>
              </p:cNvSpPr>
              <p:nvPr/>
            </p:nvSpPr>
            <p:spPr bwMode="auto">
              <a:xfrm>
                <a:off x="4082000" y="623550"/>
                <a:ext cx="288000" cy="5537047"/>
              </a:xfrm>
              <a:prstGeom prst="rect">
                <a:avLst/>
              </a:prstGeom>
              <a:solidFill>
                <a:srgbClr val="B1B3B3">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 name="Rectangle 44">
                <a:extLst>
                  <a:ext uri="{FF2B5EF4-FFF2-40B4-BE49-F238E27FC236}">
                    <a16:creationId xmlns:a16="http://schemas.microsoft.com/office/drawing/2014/main" id="{3AC6FD43-FC93-442E-A714-30CEBD9F1BE4}"/>
                  </a:ext>
                </a:extLst>
              </p:cNvPr>
              <p:cNvSpPr>
                <a:spLocks noChangeArrowheads="1"/>
              </p:cNvSpPr>
              <p:nvPr/>
            </p:nvSpPr>
            <p:spPr bwMode="auto">
              <a:xfrm>
                <a:off x="5017000" y="623550"/>
                <a:ext cx="288000" cy="5537047"/>
              </a:xfrm>
              <a:prstGeom prst="rect">
                <a:avLst/>
              </a:prstGeom>
              <a:solidFill>
                <a:srgbClr val="B1B3B3">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97" name="Slide edges">
              <a:extLst>
                <a:ext uri="{FF2B5EF4-FFF2-40B4-BE49-F238E27FC236}">
                  <a16:creationId xmlns:a16="http://schemas.microsoft.com/office/drawing/2014/main" id="{82273FE1-5F2B-4055-9C37-B3428CCAE45A}"/>
                </a:ext>
              </a:extLst>
            </p:cNvPr>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rgbClr val="B1B3B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ea typeface="+mn-ea"/>
                <a:cs typeface="+mn-cs"/>
              </a:endParaRPr>
            </a:p>
          </p:txBody>
        </p:sp>
        <p:sp>
          <p:nvSpPr>
            <p:cNvPr id="98" name="Footnote measure">
              <a:extLst>
                <a:ext uri="{FF2B5EF4-FFF2-40B4-BE49-F238E27FC236}">
                  <a16:creationId xmlns:a16="http://schemas.microsoft.com/office/drawing/2014/main" id="{4E42FFCA-60E7-4C98-9137-FF9CA3E8E7A6}"/>
                </a:ext>
              </a:extLst>
            </p:cNvPr>
            <p:cNvSpPr>
              <a:spLocks noChangeArrowheads="1"/>
            </p:cNvSpPr>
            <p:nvPr/>
          </p:nvSpPr>
          <p:spPr bwMode="auto">
            <a:xfrm>
              <a:off x="629400" y="6159600"/>
              <a:ext cx="10933200" cy="561161"/>
            </a:xfrm>
            <a:prstGeom prst="rect">
              <a:avLst/>
            </a:prstGeom>
            <a:solidFill>
              <a:srgbClr val="D4DF33">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 name="Whitespace measure">
              <a:extLst>
                <a:ext uri="{FF2B5EF4-FFF2-40B4-BE49-F238E27FC236}">
                  <a16:creationId xmlns:a16="http://schemas.microsoft.com/office/drawing/2014/main" id="{3AD04AA9-5E2C-4A3A-BEFA-4E8F347A49F2}"/>
                </a:ext>
              </a:extLst>
            </p:cNvPr>
            <p:cNvSpPr>
              <a:spLocks noChangeArrowheads="1"/>
            </p:cNvSpPr>
            <p:nvPr/>
          </p:nvSpPr>
          <p:spPr bwMode="auto">
            <a:xfrm>
              <a:off x="629400" y="1497600"/>
              <a:ext cx="10932229" cy="583200"/>
            </a:xfrm>
            <a:prstGeom prst="rect">
              <a:avLst/>
            </a:prstGeom>
            <a:solidFill>
              <a:srgbClr val="D4DF33">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00" name="Five column measure">
              <a:extLst>
                <a:ext uri="{FF2B5EF4-FFF2-40B4-BE49-F238E27FC236}">
                  <a16:creationId xmlns:a16="http://schemas.microsoft.com/office/drawing/2014/main" id="{51E15209-5C6E-4288-A2FD-D6973BDE5716}"/>
                </a:ext>
              </a:extLst>
            </p:cNvPr>
            <p:cNvGrpSpPr/>
            <p:nvPr/>
          </p:nvGrpSpPr>
          <p:grpSpPr>
            <a:xfrm>
              <a:off x="629400" y="5975122"/>
              <a:ext cx="10933200" cy="79536"/>
              <a:chOff x="629400" y="5975122"/>
              <a:chExt cx="10933200" cy="79536"/>
            </a:xfrm>
          </p:grpSpPr>
          <p:sp>
            <p:nvSpPr>
              <p:cNvPr id="103" name="Rectangle 5">
                <a:extLst>
                  <a:ext uri="{FF2B5EF4-FFF2-40B4-BE49-F238E27FC236}">
                    <a16:creationId xmlns:a16="http://schemas.microsoft.com/office/drawing/2014/main" id="{4167C730-E7BA-46AA-8B8F-6B7475870178}"/>
                  </a:ext>
                </a:extLst>
              </p:cNvPr>
              <p:cNvSpPr>
                <a:spLocks noChangeArrowheads="1"/>
              </p:cNvSpPr>
              <p:nvPr/>
            </p:nvSpPr>
            <p:spPr bwMode="auto">
              <a:xfrm>
                <a:off x="2880128" y="5975122"/>
                <a:ext cx="1930288" cy="79536"/>
              </a:xfrm>
              <a:prstGeom prst="rect">
                <a:avLst/>
              </a:prstGeom>
              <a:solidFill>
                <a:srgbClr val="B1B3B3">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 name="Rectangle 7">
                <a:extLst>
                  <a:ext uri="{FF2B5EF4-FFF2-40B4-BE49-F238E27FC236}">
                    <a16:creationId xmlns:a16="http://schemas.microsoft.com/office/drawing/2014/main" id="{DA7EA12C-4155-4EC7-82F8-084012BDBBE9}"/>
                  </a:ext>
                </a:extLst>
              </p:cNvPr>
              <p:cNvSpPr>
                <a:spLocks noChangeArrowheads="1"/>
              </p:cNvSpPr>
              <p:nvPr/>
            </p:nvSpPr>
            <p:spPr bwMode="auto">
              <a:xfrm>
                <a:off x="9626194" y="5975122"/>
                <a:ext cx="1936406" cy="79536"/>
              </a:xfrm>
              <a:prstGeom prst="rect">
                <a:avLst/>
              </a:prstGeom>
              <a:solidFill>
                <a:srgbClr val="B1B3B3">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 name="Rectangle 9">
                <a:extLst>
                  <a:ext uri="{FF2B5EF4-FFF2-40B4-BE49-F238E27FC236}">
                    <a16:creationId xmlns:a16="http://schemas.microsoft.com/office/drawing/2014/main" id="{DCA03B8B-FD93-4581-A622-1F147948814E}"/>
                  </a:ext>
                </a:extLst>
              </p:cNvPr>
              <p:cNvSpPr>
                <a:spLocks noChangeArrowheads="1"/>
              </p:cNvSpPr>
              <p:nvPr/>
            </p:nvSpPr>
            <p:spPr bwMode="auto">
              <a:xfrm>
                <a:off x="7372407" y="5975122"/>
                <a:ext cx="1936406" cy="79536"/>
              </a:xfrm>
              <a:prstGeom prst="rect">
                <a:avLst/>
              </a:prstGeom>
              <a:solidFill>
                <a:srgbClr val="B1B3B3">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 name="Rectangle 11">
                <a:extLst>
                  <a:ext uri="{FF2B5EF4-FFF2-40B4-BE49-F238E27FC236}">
                    <a16:creationId xmlns:a16="http://schemas.microsoft.com/office/drawing/2014/main" id="{9C87B590-2123-4E7D-91A8-DF1A457C56BA}"/>
                  </a:ext>
                </a:extLst>
              </p:cNvPr>
              <p:cNvSpPr>
                <a:spLocks noChangeArrowheads="1"/>
              </p:cNvSpPr>
              <p:nvPr/>
            </p:nvSpPr>
            <p:spPr bwMode="auto">
              <a:xfrm>
                <a:off x="5127797" y="5975122"/>
                <a:ext cx="1927229" cy="79536"/>
              </a:xfrm>
              <a:prstGeom prst="rect">
                <a:avLst/>
              </a:prstGeom>
              <a:solidFill>
                <a:srgbClr val="B1B3B3">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 name="Rectangle 13">
                <a:extLst>
                  <a:ext uri="{FF2B5EF4-FFF2-40B4-BE49-F238E27FC236}">
                    <a16:creationId xmlns:a16="http://schemas.microsoft.com/office/drawing/2014/main" id="{6EF389A9-6721-432C-BD01-8924F8DBBAFB}"/>
                  </a:ext>
                </a:extLst>
              </p:cNvPr>
              <p:cNvSpPr>
                <a:spLocks noChangeArrowheads="1"/>
              </p:cNvSpPr>
              <p:nvPr/>
            </p:nvSpPr>
            <p:spPr bwMode="auto">
              <a:xfrm>
                <a:off x="629400" y="5975122"/>
                <a:ext cx="1933347" cy="79536"/>
              </a:xfrm>
              <a:prstGeom prst="rect">
                <a:avLst/>
              </a:prstGeom>
              <a:solidFill>
                <a:srgbClr val="B1B3B3">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01" name="Footnote example">
              <a:extLst>
                <a:ext uri="{FF2B5EF4-FFF2-40B4-BE49-F238E27FC236}">
                  <a16:creationId xmlns:a16="http://schemas.microsoft.com/office/drawing/2014/main" id="{699BEFEB-0F46-4CC6-9834-4F2D0E4EEC45}"/>
                </a:ext>
              </a:extLst>
            </p:cNvPr>
            <p:cNvSpPr txBox="1"/>
            <p:nvPr/>
          </p:nvSpPr>
          <p:spPr>
            <a:xfrm>
              <a:off x="1069321" y="6305263"/>
              <a:ext cx="9030914" cy="415498"/>
            </a:xfrm>
            <a:prstGeom prst="rect">
              <a:avLst/>
            </a:prstGeom>
            <a:noFill/>
          </p:spPr>
          <p:txBody>
            <a:bodyPr wrap="square" lIns="0" tIns="0" rIns="0" bIns="0" rtlCol="0" anchor="b">
              <a:spAutoFit/>
            </a:bodyPr>
            <a:lstStyle/>
            <a:p>
              <a:pPr lvl="0">
                <a:lnSpc>
                  <a:spcPct val="90000"/>
                </a:lnSpc>
                <a:defRPr/>
              </a:pPr>
              <a:r>
                <a:rPr lang="en-US" sz="1000">
                  <a:solidFill>
                    <a:prstClr val="white">
                      <a:lumMod val="65000"/>
                    </a:prstClr>
                  </a:solidFill>
                  <a:sym typeface="Trebuchet MS" panose="020B0603020202020204" pitchFamily="34" charset="0"/>
                </a:rPr>
                <a:t>1. xxxx  2. xxxx  3. List footnotes in numerical order. Footnote numbers are not bracketed. Use 10pt font</a:t>
              </a:r>
            </a:p>
            <a:p>
              <a:pPr lvl="0">
                <a:lnSpc>
                  <a:spcPct val="90000"/>
                </a:lnSpc>
                <a:defRPr/>
              </a:pPr>
              <a:r>
                <a:rPr lang="en-US" sz="1000">
                  <a:solidFill>
                    <a:prstClr val="white">
                      <a:lumMod val="65000"/>
                    </a:prstClr>
                  </a:solidFill>
                  <a:sym typeface="Trebuchet MS" panose="020B0603020202020204" pitchFamily="34" charset="0"/>
                </a:rPr>
                <a:t>Note: Do not put a period at the end of the note or the source</a:t>
              </a:r>
            </a:p>
            <a:p>
              <a:pPr lvl="0">
                <a:lnSpc>
                  <a:spcPct val="90000"/>
                </a:lnSpc>
                <a:defRPr/>
              </a:pPr>
              <a:r>
                <a:rPr lang="en-US" sz="100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en-US" sz="1000" b="0" i="0" u="none" strike="noStrike" kern="1200" cap="none" spc="0" normalizeH="0" baseline="0" noProof="0">
                <a:ln>
                  <a:noFill/>
                </a:ln>
                <a:solidFill>
                  <a:prstClr val="white">
                    <a:lumMod val="65000"/>
                  </a:prstClr>
                </a:solidFill>
                <a:effectLst/>
                <a:uLnTx/>
                <a:uFillTx/>
                <a:sym typeface="Trebuchet MS" panose="020B0603020202020204" pitchFamily="34" charset="0"/>
              </a:endParaRPr>
            </a:p>
          </p:txBody>
        </p:sp>
        <p:sp>
          <p:nvSpPr>
            <p:cNvPr id="102" name="Live area">
              <a:extLst>
                <a:ext uri="{FF2B5EF4-FFF2-40B4-BE49-F238E27FC236}">
                  <a16:creationId xmlns:a16="http://schemas.microsoft.com/office/drawing/2014/main" id="{94738647-E9AA-4DA4-9479-CD984BBB974D}"/>
                </a:ext>
              </a:extLst>
            </p:cNvPr>
            <p:cNvSpPr/>
            <p:nvPr/>
          </p:nvSpPr>
          <p:spPr>
            <a:xfrm>
              <a:off x="628650" y="2081213"/>
              <a:ext cx="10934700" cy="4079875"/>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endParaRPr>
            </a:p>
          </p:txBody>
        </p:sp>
      </p:grpSp>
    </p:spTree>
    <p:extLst>
      <p:ext uri="{BB962C8B-B14F-4D97-AF65-F5344CB8AC3E}">
        <p14:creationId xmlns:p14="http://schemas.microsoft.com/office/powerpoint/2010/main" val="33867702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a:solidFill>
                <a:srgbClr val="FFFFFF"/>
              </a:solidFill>
              <a:latin typeface="+mn-lt"/>
              <a:ea typeface="+mn-ea"/>
              <a:cs typeface="+mn-cs"/>
              <a:sym typeface="Trebuchet MS" panose="020B0603020202020204" pitchFamily="34" charset="0"/>
            </a:endParaRPr>
          </a:p>
        </p:txBody>
      </p:sp>
      <p:pic>
        <p:nvPicPr>
          <p:cNvPr id="16" name="Picture 15" descr="Diagram&#10;&#10;Description automatically generated">
            <a:extLst>
              <a:ext uri="{FF2B5EF4-FFF2-40B4-BE49-F238E27FC236}">
                <a16:creationId xmlns:a16="http://schemas.microsoft.com/office/drawing/2014/main" id="{840166C5-E8A7-4369-BA53-1FA22B9BFAE1}"/>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5144327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308B5D5-CE6A-4172-9599-AC0DDC0C180C}"/>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C308B5D5-CE6A-4172-9599-AC0DDC0C180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8" name="Title 7"/>
          <p:cNvSpPr>
            <a:spLocks noGrp="1"/>
          </p:cNvSpPr>
          <p:nvPr>
            <p:ph type="title" hasCustomPrompt="1"/>
          </p:nvPr>
        </p:nvSpPr>
        <p:spPr>
          <a:xfrm>
            <a:off x="630000" y="622800"/>
            <a:ext cx="10933350" cy="332399"/>
          </a:xfrm>
        </p:spPr>
        <p:txBody>
          <a:bodyPr vert="horz"/>
          <a:lstStyle>
            <a:lvl1pPr>
              <a:defRPr>
                <a:latin typeface="+mj-lt"/>
                <a:ea typeface="+mj-ea"/>
                <a:cs typeface="+mj-cs"/>
                <a:sym typeface="Trebuchet MS" panose="020B0603020202020204" pitchFamily="34" charset="0"/>
              </a:defRPr>
            </a:lvl1pPr>
          </a:lstStyle>
          <a:p>
            <a:r>
              <a:rPr lang="en-US"/>
              <a:t>Click to add title</a:t>
            </a:r>
          </a:p>
        </p:txBody>
      </p:sp>
      <p:pic>
        <p:nvPicPr>
          <p:cNvPr id="9" name="Graphic 8">
            <a:extLst>
              <a:ext uri="{FF2B5EF4-FFF2-40B4-BE49-F238E27FC236}">
                <a16:creationId xmlns:a16="http://schemas.microsoft.com/office/drawing/2014/main" id="{EA47667D-B007-4F48-BCF4-15A4920D45B8}"/>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428018" y="6271005"/>
            <a:ext cx="498632" cy="517662"/>
          </a:xfrm>
          <a:prstGeom prst="rect">
            <a:avLst/>
          </a:prstGeom>
        </p:spPr>
      </p:pic>
    </p:spTree>
    <p:extLst>
      <p:ext uri="{BB962C8B-B14F-4D97-AF65-F5344CB8AC3E}">
        <p14:creationId xmlns:p14="http://schemas.microsoft.com/office/powerpoint/2010/main" val="7992113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B8243C5-1977-4E9B-BCEB-FB7FA7E360DE}"/>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5" name="Object 4" hidden="1">
                        <a:extLst>
                          <a:ext uri="{FF2B5EF4-FFF2-40B4-BE49-F238E27FC236}">
                            <a16:creationId xmlns:a16="http://schemas.microsoft.com/office/drawing/2014/main" id="{3B8243C5-1977-4E9B-BCEB-FB7FA7E360D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vert="horz"/>
          <a:lstStyle>
            <a:lvl1pPr>
              <a:defRPr>
                <a:latin typeface="+mj-lt"/>
                <a:ea typeface="+mj-ea"/>
                <a:cs typeface="+mj-cs"/>
              </a:defRPr>
            </a:lvl1pPr>
          </a:lstStyle>
          <a:p>
            <a:r>
              <a:rPr lang="en-US"/>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atin typeface="+mn-lt"/>
                <a:ea typeface="+mn-ea"/>
                <a:cs typeface="+mn-cs"/>
              </a:defRPr>
            </a:lvl1pPr>
            <a:lvl2pPr>
              <a:lnSpc>
                <a:spcPct val="100000"/>
              </a:lnSpc>
              <a:spcBef>
                <a:spcPts val="0"/>
              </a:spcBef>
              <a:spcAft>
                <a:spcPts val="0"/>
              </a:spcAft>
              <a:defRPr>
                <a:latin typeface="+mn-lt"/>
                <a:ea typeface="+mn-ea"/>
                <a:cs typeface="+mn-cs"/>
              </a:defRPr>
            </a:lvl2pPr>
            <a:lvl3pPr>
              <a:lnSpc>
                <a:spcPct val="100000"/>
              </a:lnSpc>
              <a:spcBef>
                <a:spcPts val="0"/>
              </a:spcBef>
              <a:spcAft>
                <a:spcPts val="0"/>
              </a:spcAft>
              <a:defRPr>
                <a:latin typeface="+mn-lt"/>
                <a:ea typeface="+mn-ea"/>
                <a:cs typeface="+mn-cs"/>
              </a:defRPr>
            </a:lvl3pPr>
            <a:lvl4pPr>
              <a:lnSpc>
                <a:spcPct val="100000"/>
              </a:lnSpc>
              <a:spcBef>
                <a:spcPts val="0"/>
              </a:spcBef>
              <a:spcAft>
                <a:spcPts val="0"/>
              </a:spcAft>
              <a:defRPr>
                <a:latin typeface="+mn-lt"/>
                <a:ea typeface="+mn-ea"/>
                <a:cs typeface="+mn-cs"/>
              </a:defRPr>
            </a:lvl4pPr>
            <a:lvl5pPr>
              <a:lnSpc>
                <a:spcPct val="100000"/>
              </a:lnSpc>
              <a:spcBef>
                <a:spcPts val="0"/>
              </a:spcBef>
              <a:spcAft>
                <a:spcPts val="0"/>
              </a:spcAft>
              <a:defRPr>
                <a:latin typeface="+mn-lt"/>
                <a:ea typeface="+mn-ea"/>
                <a:cs typeface="+mn-cs"/>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pic>
        <p:nvPicPr>
          <p:cNvPr id="7" name="Graphic 6">
            <a:extLst>
              <a:ext uri="{FF2B5EF4-FFF2-40B4-BE49-F238E27FC236}">
                <a16:creationId xmlns:a16="http://schemas.microsoft.com/office/drawing/2014/main" id="{A6FC2081-5E36-4422-8C5E-784D309F84BC}"/>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428018" y="6271005"/>
            <a:ext cx="498632" cy="517662"/>
          </a:xfrm>
          <a:prstGeom prst="rect">
            <a:avLst/>
          </a:prstGeom>
        </p:spPr>
      </p:pic>
    </p:spTree>
    <p:extLst>
      <p:ext uri="{BB962C8B-B14F-4D97-AF65-F5344CB8AC3E}">
        <p14:creationId xmlns:p14="http://schemas.microsoft.com/office/powerpoint/2010/main" val="35585143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FA422A0-FD35-4D38-A776-262AC2C1F6E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BFA422A0-FD35-4D38-A776-262AC2C1F6E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lang="en-US" sz="1600" kern="1200" dirty="0">
                <a:solidFill>
                  <a:schemeClr val="tx1"/>
                </a:solidFill>
                <a:latin typeface="+mn-lt"/>
                <a:ea typeface="+mn-ea"/>
                <a:cs typeface="+mn-cs"/>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9" name="Title 4"/>
          <p:cNvSpPr>
            <a:spLocks noGrp="1"/>
          </p:cNvSpPr>
          <p:nvPr>
            <p:ph type="title" hasCustomPrompt="1"/>
          </p:nvPr>
        </p:nvSpPr>
        <p:spPr>
          <a:xfrm>
            <a:off x="630000" y="1227048"/>
            <a:ext cx="3744000" cy="664797"/>
          </a:xfrm>
        </p:spPr>
        <p:txBody>
          <a:bodyPr vert="horz" anchor="t">
            <a:noAutofit/>
          </a:bodyPr>
          <a:lstStyle>
            <a:lvl1pPr>
              <a:defRPr sz="2400">
                <a:solidFill>
                  <a:schemeClr val="tx2"/>
                </a:solidFill>
                <a:latin typeface="+mj-lt"/>
                <a:ea typeface="+mj-ea"/>
                <a:cs typeface="+mj-cs"/>
                <a:sym typeface="Trebuchet MS" panose="020B0603020202020204" pitchFamily="34" charset="0"/>
              </a:defRPr>
            </a:lvl1pPr>
          </a:lstStyle>
          <a:p>
            <a:r>
              <a:rPr lang="en-US"/>
              <a:t>Click to add title</a:t>
            </a:r>
          </a:p>
        </p:txBody>
      </p:sp>
      <p:pic>
        <p:nvPicPr>
          <p:cNvPr id="12" name="Graphic 11">
            <a:extLst>
              <a:ext uri="{FF2B5EF4-FFF2-40B4-BE49-F238E27FC236}">
                <a16:creationId xmlns:a16="http://schemas.microsoft.com/office/drawing/2014/main" id="{11C36C0B-9168-49D7-BAEC-66999A60CA8A}"/>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428018" y="6271005"/>
            <a:ext cx="498632" cy="517662"/>
          </a:xfrm>
          <a:prstGeom prst="rect">
            <a:avLst/>
          </a:prstGeom>
        </p:spPr>
      </p:pic>
    </p:spTree>
    <p:extLst>
      <p:ext uri="{BB962C8B-B14F-4D97-AF65-F5344CB8AC3E}">
        <p14:creationId xmlns:p14="http://schemas.microsoft.com/office/powerpoint/2010/main" val="18330668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31062FF-11EC-44A2-92C7-899186EF83AC}"/>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031062FF-11EC-44A2-92C7-899186EF83A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8" name="Title 1"/>
          <p:cNvSpPr>
            <a:spLocks noGrp="1"/>
          </p:cNvSpPr>
          <p:nvPr>
            <p:ph type="title" hasCustomPrompt="1"/>
          </p:nvPr>
        </p:nvSpPr>
        <p:spPr bwMode="blackWhite">
          <a:xfrm>
            <a:off x="628649" y="2668041"/>
            <a:ext cx="10934700"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vert="horz"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j-ea"/>
                <a:cs typeface="+mj-cs"/>
                <a:sym typeface="Trebuchet MS" panose="020B0603020202020204" pitchFamily="34" charset="0"/>
              </a:defRPr>
            </a:lvl1pPr>
          </a:lstStyle>
          <a:p>
            <a:r>
              <a:rPr lang="en-US"/>
              <a:t>Click to add section title</a:t>
            </a:r>
          </a:p>
        </p:txBody>
      </p:sp>
      <p:sp>
        <p:nvSpPr>
          <p:cNvPr id="11" name="Rectangle 10"/>
          <p:cNvSpPr/>
          <p:nvPr userDrawn="1"/>
        </p:nvSpPr>
        <p:spPr bwMode="white">
          <a:xfrm>
            <a:off x="628650"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pic>
        <p:nvPicPr>
          <p:cNvPr id="14" name="Graphic 13">
            <a:extLst>
              <a:ext uri="{FF2B5EF4-FFF2-40B4-BE49-F238E27FC236}">
                <a16:creationId xmlns:a16="http://schemas.microsoft.com/office/drawing/2014/main" id="{FB3F04E5-E7D7-4BF3-8735-0FDC102B48EA}"/>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428018" y="6271005"/>
            <a:ext cx="498632" cy="517662"/>
          </a:xfrm>
          <a:prstGeom prst="rect">
            <a:avLst/>
          </a:prstGeom>
        </p:spPr>
      </p:pic>
    </p:spTree>
    <p:extLst>
      <p:ext uri="{BB962C8B-B14F-4D97-AF65-F5344CB8AC3E}">
        <p14:creationId xmlns:p14="http://schemas.microsoft.com/office/powerpoint/2010/main" val="24148830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_D. 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308B5D5-CE6A-4172-9599-AC0DDC0C180C}"/>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C308B5D5-CE6A-4172-9599-AC0DDC0C180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3 by Boston Consulting Group. All rights reserved.</a:t>
            </a:r>
          </a:p>
        </p:txBody>
      </p:sp>
      <p:sp>
        <p:nvSpPr>
          <p:cNvPr id="8" name="Title 7"/>
          <p:cNvSpPr>
            <a:spLocks noGrp="1"/>
          </p:cNvSpPr>
          <p:nvPr>
            <p:ph type="title" hasCustomPrompt="1"/>
          </p:nvPr>
        </p:nvSpPr>
        <p:spPr>
          <a:xfrm>
            <a:off x="630000" y="622800"/>
            <a:ext cx="10933350" cy="332399"/>
          </a:xfrm>
        </p:spPr>
        <p:txBody>
          <a:bodyPr vert="horz"/>
          <a:lstStyle>
            <a:lvl1pPr>
              <a:defRPr>
                <a:latin typeface="+mj-lt"/>
                <a:ea typeface="+mj-ea"/>
                <a:cs typeface="+mj-cs"/>
                <a:sym typeface="Trebuchet MS" panose="020B0603020202020204" pitchFamily="34" charset="0"/>
              </a:defRPr>
            </a:lvl1pPr>
          </a:lstStyle>
          <a:p>
            <a:r>
              <a:rPr lang="en-US"/>
              <a:t>Click to add title</a:t>
            </a:r>
          </a:p>
        </p:txBody>
      </p:sp>
      <p:pic>
        <p:nvPicPr>
          <p:cNvPr id="9" name="Graphic 8">
            <a:extLst>
              <a:ext uri="{FF2B5EF4-FFF2-40B4-BE49-F238E27FC236}">
                <a16:creationId xmlns:a16="http://schemas.microsoft.com/office/drawing/2014/main" id="{EA47667D-B007-4F48-BCF4-15A4920D45B8}"/>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428018" y="6271005"/>
            <a:ext cx="498632" cy="517662"/>
          </a:xfrm>
          <a:prstGeom prst="rect">
            <a:avLst/>
          </a:prstGeom>
        </p:spPr>
      </p:pic>
    </p:spTree>
    <p:extLst>
      <p:ext uri="{BB962C8B-B14F-4D97-AF65-F5344CB8AC3E}">
        <p14:creationId xmlns:p14="http://schemas.microsoft.com/office/powerpoint/2010/main" val="22248835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50"/>
        <p:cNvGrpSpPr/>
        <p:nvPr/>
      </p:nvGrpSpPr>
      <p:grpSpPr>
        <a:xfrm>
          <a:off x="0" y="0"/>
          <a:ext cx="0" cy="0"/>
          <a:chOff x="0" y="0"/>
          <a:chExt cx="0" cy="0"/>
        </a:xfrm>
      </p:grpSpPr>
      <p:sp>
        <p:nvSpPr>
          <p:cNvPr id="51" name="Google Shape;51;p18"/>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52" name="Google Shape;52;p18"/>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53" name="Google Shape;53;p18"/>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GB"/>
              <a:t>‹#›</a:t>
            </a:fld>
            <a:endParaRPr/>
          </a:p>
        </p:txBody>
      </p:sp>
    </p:spTree>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1_D. Title and Tex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B8243C5-1977-4E9B-BCEB-FB7FA7E360DE}"/>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5" name="Object 4" hidden="1">
                        <a:extLst>
                          <a:ext uri="{FF2B5EF4-FFF2-40B4-BE49-F238E27FC236}">
                            <a16:creationId xmlns:a16="http://schemas.microsoft.com/office/drawing/2014/main" id="{3B8243C5-1977-4E9B-BCEB-FB7FA7E360D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vert="horz"/>
          <a:lstStyle>
            <a:lvl1pPr>
              <a:defRPr>
                <a:latin typeface="+mj-lt"/>
                <a:ea typeface="+mj-ea"/>
                <a:cs typeface="+mj-cs"/>
              </a:defRPr>
            </a:lvl1pPr>
          </a:lstStyle>
          <a:p>
            <a:r>
              <a:rPr lang="en-US"/>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atin typeface="+mn-lt"/>
                <a:ea typeface="+mn-ea"/>
                <a:cs typeface="+mn-cs"/>
              </a:defRPr>
            </a:lvl1pPr>
            <a:lvl2pPr>
              <a:lnSpc>
                <a:spcPct val="100000"/>
              </a:lnSpc>
              <a:spcBef>
                <a:spcPts val="0"/>
              </a:spcBef>
              <a:spcAft>
                <a:spcPts val="0"/>
              </a:spcAft>
              <a:defRPr>
                <a:latin typeface="+mn-lt"/>
                <a:ea typeface="+mn-ea"/>
                <a:cs typeface="+mn-cs"/>
              </a:defRPr>
            </a:lvl2pPr>
            <a:lvl3pPr>
              <a:lnSpc>
                <a:spcPct val="100000"/>
              </a:lnSpc>
              <a:spcBef>
                <a:spcPts val="0"/>
              </a:spcBef>
              <a:spcAft>
                <a:spcPts val="0"/>
              </a:spcAft>
              <a:defRPr>
                <a:latin typeface="+mn-lt"/>
                <a:ea typeface="+mn-ea"/>
                <a:cs typeface="+mn-cs"/>
              </a:defRPr>
            </a:lvl3pPr>
            <a:lvl4pPr>
              <a:lnSpc>
                <a:spcPct val="100000"/>
              </a:lnSpc>
              <a:spcBef>
                <a:spcPts val="0"/>
              </a:spcBef>
              <a:spcAft>
                <a:spcPts val="0"/>
              </a:spcAft>
              <a:defRPr>
                <a:latin typeface="+mn-lt"/>
                <a:ea typeface="+mn-ea"/>
                <a:cs typeface="+mn-cs"/>
              </a:defRPr>
            </a:lvl4pPr>
            <a:lvl5pPr>
              <a:lnSpc>
                <a:spcPct val="100000"/>
              </a:lnSpc>
              <a:spcBef>
                <a:spcPts val="0"/>
              </a:spcBef>
              <a:spcAft>
                <a:spcPts val="0"/>
              </a:spcAft>
              <a:defRPr>
                <a:latin typeface="+mn-lt"/>
                <a:ea typeface="+mn-ea"/>
                <a:cs typeface="+mn-cs"/>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3 by Boston Consulting Group. All rights reserved.</a:t>
            </a:r>
          </a:p>
        </p:txBody>
      </p:sp>
      <p:pic>
        <p:nvPicPr>
          <p:cNvPr id="7" name="Graphic 6">
            <a:extLst>
              <a:ext uri="{FF2B5EF4-FFF2-40B4-BE49-F238E27FC236}">
                <a16:creationId xmlns:a16="http://schemas.microsoft.com/office/drawing/2014/main" id="{A6FC2081-5E36-4422-8C5E-784D309F84BC}"/>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428018" y="6271005"/>
            <a:ext cx="498632" cy="517662"/>
          </a:xfrm>
          <a:prstGeom prst="rect">
            <a:avLst/>
          </a:prstGeom>
        </p:spPr>
      </p:pic>
    </p:spTree>
    <p:extLst>
      <p:ext uri="{BB962C8B-B14F-4D97-AF65-F5344CB8AC3E}">
        <p14:creationId xmlns:p14="http://schemas.microsoft.com/office/powerpoint/2010/main" val="35076739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_D. Gray slice heading">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FA422A0-FD35-4D38-A776-262AC2C1F6E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BFA422A0-FD35-4D38-A776-262AC2C1F6E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3 by Boston Consulting Group. All rights reserved.</a:t>
            </a: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lang="en-US" sz="1600" kern="1200" dirty="0">
                <a:solidFill>
                  <a:schemeClr val="tx1"/>
                </a:solidFill>
                <a:latin typeface="+mn-lt"/>
                <a:ea typeface="+mn-ea"/>
                <a:cs typeface="+mn-cs"/>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9" name="Title 4"/>
          <p:cNvSpPr>
            <a:spLocks noGrp="1"/>
          </p:cNvSpPr>
          <p:nvPr>
            <p:ph type="title" hasCustomPrompt="1"/>
          </p:nvPr>
        </p:nvSpPr>
        <p:spPr>
          <a:xfrm>
            <a:off x="630000" y="1227048"/>
            <a:ext cx="3744000" cy="664797"/>
          </a:xfrm>
        </p:spPr>
        <p:txBody>
          <a:bodyPr vert="horz" anchor="t">
            <a:noAutofit/>
          </a:bodyPr>
          <a:lstStyle>
            <a:lvl1pPr>
              <a:defRPr sz="2400">
                <a:solidFill>
                  <a:schemeClr val="tx2"/>
                </a:solidFill>
                <a:latin typeface="+mj-lt"/>
                <a:ea typeface="+mj-ea"/>
                <a:cs typeface="+mj-cs"/>
                <a:sym typeface="Trebuchet MS" panose="020B0603020202020204" pitchFamily="34" charset="0"/>
              </a:defRPr>
            </a:lvl1pPr>
          </a:lstStyle>
          <a:p>
            <a:r>
              <a:rPr lang="en-US"/>
              <a:t>Click to add title</a:t>
            </a:r>
          </a:p>
        </p:txBody>
      </p:sp>
      <p:pic>
        <p:nvPicPr>
          <p:cNvPr id="12" name="Graphic 11">
            <a:extLst>
              <a:ext uri="{FF2B5EF4-FFF2-40B4-BE49-F238E27FC236}">
                <a16:creationId xmlns:a16="http://schemas.microsoft.com/office/drawing/2014/main" id="{11C36C0B-9168-49D7-BAEC-66999A60CA8A}"/>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428018" y="6271005"/>
            <a:ext cx="498632" cy="517662"/>
          </a:xfrm>
          <a:prstGeom prst="rect">
            <a:avLst/>
          </a:prstGeom>
        </p:spPr>
      </p:pic>
    </p:spTree>
    <p:extLst>
      <p:ext uri="{BB962C8B-B14F-4D97-AF65-F5344CB8AC3E}">
        <p14:creationId xmlns:p14="http://schemas.microsoft.com/office/powerpoint/2010/main" val="20280564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1_D. Section header box">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31062FF-11EC-44A2-92C7-899186EF83AC}"/>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031062FF-11EC-44A2-92C7-899186EF83A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3 by Boston Consulting Group. All rights reserved.</a:t>
            </a:r>
          </a:p>
        </p:txBody>
      </p:sp>
      <p:sp>
        <p:nvSpPr>
          <p:cNvPr id="8" name="Title 1"/>
          <p:cNvSpPr>
            <a:spLocks noGrp="1"/>
          </p:cNvSpPr>
          <p:nvPr>
            <p:ph type="title" hasCustomPrompt="1"/>
          </p:nvPr>
        </p:nvSpPr>
        <p:spPr bwMode="blackWhite">
          <a:xfrm>
            <a:off x="628649" y="2668041"/>
            <a:ext cx="10934700"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vert="horz"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j-ea"/>
                <a:cs typeface="+mj-cs"/>
                <a:sym typeface="Trebuchet MS" panose="020B0603020202020204" pitchFamily="34" charset="0"/>
              </a:defRPr>
            </a:lvl1pPr>
          </a:lstStyle>
          <a:p>
            <a:r>
              <a:rPr lang="en-US"/>
              <a:t>Click to add section title</a:t>
            </a:r>
          </a:p>
        </p:txBody>
      </p:sp>
      <p:sp>
        <p:nvSpPr>
          <p:cNvPr id="11" name="Rectangle 10"/>
          <p:cNvSpPr/>
          <p:nvPr userDrawn="1"/>
        </p:nvSpPr>
        <p:spPr bwMode="white">
          <a:xfrm>
            <a:off x="628650"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pic>
        <p:nvPicPr>
          <p:cNvPr id="14" name="Graphic 13">
            <a:extLst>
              <a:ext uri="{FF2B5EF4-FFF2-40B4-BE49-F238E27FC236}">
                <a16:creationId xmlns:a16="http://schemas.microsoft.com/office/drawing/2014/main" id="{FB3F04E5-E7D7-4BF3-8735-0FDC102B48EA}"/>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428018" y="6271005"/>
            <a:ext cx="498632" cy="517662"/>
          </a:xfrm>
          <a:prstGeom prst="rect">
            <a:avLst/>
          </a:prstGeom>
        </p:spPr>
      </p:pic>
    </p:spTree>
    <p:extLst>
      <p:ext uri="{BB962C8B-B14F-4D97-AF65-F5344CB8AC3E}">
        <p14:creationId xmlns:p14="http://schemas.microsoft.com/office/powerpoint/2010/main" val="39619567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24C9358-F855-4D9C-AA44-22A43C6FECEE}"/>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F24C9358-F855-4D9C-AA44-22A43C6FECE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itle 1"/>
          <p:cNvSpPr>
            <a:spLocks noGrp="1"/>
          </p:cNvSpPr>
          <p:nvPr>
            <p:ph type="title" hasCustomPrompt="1"/>
          </p:nvPr>
        </p:nvSpPr>
        <p:spPr bwMode="blackWhite">
          <a:xfrm>
            <a:off x="630000" y="3826800"/>
            <a:ext cx="10936800" cy="2041200"/>
          </a:xfrm>
        </p:spPr>
        <p:txBody>
          <a:bodyPr vert="horz" anchor="t">
            <a:noAutofit/>
          </a:bodyPr>
          <a:lstStyle>
            <a:lvl1pPr>
              <a:defRPr sz="5400">
                <a:solidFill>
                  <a:schemeClr val="tx2"/>
                </a:solidFill>
                <a:latin typeface="+mj-lt"/>
                <a:ea typeface="+mj-ea"/>
                <a:cs typeface="+mj-cs"/>
                <a:sym typeface="Trebuchet MS" panose="020B0603020202020204" pitchFamily="34" charset="0"/>
              </a:defRPr>
            </a:lvl1pPr>
          </a:lstStyle>
          <a:p>
            <a:r>
              <a:rPr lang="en-US"/>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pic>
        <p:nvPicPr>
          <p:cNvPr id="8" name="Graphic 7">
            <a:extLst>
              <a:ext uri="{FF2B5EF4-FFF2-40B4-BE49-F238E27FC236}">
                <a16:creationId xmlns:a16="http://schemas.microsoft.com/office/drawing/2014/main" id="{C8C010B2-09CD-4EBE-B57F-6F34864BD7DF}"/>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428018" y="6271005"/>
            <a:ext cx="498632" cy="517662"/>
          </a:xfrm>
          <a:prstGeom prst="rect">
            <a:avLst/>
          </a:prstGeom>
        </p:spPr>
      </p:pic>
    </p:spTree>
    <p:extLst>
      <p:ext uri="{BB962C8B-B14F-4D97-AF65-F5344CB8AC3E}">
        <p14:creationId xmlns:p14="http://schemas.microsoft.com/office/powerpoint/2010/main" val="37039378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rgbClr val="004E2A"/>
            </a:gs>
            <a:gs pos="100000">
              <a:srgbClr val="78B944"/>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309ABFA-A742-47AD-8938-9ECF23B48092}"/>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6309ABFA-A742-47AD-8938-9ECF23B4809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vert="horz" anchor="ctr">
            <a:noAutofit/>
          </a:bodyPr>
          <a:lstStyle>
            <a:lvl1pPr>
              <a:defRPr sz="2400">
                <a:solidFill>
                  <a:schemeClr val="tx2"/>
                </a:solidFill>
                <a:latin typeface="+mj-lt"/>
                <a:ea typeface="+mj-ea"/>
                <a:cs typeface="+mj-cs"/>
                <a:sym typeface="Trebuchet MS" panose="020B0603020202020204" pitchFamily="34" charset="0"/>
              </a:defRPr>
            </a:lvl1pPr>
          </a:lstStyle>
          <a:p>
            <a:r>
              <a:rPr lang="en-US"/>
              <a:t>Click to add title</a:t>
            </a:r>
          </a:p>
        </p:txBody>
      </p:sp>
      <p:pic>
        <p:nvPicPr>
          <p:cNvPr id="11" name="Graphic 10">
            <a:extLst>
              <a:ext uri="{FF2B5EF4-FFF2-40B4-BE49-F238E27FC236}">
                <a16:creationId xmlns:a16="http://schemas.microsoft.com/office/drawing/2014/main" id="{CA8B2964-9600-4DAC-B0A7-99169CF33B01}"/>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428018" y="6271005"/>
            <a:ext cx="498632" cy="517662"/>
          </a:xfrm>
          <a:prstGeom prst="rect">
            <a:avLst/>
          </a:prstGeom>
        </p:spPr>
      </p:pic>
    </p:spTree>
    <p:extLst>
      <p:ext uri="{BB962C8B-B14F-4D97-AF65-F5344CB8AC3E}">
        <p14:creationId xmlns:p14="http://schemas.microsoft.com/office/powerpoint/2010/main" val="11452861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rgbClr val="004E2A"/>
            </a:gs>
            <a:gs pos="100000">
              <a:srgbClr val="78B944"/>
            </a:gs>
          </a:gsLst>
          <a:lin ang="8100000" scaled="1"/>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1098BC0-3FD3-4042-A4ED-46604AE35D84}"/>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a:extLst>
                          <a:ext uri="{FF2B5EF4-FFF2-40B4-BE49-F238E27FC236}">
                            <a16:creationId xmlns:a16="http://schemas.microsoft.com/office/drawing/2014/main" id="{B1098BC0-3FD3-4042-A4ED-46604AE35D8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2" name="Title 1"/>
          <p:cNvSpPr>
            <a:spLocks noGrp="1"/>
          </p:cNvSpPr>
          <p:nvPr>
            <p:ph type="title" hasCustomPrompt="1"/>
          </p:nvPr>
        </p:nvSpPr>
        <p:spPr>
          <a:xfrm>
            <a:off x="630000" y="622800"/>
            <a:ext cx="6276529" cy="332399"/>
          </a:xfrm>
          <a:prstGeom prst="rect">
            <a:avLst/>
          </a:prstGeom>
        </p:spPr>
        <p:txBody>
          <a:bodyPr vert="horz"/>
          <a:lstStyle>
            <a:lvl1pPr>
              <a:defRPr>
                <a:latin typeface="+mj-lt"/>
                <a:ea typeface="+mj-ea"/>
                <a:cs typeface="+mj-cs"/>
                <a:sym typeface="Trebuchet MS" panose="020B0603020202020204" pitchFamily="34" charset="0"/>
              </a:defRPr>
            </a:lvl1pPr>
          </a:lstStyle>
          <a:p>
            <a:r>
              <a:rPr lang="en-US"/>
              <a:t>Click to add title</a:t>
            </a:r>
          </a:p>
        </p:txBody>
      </p:sp>
      <p:pic>
        <p:nvPicPr>
          <p:cNvPr id="11" name="Graphic 10">
            <a:extLst>
              <a:ext uri="{FF2B5EF4-FFF2-40B4-BE49-F238E27FC236}">
                <a16:creationId xmlns:a16="http://schemas.microsoft.com/office/drawing/2014/main" id="{FEFA0837-A574-4B5E-ADDB-F1FDAAD40FDE}"/>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428018" y="6271005"/>
            <a:ext cx="498632" cy="517662"/>
          </a:xfrm>
          <a:prstGeom prst="rect">
            <a:avLst/>
          </a:prstGeom>
        </p:spPr>
      </p:pic>
    </p:spTree>
    <p:extLst>
      <p:ext uri="{BB962C8B-B14F-4D97-AF65-F5344CB8AC3E}">
        <p14:creationId xmlns:p14="http://schemas.microsoft.com/office/powerpoint/2010/main" val="15746521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rgbClr val="004E2A"/>
            </a:gs>
            <a:gs pos="100000">
              <a:srgbClr val="78B944"/>
            </a:gs>
          </a:gsLst>
          <a:lin ang="8100000" scaled="1"/>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9C1361-72CE-479C-9918-741A81F1F474}"/>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a:extLst>
                          <a:ext uri="{FF2B5EF4-FFF2-40B4-BE49-F238E27FC236}">
                            <a16:creationId xmlns:a16="http://schemas.microsoft.com/office/drawing/2014/main" id="{3C9C1361-72CE-479C-9918-741A81F1F47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vert="horz"/>
          <a:lstStyle>
            <a:lvl1pPr>
              <a:defRPr>
                <a:latin typeface="+mj-lt"/>
                <a:ea typeface="+mj-ea"/>
                <a:cs typeface="+mj-cs"/>
                <a:sym typeface="Trebuchet MS" panose="020B0603020202020204" pitchFamily="34" charset="0"/>
              </a:defRPr>
            </a:lvl1pPr>
          </a:lstStyle>
          <a:p>
            <a:r>
              <a:rPr lang="en-US"/>
              <a:t>Click to add title</a:t>
            </a:r>
          </a:p>
        </p:txBody>
      </p:sp>
      <p:pic>
        <p:nvPicPr>
          <p:cNvPr id="11" name="Graphic 10">
            <a:extLst>
              <a:ext uri="{FF2B5EF4-FFF2-40B4-BE49-F238E27FC236}">
                <a16:creationId xmlns:a16="http://schemas.microsoft.com/office/drawing/2014/main" id="{60688487-FEC5-4D7A-AE75-0A1041853A04}"/>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428018" y="6271005"/>
            <a:ext cx="498632" cy="517662"/>
          </a:xfrm>
          <a:prstGeom prst="rect">
            <a:avLst/>
          </a:prstGeom>
        </p:spPr>
      </p:pic>
    </p:spTree>
    <p:extLst>
      <p:ext uri="{BB962C8B-B14F-4D97-AF65-F5344CB8AC3E}">
        <p14:creationId xmlns:p14="http://schemas.microsoft.com/office/powerpoint/2010/main" val="41717669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rgbClr val="004E2A"/>
            </a:gs>
            <a:gs pos="100000">
              <a:srgbClr val="78B944"/>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CF2E201-93C1-4209-877B-D2B78F8C8717}"/>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CCF2E201-93C1-4209-877B-D2B78F8C871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vert="horz" anchor="ctr">
            <a:noAutofit/>
          </a:bodyPr>
          <a:lstStyle>
            <a:lvl1pPr>
              <a:defRPr sz="2400">
                <a:solidFill>
                  <a:schemeClr val="bg1"/>
                </a:solidFill>
                <a:latin typeface="+mj-lt"/>
                <a:ea typeface="+mj-ea"/>
                <a:cs typeface="+mj-cs"/>
                <a:sym typeface="Trebuchet MS" panose="020B0603020202020204" pitchFamily="34" charset="0"/>
              </a:defRPr>
            </a:lvl1pPr>
          </a:lstStyle>
          <a:p>
            <a:r>
              <a:rPr lang="en-US"/>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pic>
        <p:nvPicPr>
          <p:cNvPr id="12" name="Graphic 11">
            <a:extLst>
              <a:ext uri="{FF2B5EF4-FFF2-40B4-BE49-F238E27FC236}">
                <a16:creationId xmlns:a16="http://schemas.microsoft.com/office/drawing/2014/main" id="{98B6CCC3-33DD-4B31-8B73-A1CCC60C8A62}"/>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428018" y="6271005"/>
            <a:ext cx="498632" cy="517662"/>
          </a:xfrm>
          <a:prstGeom prst="rect">
            <a:avLst/>
          </a:prstGeom>
        </p:spPr>
      </p:pic>
    </p:spTree>
    <p:extLst>
      <p:ext uri="{BB962C8B-B14F-4D97-AF65-F5344CB8AC3E}">
        <p14:creationId xmlns:p14="http://schemas.microsoft.com/office/powerpoint/2010/main" val="30900025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rgbClr val="004E2A"/>
            </a:gs>
            <a:gs pos="100000">
              <a:srgbClr val="78B944"/>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47F48E6-8F4F-4C8A-840F-E9E450106B48}"/>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647F48E6-8F4F-4C8A-840F-E9E450106B4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Trebuchet MS" panose="020B0603020202020204" pitchFamily="34" charset="0"/>
              </a:defRPr>
            </a:lvl1pPr>
          </a:lstStyle>
          <a:p>
            <a:r>
              <a:rPr lang="en-US"/>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vert="horz" wrap="square" lIns="0" tIns="0" rIns="320040" bIns="0" anchor="ctr">
            <a:noAutofit/>
          </a:bodyPr>
          <a:lstStyle>
            <a:lvl1pPr>
              <a:defRPr sz="4400">
                <a:solidFill>
                  <a:schemeClr val="bg1"/>
                </a:solidFill>
                <a:latin typeface="+mj-lt"/>
                <a:ea typeface="+mj-ea"/>
                <a:cs typeface="+mj-cs"/>
                <a:sym typeface="Trebuchet MS" panose="020B0603020202020204" pitchFamily="34" charset="0"/>
              </a:defRPr>
            </a:lvl1pPr>
          </a:lstStyle>
          <a:p>
            <a:r>
              <a:rPr lang="en-US"/>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Trebuchet MS" panose="020B0603020202020204" pitchFamily="34" charset="0"/>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pic>
        <p:nvPicPr>
          <p:cNvPr id="16" name="Graphic 15">
            <a:extLst>
              <a:ext uri="{FF2B5EF4-FFF2-40B4-BE49-F238E27FC236}">
                <a16:creationId xmlns:a16="http://schemas.microsoft.com/office/drawing/2014/main" id="{3B0EDB3A-5498-4F2C-AA15-DD727D2BCEE0}"/>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428018" y="6271005"/>
            <a:ext cx="498632" cy="517662"/>
          </a:xfrm>
          <a:prstGeom prst="rect">
            <a:avLst/>
          </a:prstGeom>
        </p:spPr>
      </p:pic>
    </p:spTree>
    <p:extLst>
      <p:ext uri="{BB962C8B-B14F-4D97-AF65-F5344CB8AC3E}">
        <p14:creationId xmlns:p14="http://schemas.microsoft.com/office/powerpoint/2010/main" val="41703893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rgbClr val="004E2A"/>
            </a:gs>
            <a:gs pos="100000">
              <a:srgbClr val="78B944"/>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1F4A537-39BC-418A-8B9B-AD1146CAD24C}"/>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D1F4A537-39BC-418A-8B9B-AD1146CAD24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Trebuchet MS" panose="020B0603020202020204" pitchFamily="34" charset="0"/>
              </a:defRPr>
            </a:lvl1pPr>
          </a:lstStyle>
          <a:p>
            <a:r>
              <a:rPr lang="en-US"/>
              <a:t>Click icon below to insert an image or remove this placeholder to use the whitespace in another way</a:t>
            </a: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15" name="Title 1"/>
          <p:cNvSpPr>
            <a:spLocks noGrp="1"/>
          </p:cNvSpPr>
          <p:nvPr>
            <p:ph type="title" hasCustomPrompt="1"/>
          </p:nvPr>
        </p:nvSpPr>
        <p:spPr bwMode="black">
          <a:xfrm>
            <a:off x="630936" y="1785600"/>
            <a:ext cx="6247552" cy="3286800"/>
          </a:xfrm>
          <a:prstGeom prst="rect">
            <a:avLst/>
          </a:prstGeom>
        </p:spPr>
        <p:txBody>
          <a:bodyPr vert="horz" anchor="ctr">
            <a:noAutofit/>
          </a:bodyPr>
          <a:lstStyle>
            <a:lvl1pPr>
              <a:defRPr sz="4400">
                <a:solidFill>
                  <a:schemeClr val="bg1"/>
                </a:solidFill>
                <a:latin typeface="+mj-lt"/>
                <a:ea typeface="+mj-ea"/>
                <a:cs typeface="+mj-cs"/>
                <a:sym typeface="Trebuchet MS" panose="020B0603020202020204" pitchFamily="34" charset="0"/>
              </a:defRPr>
            </a:lvl1pPr>
          </a:lstStyle>
          <a:p>
            <a:r>
              <a:rPr lang="en-US"/>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Trebuchet MS" panose="020B0603020202020204" pitchFamily="34" charset="0"/>
            </a:endParaRPr>
          </a:p>
        </p:txBody>
      </p:sp>
      <p:pic>
        <p:nvPicPr>
          <p:cNvPr id="17" name="Graphic 16">
            <a:extLst>
              <a:ext uri="{FF2B5EF4-FFF2-40B4-BE49-F238E27FC236}">
                <a16:creationId xmlns:a16="http://schemas.microsoft.com/office/drawing/2014/main" id="{8B896DE2-713E-47E0-AB20-8D007B12B6B9}"/>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428018" y="6271005"/>
            <a:ext cx="498632" cy="517662"/>
          </a:xfrm>
          <a:prstGeom prst="rect">
            <a:avLst/>
          </a:prstGeom>
        </p:spPr>
      </p:pic>
    </p:spTree>
    <p:extLst>
      <p:ext uri="{BB962C8B-B14F-4D97-AF65-F5344CB8AC3E}">
        <p14:creationId xmlns:p14="http://schemas.microsoft.com/office/powerpoint/2010/main" val="33593497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Content with Caption" type="objTx">
  <p:cSld name="OBJECT_WITH_CAPTION_TEXT">
    <p:spTree>
      <p:nvGrpSpPr>
        <p:cNvPr id="1" name="Shape 54"/>
        <p:cNvGrpSpPr/>
        <p:nvPr/>
      </p:nvGrpSpPr>
      <p:grpSpPr>
        <a:xfrm>
          <a:off x="0" y="0"/>
          <a:ext cx="0" cy="0"/>
          <a:chOff x="0" y="0"/>
          <a:chExt cx="0" cy="0"/>
        </a:xfrm>
      </p:grpSpPr>
      <p:sp>
        <p:nvSpPr>
          <p:cNvPr id="55" name="Google Shape;55;p19"/>
          <p:cNvSpPr txBox="1">
            <a:spLocks noGrp="1"/>
          </p:cNvSpPr>
          <p:nvPr>
            <p:ph type="title"/>
          </p:nvPr>
        </p:nvSpPr>
        <p:spPr>
          <a:xfrm>
            <a:off x="839788" y="457200"/>
            <a:ext cx="3932237" cy="1600200"/>
          </a:xfrm>
          <a:prstGeom prst="rect">
            <a:avLst/>
          </a:prstGeom>
          <a:noFill/>
          <a:ln>
            <a:noFill/>
          </a:ln>
        </p:spPr>
        <p:txBody>
          <a:bodyPr spcFirstLastPara="1" wrap="square" lIns="91425" tIns="45700" rIns="91425" bIns="45700" anchor="b" anchorCtr="0">
            <a:normAutofit/>
          </a:bodyPr>
          <a:lstStyle>
            <a:lvl1pPr lvl="0" algn="l">
              <a:lnSpc>
                <a:spcPct val="90000"/>
              </a:lnSpc>
              <a:spcBef>
                <a:spcPts val="0"/>
              </a:spcBef>
              <a:spcAft>
                <a:spcPts val="0"/>
              </a:spcAft>
              <a:buClr>
                <a:schemeClr val="dk1"/>
              </a:buClr>
              <a:buSzPts val="3200"/>
              <a:buFont typeface="Calibri"/>
              <a:buNone/>
              <a:defRPr sz="32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6" name="Google Shape;56;p19"/>
          <p:cNvSpPr txBox="1">
            <a:spLocks noGrp="1"/>
          </p:cNvSpPr>
          <p:nvPr>
            <p:ph type="body" idx="1"/>
          </p:nvPr>
        </p:nvSpPr>
        <p:spPr>
          <a:xfrm>
            <a:off x="5183188" y="987425"/>
            <a:ext cx="6172200" cy="4873625"/>
          </a:xfrm>
          <a:prstGeom prst="rect">
            <a:avLst/>
          </a:prstGeom>
          <a:noFill/>
          <a:ln>
            <a:noFill/>
          </a:ln>
        </p:spPr>
        <p:txBody>
          <a:bodyPr spcFirstLastPara="1" wrap="square" lIns="91425" tIns="45700" rIns="91425" bIns="45700" anchor="t" anchorCtr="0">
            <a:normAutofit/>
          </a:bodyPr>
          <a:lstStyle>
            <a:lvl1pPr marL="457200" lvl="0" indent="-431800" algn="l">
              <a:lnSpc>
                <a:spcPct val="90000"/>
              </a:lnSpc>
              <a:spcBef>
                <a:spcPts val="1000"/>
              </a:spcBef>
              <a:spcAft>
                <a:spcPts val="0"/>
              </a:spcAft>
              <a:buClr>
                <a:schemeClr val="dk1"/>
              </a:buClr>
              <a:buSzPts val="3200"/>
              <a:buChar char="•"/>
              <a:defRPr sz="3200"/>
            </a:lvl1pPr>
            <a:lvl2pPr marL="914400" lvl="1" indent="-406400" algn="l">
              <a:lnSpc>
                <a:spcPct val="90000"/>
              </a:lnSpc>
              <a:spcBef>
                <a:spcPts val="500"/>
              </a:spcBef>
              <a:spcAft>
                <a:spcPts val="0"/>
              </a:spcAft>
              <a:buClr>
                <a:schemeClr val="dk1"/>
              </a:buClr>
              <a:buSzPts val="2800"/>
              <a:buChar char="•"/>
              <a:defRPr sz="2800"/>
            </a:lvl2pPr>
            <a:lvl3pPr marL="1371600" lvl="2" indent="-381000" algn="l">
              <a:lnSpc>
                <a:spcPct val="90000"/>
              </a:lnSpc>
              <a:spcBef>
                <a:spcPts val="500"/>
              </a:spcBef>
              <a:spcAft>
                <a:spcPts val="0"/>
              </a:spcAft>
              <a:buClr>
                <a:schemeClr val="dk1"/>
              </a:buClr>
              <a:buSzPts val="2400"/>
              <a:buChar char="•"/>
              <a:defRPr sz="2400"/>
            </a:lvl3pPr>
            <a:lvl4pPr marL="1828800" lvl="3" indent="-355600" algn="l">
              <a:lnSpc>
                <a:spcPct val="90000"/>
              </a:lnSpc>
              <a:spcBef>
                <a:spcPts val="500"/>
              </a:spcBef>
              <a:spcAft>
                <a:spcPts val="0"/>
              </a:spcAft>
              <a:buClr>
                <a:schemeClr val="dk1"/>
              </a:buClr>
              <a:buSzPts val="2000"/>
              <a:buChar char="•"/>
              <a:defRPr sz="2000"/>
            </a:lvl4pPr>
            <a:lvl5pPr marL="2286000" lvl="4" indent="-355600" algn="l">
              <a:lnSpc>
                <a:spcPct val="90000"/>
              </a:lnSpc>
              <a:spcBef>
                <a:spcPts val="500"/>
              </a:spcBef>
              <a:spcAft>
                <a:spcPts val="0"/>
              </a:spcAft>
              <a:buClr>
                <a:schemeClr val="dk1"/>
              </a:buClr>
              <a:buSzPts val="2000"/>
              <a:buChar char="•"/>
              <a:defRPr sz="2000"/>
            </a:lvl5pPr>
            <a:lvl6pPr marL="2743200" lvl="5" indent="-355600" algn="l">
              <a:lnSpc>
                <a:spcPct val="90000"/>
              </a:lnSpc>
              <a:spcBef>
                <a:spcPts val="500"/>
              </a:spcBef>
              <a:spcAft>
                <a:spcPts val="0"/>
              </a:spcAft>
              <a:buClr>
                <a:schemeClr val="dk1"/>
              </a:buClr>
              <a:buSzPts val="2000"/>
              <a:buChar char="•"/>
              <a:defRPr sz="2000"/>
            </a:lvl6pPr>
            <a:lvl7pPr marL="3200400" lvl="6" indent="-355600" algn="l">
              <a:lnSpc>
                <a:spcPct val="90000"/>
              </a:lnSpc>
              <a:spcBef>
                <a:spcPts val="500"/>
              </a:spcBef>
              <a:spcAft>
                <a:spcPts val="0"/>
              </a:spcAft>
              <a:buClr>
                <a:schemeClr val="dk1"/>
              </a:buClr>
              <a:buSzPts val="2000"/>
              <a:buChar char="•"/>
              <a:defRPr sz="2000"/>
            </a:lvl7pPr>
            <a:lvl8pPr marL="3657600" lvl="7" indent="-355600" algn="l">
              <a:lnSpc>
                <a:spcPct val="90000"/>
              </a:lnSpc>
              <a:spcBef>
                <a:spcPts val="500"/>
              </a:spcBef>
              <a:spcAft>
                <a:spcPts val="0"/>
              </a:spcAft>
              <a:buClr>
                <a:schemeClr val="dk1"/>
              </a:buClr>
              <a:buSzPts val="2000"/>
              <a:buChar char="•"/>
              <a:defRPr sz="2000"/>
            </a:lvl8pPr>
            <a:lvl9pPr marL="4114800" lvl="8" indent="-355600" algn="l">
              <a:lnSpc>
                <a:spcPct val="90000"/>
              </a:lnSpc>
              <a:spcBef>
                <a:spcPts val="500"/>
              </a:spcBef>
              <a:spcAft>
                <a:spcPts val="0"/>
              </a:spcAft>
              <a:buClr>
                <a:schemeClr val="dk1"/>
              </a:buClr>
              <a:buSzPts val="2000"/>
              <a:buChar char="•"/>
              <a:defRPr sz="2000"/>
            </a:lvl9pPr>
          </a:lstStyle>
          <a:p>
            <a:endParaRPr/>
          </a:p>
        </p:txBody>
      </p:sp>
      <p:sp>
        <p:nvSpPr>
          <p:cNvPr id="57" name="Google Shape;57;p19"/>
          <p:cNvSpPr txBox="1">
            <a:spLocks noGrp="1"/>
          </p:cNvSpPr>
          <p:nvPr>
            <p:ph type="body" idx="2"/>
          </p:nvPr>
        </p:nvSpPr>
        <p:spPr>
          <a:xfrm>
            <a:off x="839788" y="2057400"/>
            <a:ext cx="3932237" cy="3811588"/>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dk1"/>
              </a:buClr>
              <a:buSzPts val="1600"/>
              <a:buNone/>
              <a:defRPr sz="1600"/>
            </a:lvl1pPr>
            <a:lvl2pPr marL="914400" lvl="1" indent="-228600" algn="l">
              <a:lnSpc>
                <a:spcPct val="90000"/>
              </a:lnSpc>
              <a:spcBef>
                <a:spcPts val="500"/>
              </a:spcBef>
              <a:spcAft>
                <a:spcPts val="0"/>
              </a:spcAft>
              <a:buClr>
                <a:schemeClr val="dk1"/>
              </a:buClr>
              <a:buSzPts val="1400"/>
              <a:buNone/>
              <a:defRPr sz="1400"/>
            </a:lvl2pPr>
            <a:lvl3pPr marL="1371600" lvl="2" indent="-228600" algn="l">
              <a:lnSpc>
                <a:spcPct val="90000"/>
              </a:lnSpc>
              <a:spcBef>
                <a:spcPts val="500"/>
              </a:spcBef>
              <a:spcAft>
                <a:spcPts val="0"/>
              </a:spcAft>
              <a:buClr>
                <a:schemeClr val="dk1"/>
              </a:buClr>
              <a:buSzPts val="1200"/>
              <a:buNone/>
              <a:defRPr sz="1200"/>
            </a:lvl3pPr>
            <a:lvl4pPr marL="1828800" lvl="3" indent="-228600" algn="l">
              <a:lnSpc>
                <a:spcPct val="90000"/>
              </a:lnSpc>
              <a:spcBef>
                <a:spcPts val="500"/>
              </a:spcBef>
              <a:spcAft>
                <a:spcPts val="0"/>
              </a:spcAft>
              <a:buClr>
                <a:schemeClr val="dk1"/>
              </a:buClr>
              <a:buSzPts val="1000"/>
              <a:buNone/>
              <a:defRPr sz="1000"/>
            </a:lvl4pPr>
            <a:lvl5pPr marL="2286000" lvl="4" indent="-228600" algn="l">
              <a:lnSpc>
                <a:spcPct val="90000"/>
              </a:lnSpc>
              <a:spcBef>
                <a:spcPts val="500"/>
              </a:spcBef>
              <a:spcAft>
                <a:spcPts val="0"/>
              </a:spcAft>
              <a:buClr>
                <a:schemeClr val="dk1"/>
              </a:buClr>
              <a:buSzPts val="1000"/>
              <a:buNone/>
              <a:defRPr sz="1000"/>
            </a:lvl5pPr>
            <a:lvl6pPr marL="2743200" lvl="5" indent="-228600" algn="l">
              <a:lnSpc>
                <a:spcPct val="90000"/>
              </a:lnSpc>
              <a:spcBef>
                <a:spcPts val="500"/>
              </a:spcBef>
              <a:spcAft>
                <a:spcPts val="0"/>
              </a:spcAft>
              <a:buClr>
                <a:schemeClr val="dk1"/>
              </a:buClr>
              <a:buSzPts val="1000"/>
              <a:buNone/>
              <a:defRPr sz="1000"/>
            </a:lvl6pPr>
            <a:lvl7pPr marL="3200400" lvl="6" indent="-228600" algn="l">
              <a:lnSpc>
                <a:spcPct val="90000"/>
              </a:lnSpc>
              <a:spcBef>
                <a:spcPts val="500"/>
              </a:spcBef>
              <a:spcAft>
                <a:spcPts val="0"/>
              </a:spcAft>
              <a:buClr>
                <a:schemeClr val="dk1"/>
              </a:buClr>
              <a:buSzPts val="1000"/>
              <a:buNone/>
              <a:defRPr sz="1000"/>
            </a:lvl7pPr>
            <a:lvl8pPr marL="3657600" lvl="7" indent="-228600" algn="l">
              <a:lnSpc>
                <a:spcPct val="90000"/>
              </a:lnSpc>
              <a:spcBef>
                <a:spcPts val="500"/>
              </a:spcBef>
              <a:spcAft>
                <a:spcPts val="0"/>
              </a:spcAft>
              <a:buClr>
                <a:schemeClr val="dk1"/>
              </a:buClr>
              <a:buSzPts val="1000"/>
              <a:buNone/>
              <a:defRPr sz="1000"/>
            </a:lvl8pPr>
            <a:lvl9pPr marL="4114800" lvl="8" indent="-228600" algn="l">
              <a:lnSpc>
                <a:spcPct val="90000"/>
              </a:lnSpc>
              <a:spcBef>
                <a:spcPts val="500"/>
              </a:spcBef>
              <a:spcAft>
                <a:spcPts val="0"/>
              </a:spcAft>
              <a:buClr>
                <a:schemeClr val="dk1"/>
              </a:buClr>
              <a:buSzPts val="1000"/>
              <a:buNone/>
              <a:defRPr sz="1000"/>
            </a:lvl9pPr>
          </a:lstStyle>
          <a:p>
            <a:endParaRPr/>
          </a:p>
        </p:txBody>
      </p:sp>
      <p:sp>
        <p:nvSpPr>
          <p:cNvPr id="58" name="Google Shape;58;p19"/>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59" name="Google Shape;59;p19"/>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60" name="Google Shape;60;p19"/>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GB"/>
              <a:t>‹#›</a:t>
            </a:fld>
            <a:endParaRPr/>
          </a:p>
        </p:txBody>
      </p:sp>
    </p:spTree>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rgbClr val="004E2A"/>
            </a:gs>
            <a:gs pos="100000">
              <a:srgbClr val="78B944"/>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vert="horz" anchor="ctr">
            <a:noAutofit/>
          </a:bodyPr>
          <a:lstStyle>
            <a:lvl1pPr>
              <a:defRPr sz="2400">
                <a:solidFill>
                  <a:schemeClr val="tx2"/>
                </a:solidFill>
                <a:latin typeface="+mj-lt"/>
                <a:ea typeface="+mj-ea"/>
                <a:cs typeface="+mj-cs"/>
                <a:sym typeface="Trebuchet MS" panose="020B0603020202020204" pitchFamily="34" charset="0"/>
              </a:defRPr>
            </a:lvl1pPr>
          </a:lstStyle>
          <a:p>
            <a:r>
              <a:rPr lang="en-US">
                <a:solidFill>
                  <a:schemeClr val="tx2"/>
                </a:solidFill>
              </a:rPr>
              <a:t>Click to add title</a:t>
            </a:r>
          </a:p>
        </p:txBody>
      </p:sp>
      <p:pic>
        <p:nvPicPr>
          <p:cNvPr id="12" name="Picture 11"/>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pic>
        <p:nvPicPr>
          <p:cNvPr id="15" name="Graphic 14">
            <a:extLst>
              <a:ext uri="{FF2B5EF4-FFF2-40B4-BE49-F238E27FC236}">
                <a16:creationId xmlns:a16="http://schemas.microsoft.com/office/drawing/2014/main" id="{58A658C9-283C-409B-BCDE-0B1CE587CC6C}"/>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428018" y="6271005"/>
            <a:ext cx="498632" cy="517662"/>
          </a:xfrm>
          <a:prstGeom prst="rect">
            <a:avLst/>
          </a:prstGeom>
        </p:spPr>
      </p:pic>
    </p:spTree>
    <p:extLst>
      <p:ext uri="{BB962C8B-B14F-4D97-AF65-F5344CB8AC3E}">
        <p14:creationId xmlns:p14="http://schemas.microsoft.com/office/powerpoint/2010/main" val="3688941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B621046-ED60-4E65-AC39-F99A800D8AF5}"/>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FB621046-ED60-4E65-AC39-F99A800D8AF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rgbClr val="004E2A"/>
              </a:gs>
              <a:gs pos="100000">
                <a:srgbClr val="78B944"/>
              </a:gs>
            </a:gsLst>
            <a:lin ang="8100000" scaled="1"/>
          </a:gra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008C4F"/>
                </a:solidFill>
                <a:prstDash val="solid"/>
                <a:round/>
                <a:headEnd type="none" w="med" len="med"/>
                <a:tailEnd type="none" w="med" len="med"/>
              </a14:hiddenLine>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fontAlgn="base">
              <a:spcBef>
                <a:spcPct val="0"/>
              </a:spcBef>
              <a:spcAft>
                <a:spcPct val="0"/>
              </a:spcAft>
            </a:pPr>
            <a:endParaRPr lang="en-US" sz="1200" kern="0">
              <a:solidFill>
                <a:srgbClr val="FFFFFF"/>
              </a:solidFill>
              <a:latin typeface="+mn-lt"/>
              <a:ea typeface="+mn-ea"/>
              <a:cs typeface="+mn-cs"/>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vert="horz" anchor="ctr" anchorCtr="0">
            <a:noAutofit/>
          </a:bodyPr>
          <a:lstStyle>
            <a:lvl1pPr>
              <a:defRPr>
                <a:solidFill>
                  <a:srgbClr val="FFFFFF"/>
                </a:solidFill>
                <a:latin typeface="+mj-lt"/>
                <a:ea typeface="+mj-ea"/>
                <a:cs typeface="+mj-cs"/>
              </a:defRPr>
            </a:lvl1pPr>
          </a:lstStyle>
          <a:p>
            <a:r>
              <a:rPr lang="en-US"/>
              <a:t>Click to add title</a:t>
            </a: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pic>
        <p:nvPicPr>
          <p:cNvPr id="11" name="Graphic 10">
            <a:extLst>
              <a:ext uri="{FF2B5EF4-FFF2-40B4-BE49-F238E27FC236}">
                <a16:creationId xmlns:a16="http://schemas.microsoft.com/office/drawing/2014/main" id="{5E9A8F04-435B-49AB-9F48-BEDFEEE7CF80}"/>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428018" y="6271005"/>
            <a:ext cx="498632" cy="517662"/>
          </a:xfrm>
          <a:prstGeom prst="rect">
            <a:avLst/>
          </a:prstGeom>
        </p:spPr>
      </p:pic>
    </p:spTree>
    <p:extLst>
      <p:ext uri="{BB962C8B-B14F-4D97-AF65-F5344CB8AC3E}">
        <p14:creationId xmlns:p14="http://schemas.microsoft.com/office/powerpoint/2010/main" val="7678957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rgbClr val="004E2A"/>
            </a:gs>
            <a:gs pos="100000">
              <a:srgbClr val="78B944"/>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1574FA5-5389-4F55-B7F5-8FAFE670CBDB}"/>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E1574FA5-5389-4F55-B7F5-8FAFE670CB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solidFill>
              <a:latin typeface="+mn-lt"/>
              <a:ea typeface="+mn-ea"/>
              <a:cs typeface="+mn-cs"/>
              <a:sym typeface="Trebuchet MS" panose="020B0603020202020204" pitchFamily="34" charset="0"/>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vert="horz" anchor="ctr">
            <a:noAutofit/>
          </a:bodyPr>
          <a:lstStyle>
            <a:lvl1pPr>
              <a:defRPr sz="4400" b="0">
                <a:solidFill>
                  <a:schemeClr val="tx2"/>
                </a:solidFill>
                <a:latin typeface="+mj-lt"/>
                <a:ea typeface="+mj-ea"/>
                <a:cs typeface="+mj-cs"/>
                <a:sym typeface="Trebuchet MS" panose="020B0603020202020204" pitchFamily="34" charset="0"/>
              </a:defRPr>
            </a:lvl1pPr>
          </a:lstStyle>
          <a:p>
            <a:r>
              <a:rPr lang="en-US"/>
              <a:t>Click to add title</a:t>
            </a:r>
          </a:p>
        </p:txBody>
      </p:sp>
      <p:pic>
        <p:nvPicPr>
          <p:cNvPr id="11" name="Picture 10"/>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pic>
        <p:nvPicPr>
          <p:cNvPr id="13" name="Graphic 12">
            <a:extLst>
              <a:ext uri="{FF2B5EF4-FFF2-40B4-BE49-F238E27FC236}">
                <a16:creationId xmlns:a16="http://schemas.microsoft.com/office/drawing/2014/main" id="{EE975D33-C34C-42D4-96B2-445B5DD34411}"/>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428018" y="6271005"/>
            <a:ext cx="498632" cy="517662"/>
          </a:xfrm>
          <a:prstGeom prst="rect">
            <a:avLst/>
          </a:prstGeom>
        </p:spPr>
      </p:pic>
    </p:spTree>
    <p:extLst>
      <p:ext uri="{BB962C8B-B14F-4D97-AF65-F5344CB8AC3E}">
        <p14:creationId xmlns:p14="http://schemas.microsoft.com/office/powerpoint/2010/main" val="34937864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CC8594D-7A00-4E04-AE75-22435AC62092}"/>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8CC8594D-7A00-4E04-AE75-22435AC6209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9" name="Pentagon 3"/>
          <p:cNvSpPr/>
          <p:nvPr userDrawn="1"/>
        </p:nvSpPr>
        <p:spPr bwMode="white">
          <a:xfrm>
            <a:off x="1" y="0"/>
            <a:ext cx="5426920" cy="6858000"/>
          </a:xfrm>
          <a:prstGeom prst="homePlate">
            <a:avLst>
              <a:gd name="adj" fmla="val 12939"/>
            </a:avLst>
          </a:prstGeom>
          <a:gradFill>
            <a:gsLst>
              <a:gs pos="0">
                <a:srgbClr val="004E2A"/>
              </a:gs>
              <a:gs pos="100000">
                <a:srgbClr val="78B944"/>
              </a:gs>
            </a:gsLst>
            <a:lin ang="8100000" scaled="1"/>
          </a:gra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008C4F"/>
                </a:solidFill>
                <a:prstDash val="solid"/>
                <a:round/>
                <a:headEnd type="none" w="med" len="med"/>
                <a:tailEnd type="none" w="med" len="med"/>
              </a14:hiddenLine>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fontAlgn="base">
              <a:spcBef>
                <a:spcPct val="0"/>
              </a:spcBef>
              <a:spcAft>
                <a:spcPct val="0"/>
              </a:spcAft>
            </a:pPr>
            <a:endParaRPr lang="en-US" sz="1200" kern="0">
              <a:solidFill>
                <a:srgbClr val="FFFFFF"/>
              </a:solidFill>
              <a:latin typeface="+mn-lt"/>
              <a:ea typeface="+mn-ea"/>
              <a:cs typeface="+mn-cs"/>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vert="horz" anchor="ctr">
            <a:noAutofit/>
          </a:bodyPr>
          <a:lstStyle>
            <a:lvl1pPr>
              <a:defRPr sz="4400" b="0">
                <a:solidFill>
                  <a:srgbClr val="FFFFFF"/>
                </a:solidFill>
                <a:latin typeface="+mj-lt"/>
                <a:ea typeface="+mj-ea"/>
                <a:cs typeface="+mj-cs"/>
                <a:sym typeface="Trebuchet MS" panose="020B0603020202020204" pitchFamily="34" charset="0"/>
              </a:defRPr>
            </a:lvl1pPr>
          </a:lstStyle>
          <a:p>
            <a:r>
              <a:rPr lang="en-US"/>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pic>
        <p:nvPicPr>
          <p:cNvPr id="11" name="Graphic 10">
            <a:extLst>
              <a:ext uri="{FF2B5EF4-FFF2-40B4-BE49-F238E27FC236}">
                <a16:creationId xmlns:a16="http://schemas.microsoft.com/office/drawing/2014/main" id="{1FFEA053-AA7F-4306-87CC-86CF132F9C5C}"/>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428018" y="6271005"/>
            <a:ext cx="498632" cy="517662"/>
          </a:xfrm>
          <a:prstGeom prst="rect">
            <a:avLst/>
          </a:prstGeom>
        </p:spPr>
      </p:pic>
    </p:spTree>
    <p:extLst>
      <p:ext uri="{BB962C8B-B14F-4D97-AF65-F5344CB8AC3E}">
        <p14:creationId xmlns:p14="http://schemas.microsoft.com/office/powerpoint/2010/main" val="38063812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rgbClr val="004E2A"/>
            </a:gs>
            <a:gs pos="100000">
              <a:srgbClr val="78B944"/>
            </a:gs>
          </a:gsLst>
          <a:lin ang="8100000" scaled="1"/>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FA2F0E7-284C-48A2-AEC6-CE6B7E8633B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a:extLst>
                          <a:ext uri="{FF2B5EF4-FFF2-40B4-BE49-F238E27FC236}">
                            <a16:creationId xmlns:a16="http://schemas.microsoft.com/office/drawing/2014/main" id="{AFA2F0E7-284C-48A2-AEC6-CE6B7E8633B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vert="horz"/>
          <a:lstStyle>
            <a:lvl1pPr>
              <a:defRPr>
                <a:latin typeface="+mj-lt"/>
                <a:ea typeface="+mj-ea"/>
                <a:cs typeface="+mj-cs"/>
                <a:sym typeface="Trebuchet MS" panose="020B0603020202020204" pitchFamily="34" charset="0"/>
              </a:defRPr>
            </a:lvl1pPr>
          </a:lstStyle>
          <a:p>
            <a:r>
              <a:rPr lang="en-US"/>
              <a:t>Click to add title</a:t>
            </a:r>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pic>
        <p:nvPicPr>
          <p:cNvPr id="11" name="Graphic 10">
            <a:extLst>
              <a:ext uri="{FF2B5EF4-FFF2-40B4-BE49-F238E27FC236}">
                <a16:creationId xmlns:a16="http://schemas.microsoft.com/office/drawing/2014/main" id="{E12DB6E8-C171-4D9E-AF69-8FE169E161D0}"/>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428018" y="6271005"/>
            <a:ext cx="498632" cy="517662"/>
          </a:xfrm>
          <a:prstGeom prst="rect">
            <a:avLst/>
          </a:prstGeom>
        </p:spPr>
      </p:pic>
    </p:spTree>
    <p:extLst>
      <p:ext uri="{BB962C8B-B14F-4D97-AF65-F5344CB8AC3E}">
        <p14:creationId xmlns:p14="http://schemas.microsoft.com/office/powerpoint/2010/main" val="2251206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CEBDADB-CDD1-4644-B05C-BADB21575A56}"/>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a:extLst>
                          <a:ext uri="{FF2B5EF4-FFF2-40B4-BE49-F238E27FC236}">
                            <a16:creationId xmlns:a16="http://schemas.microsoft.com/office/drawing/2014/main" id="{5CEBDADB-CDD1-4644-B05C-BADB21575A5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entagon 8"/>
          <p:cNvSpPr/>
          <p:nvPr/>
        </p:nvSpPr>
        <p:spPr bwMode="white">
          <a:xfrm>
            <a:off x="0" y="0"/>
            <a:ext cx="6363546" cy="6858000"/>
          </a:xfrm>
          <a:prstGeom prst="homePlate">
            <a:avLst>
              <a:gd name="adj" fmla="val 12939"/>
            </a:avLst>
          </a:prstGeom>
          <a:gradFill>
            <a:gsLst>
              <a:gs pos="0">
                <a:srgbClr val="004E2A"/>
              </a:gs>
              <a:gs pos="100000">
                <a:srgbClr val="78B944"/>
              </a:gs>
            </a:gsLst>
            <a:lin ang="8100000" scaled="1"/>
          </a:gra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008C4F"/>
                </a:solidFill>
                <a:prstDash val="solid"/>
                <a:round/>
                <a:headEnd type="none" w="med" len="med"/>
                <a:tailEnd type="none" w="med" len="med"/>
              </a14:hiddenLine>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fontAlgn="base">
              <a:spcBef>
                <a:spcPct val="0"/>
              </a:spcBef>
              <a:spcAft>
                <a:spcPct val="0"/>
              </a:spcAft>
            </a:pPr>
            <a:endParaRPr lang="en-US" sz="1200" kern="0">
              <a:solidFill>
                <a:srgbClr val="FFFFFF"/>
              </a:solidFill>
              <a:latin typeface="+mn-lt"/>
              <a:ea typeface="+mn-ea"/>
              <a:cs typeface="+mn-cs"/>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vert="horz"/>
          <a:lstStyle>
            <a:lvl1pPr>
              <a:defRPr>
                <a:solidFill>
                  <a:srgbClr val="FFFFFF"/>
                </a:solidFill>
                <a:latin typeface="+mj-lt"/>
                <a:ea typeface="+mj-ea"/>
                <a:cs typeface="+mj-cs"/>
                <a:sym typeface="Trebuchet MS" panose="020B0603020202020204" pitchFamily="34" charset="0"/>
              </a:defRPr>
            </a:lvl1pPr>
          </a:lstStyle>
          <a:p>
            <a:r>
              <a:rPr lang="en-US"/>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pic>
        <p:nvPicPr>
          <p:cNvPr id="12" name="Graphic 11">
            <a:extLst>
              <a:ext uri="{FF2B5EF4-FFF2-40B4-BE49-F238E27FC236}">
                <a16:creationId xmlns:a16="http://schemas.microsoft.com/office/drawing/2014/main" id="{F888D64E-5E13-4456-90AA-FAC596F41CE2}"/>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428018" y="6271005"/>
            <a:ext cx="498632" cy="517662"/>
          </a:xfrm>
          <a:prstGeom prst="rect">
            <a:avLst/>
          </a:prstGeom>
        </p:spPr>
      </p:pic>
    </p:spTree>
    <p:extLst>
      <p:ext uri="{BB962C8B-B14F-4D97-AF65-F5344CB8AC3E}">
        <p14:creationId xmlns:p14="http://schemas.microsoft.com/office/powerpoint/2010/main" val="29274428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rgbClr val="004E2A"/>
            </a:gs>
            <a:gs pos="100000">
              <a:srgbClr val="78B944"/>
            </a:gs>
          </a:gsLst>
          <a:lin ang="8100000" scaled="1"/>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5A87B63-963D-404F-88CC-3AFBACEA9A8B}"/>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a:extLst>
                          <a:ext uri="{FF2B5EF4-FFF2-40B4-BE49-F238E27FC236}">
                            <a16:creationId xmlns:a16="http://schemas.microsoft.com/office/drawing/2014/main" id="{85A87B63-963D-404F-88CC-3AFBACEA9A8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vert="horz"/>
          <a:lstStyle>
            <a:lvl1pPr>
              <a:defRPr>
                <a:latin typeface="+mj-lt"/>
                <a:ea typeface="+mj-ea"/>
                <a:cs typeface="+mj-cs"/>
                <a:sym typeface="Trebuchet MS" panose="020B0603020202020204" pitchFamily="34" charset="0"/>
              </a:defRPr>
            </a:lvl1pPr>
          </a:lstStyle>
          <a:p>
            <a:r>
              <a:rPr lang="en-US"/>
              <a:t>Click to add title</a:t>
            </a:r>
          </a:p>
        </p:txBody>
      </p:sp>
      <p:pic>
        <p:nvPicPr>
          <p:cNvPr id="11" name="Picture 10"/>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pic>
        <p:nvPicPr>
          <p:cNvPr id="16" name="Graphic 15">
            <a:extLst>
              <a:ext uri="{FF2B5EF4-FFF2-40B4-BE49-F238E27FC236}">
                <a16:creationId xmlns:a16="http://schemas.microsoft.com/office/drawing/2014/main" id="{24D5C639-E8F6-4C58-B15B-637B1CC12DC6}"/>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428018" y="6271005"/>
            <a:ext cx="498632" cy="517662"/>
          </a:xfrm>
          <a:prstGeom prst="rect">
            <a:avLst/>
          </a:prstGeom>
        </p:spPr>
      </p:pic>
    </p:spTree>
    <p:extLst>
      <p:ext uri="{BB962C8B-B14F-4D97-AF65-F5344CB8AC3E}">
        <p14:creationId xmlns:p14="http://schemas.microsoft.com/office/powerpoint/2010/main" val="10548861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AC31678-2AEA-49FE-889E-2C10C57607E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a:extLst>
                          <a:ext uri="{FF2B5EF4-FFF2-40B4-BE49-F238E27FC236}">
                            <a16:creationId xmlns:a16="http://schemas.microsoft.com/office/drawing/2014/main" id="{6AC31678-2AEA-49FE-889E-2C10C57607E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rgbClr val="004E2A"/>
              </a:gs>
              <a:gs pos="100000">
                <a:srgbClr val="78B944"/>
              </a:gs>
            </a:gsLst>
            <a:lin ang="8100000" scaled="1"/>
          </a:gra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008C4F"/>
                </a:solidFill>
                <a:prstDash val="solid"/>
                <a:round/>
                <a:headEnd type="none" w="med" len="med"/>
                <a:tailEnd type="none" w="med" len="med"/>
              </a14:hiddenLine>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fontAlgn="base">
              <a:spcBef>
                <a:spcPct val="0"/>
              </a:spcBef>
              <a:spcAft>
                <a:spcPct val="0"/>
              </a:spcAft>
            </a:pPr>
            <a:endParaRPr lang="en-US" sz="1200" kern="0">
              <a:solidFill>
                <a:srgbClr val="FFFFFF"/>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vert="horz"/>
          <a:lstStyle>
            <a:lvl1pPr>
              <a:defRPr>
                <a:solidFill>
                  <a:srgbClr val="FFFFFF"/>
                </a:solidFill>
                <a:latin typeface="+mj-lt"/>
                <a:ea typeface="+mj-ea"/>
                <a:cs typeface="+mj-cs"/>
                <a:sym typeface="Trebuchet MS" panose="020B0603020202020204" pitchFamily="34" charset="0"/>
              </a:defRPr>
            </a:lvl1pPr>
          </a:lstStyle>
          <a:p>
            <a:r>
              <a:rPr lang="en-US"/>
              <a:t>Click to add title</a:t>
            </a: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pic>
        <p:nvPicPr>
          <p:cNvPr id="11" name="Graphic 10">
            <a:extLst>
              <a:ext uri="{FF2B5EF4-FFF2-40B4-BE49-F238E27FC236}">
                <a16:creationId xmlns:a16="http://schemas.microsoft.com/office/drawing/2014/main" id="{3D99ACF5-E947-45F9-8831-DD9C380CE8C4}"/>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428018" y="6271005"/>
            <a:ext cx="498632" cy="517662"/>
          </a:xfrm>
          <a:prstGeom prst="rect">
            <a:avLst/>
          </a:prstGeom>
        </p:spPr>
      </p:pic>
    </p:spTree>
    <p:extLst>
      <p:ext uri="{BB962C8B-B14F-4D97-AF65-F5344CB8AC3E}">
        <p14:creationId xmlns:p14="http://schemas.microsoft.com/office/powerpoint/2010/main" val="17929110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rgbClr val="004E2A"/>
            </a:gs>
            <a:gs pos="100000">
              <a:srgbClr val="78B944"/>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A0FB19A-8E19-4B74-BE40-E3409E984DB6}"/>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AA0FB19A-8E19-4B74-BE40-E3409E984DB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Trebuchet MS" panose="020B0603020202020204" pitchFamily="34" charset="0"/>
              </a:defRPr>
            </a:lvl1pPr>
          </a:lstStyle>
          <a:p>
            <a:r>
              <a:rPr lang="en-US"/>
              <a:t>Click to add big statement text</a:t>
            </a:r>
          </a:p>
        </p:txBody>
      </p:sp>
      <p:pic>
        <p:nvPicPr>
          <p:cNvPr id="12" name="Graphic 11">
            <a:extLst>
              <a:ext uri="{FF2B5EF4-FFF2-40B4-BE49-F238E27FC236}">
                <a16:creationId xmlns:a16="http://schemas.microsoft.com/office/drawing/2014/main" id="{6007A86E-8369-4F6D-B0B4-24F97DE0EB0E}"/>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428018" y="6271005"/>
            <a:ext cx="498632" cy="517662"/>
          </a:xfrm>
          <a:prstGeom prst="rect">
            <a:avLst/>
          </a:prstGeom>
        </p:spPr>
      </p:pic>
    </p:spTree>
    <p:extLst>
      <p:ext uri="{BB962C8B-B14F-4D97-AF65-F5344CB8AC3E}">
        <p14:creationId xmlns:p14="http://schemas.microsoft.com/office/powerpoint/2010/main" val="29993927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756EEAC-BE11-43F8-A316-854F8163705B}"/>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F756EEAC-BE11-43F8-A316-854F8163705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j-ea"/>
                <a:cs typeface="+mj-cs"/>
                <a:sym typeface="Trebuchet MS" panose="020B0603020202020204" pitchFamily="34" charset="0"/>
              </a:defRPr>
            </a:lvl1pPr>
          </a:lstStyle>
          <a:p>
            <a:r>
              <a:rPr lang="en-US"/>
              <a:t>Click to add big statement text</a:t>
            </a:r>
          </a:p>
        </p:txBody>
      </p:sp>
      <p:pic>
        <p:nvPicPr>
          <p:cNvPr id="10" name="Graphic 9">
            <a:extLst>
              <a:ext uri="{FF2B5EF4-FFF2-40B4-BE49-F238E27FC236}">
                <a16:creationId xmlns:a16="http://schemas.microsoft.com/office/drawing/2014/main" id="{4591402A-94BB-43B9-8514-A85D86EB4DB0}"/>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428018" y="6271005"/>
            <a:ext cx="498632" cy="517662"/>
          </a:xfrm>
          <a:prstGeom prst="rect">
            <a:avLst/>
          </a:prstGeom>
        </p:spPr>
      </p:pic>
    </p:spTree>
    <p:extLst>
      <p:ext uri="{BB962C8B-B14F-4D97-AF65-F5344CB8AC3E}">
        <p14:creationId xmlns:p14="http://schemas.microsoft.com/office/powerpoint/2010/main" val="15466601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Picture with Caption" type="picTx">
  <p:cSld name="PICTURE_WITH_CAPTION_TEXT">
    <p:spTree>
      <p:nvGrpSpPr>
        <p:cNvPr id="1" name="Shape 61"/>
        <p:cNvGrpSpPr/>
        <p:nvPr/>
      </p:nvGrpSpPr>
      <p:grpSpPr>
        <a:xfrm>
          <a:off x="0" y="0"/>
          <a:ext cx="0" cy="0"/>
          <a:chOff x="0" y="0"/>
          <a:chExt cx="0" cy="0"/>
        </a:xfrm>
      </p:grpSpPr>
      <p:sp>
        <p:nvSpPr>
          <p:cNvPr id="62" name="Google Shape;62;p20"/>
          <p:cNvSpPr txBox="1">
            <a:spLocks noGrp="1"/>
          </p:cNvSpPr>
          <p:nvPr>
            <p:ph type="title"/>
          </p:nvPr>
        </p:nvSpPr>
        <p:spPr>
          <a:xfrm>
            <a:off x="839788" y="457200"/>
            <a:ext cx="3932237" cy="1600200"/>
          </a:xfrm>
          <a:prstGeom prst="rect">
            <a:avLst/>
          </a:prstGeom>
          <a:noFill/>
          <a:ln>
            <a:noFill/>
          </a:ln>
        </p:spPr>
        <p:txBody>
          <a:bodyPr spcFirstLastPara="1" wrap="square" lIns="91425" tIns="45700" rIns="91425" bIns="45700" anchor="b" anchorCtr="0">
            <a:normAutofit/>
          </a:bodyPr>
          <a:lstStyle>
            <a:lvl1pPr lvl="0" algn="l">
              <a:lnSpc>
                <a:spcPct val="90000"/>
              </a:lnSpc>
              <a:spcBef>
                <a:spcPts val="0"/>
              </a:spcBef>
              <a:spcAft>
                <a:spcPts val="0"/>
              </a:spcAft>
              <a:buClr>
                <a:schemeClr val="dk1"/>
              </a:buClr>
              <a:buSzPts val="3200"/>
              <a:buFont typeface="Calibri"/>
              <a:buNone/>
              <a:defRPr sz="32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3" name="Google Shape;63;p20"/>
          <p:cNvSpPr>
            <a:spLocks noGrp="1"/>
          </p:cNvSpPr>
          <p:nvPr>
            <p:ph type="pic" idx="2"/>
          </p:nvPr>
        </p:nvSpPr>
        <p:spPr>
          <a:xfrm>
            <a:off x="5183188" y="987425"/>
            <a:ext cx="6172200" cy="4873625"/>
          </a:xfrm>
          <a:prstGeom prst="rect">
            <a:avLst/>
          </a:prstGeom>
          <a:noFill/>
          <a:ln>
            <a:noFill/>
          </a:ln>
        </p:spPr>
      </p:sp>
      <p:sp>
        <p:nvSpPr>
          <p:cNvPr id="64" name="Google Shape;64;p20"/>
          <p:cNvSpPr txBox="1">
            <a:spLocks noGrp="1"/>
          </p:cNvSpPr>
          <p:nvPr>
            <p:ph type="body" idx="1"/>
          </p:nvPr>
        </p:nvSpPr>
        <p:spPr>
          <a:xfrm>
            <a:off x="839788" y="2057400"/>
            <a:ext cx="3932237" cy="3811588"/>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dk1"/>
              </a:buClr>
              <a:buSzPts val="1600"/>
              <a:buNone/>
              <a:defRPr sz="1600"/>
            </a:lvl1pPr>
            <a:lvl2pPr marL="914400" lvl="1" indent="-228600" algn="l">
              <a:lnSpc>
                <a:spcPct val="90000"/>
              </a:lnSpc>
              <a:spcBef>
                <a:spcPts val="500"/>
              </a:spcBef>
              <a:spcAft>
                <a:spcPts val="0"/>
              </a:spcAft>
              <a:buClr>
                <a:schemeClr val="dk1"/>
              </a:buClr>
              <a:buSzPts val="1400"/>
              <a:buNone/>
              <a:defRPr sz="1400"/>
            </a:lvl2pPr>
            <a:lvl3pPr marL="1371600" lvl="2" indent="-228600" algn="l">
              <a:lnSpc>
                <a:spcPct val="90000"/>
              </a:lnSpc>
              <a:spcBef>
                <a:spcPts val="500"/>
              </a:spcBef>
              <a:spcAft>
                <a:spcPts val="0"/>
              </a:spcAft>
              <a:buClr>
                <a:schemeClr val="dk1"/>
              </a:buClr>
              <a:buSzPts val="1200"/>
              <a:buNone/>
              <a:defRPr sz="1200"/>
            </a:lvl3pPr>
            <a:lvl4pPr marL="1828800" lvl="3" indent="-228600" algn="l">
              <a:lnSpc>
                <a:spcPct val="90000"/>
              </a:lnSpc>
              <a:spcBef>
                <a:spcPts val="500"/>
              </a:spcBef>
              <a:spcAft>
                <a:spcPts val="0"/>
              </a:spcAft>
              <a:buClr>
                <a:schemeClr val="dk1"/>
              </a:buClr>
              <a:buSzPts val="1000"/>
              <a:buNone/>
              <a:defRPr sz="1000"/>
            </a:lvl4pPr>
            <a:lvl5pPr marL="2286000" lvl="4" indent="-228600" algn="l">
              <a:lnSpc>
                <a:spcPct val="90000"/>
              </a:lnSpc>
              <a:spcBef>
                <a:spcPts val="500"/>
              </a:spcBef>
              <a:spcAft>
                <a:spcPts val="0"/>
              </a:spcAft>
              <a:buClr>
                <a:schemeClr val="dk1"/>
              </a:buClr>
              <a:buSzPts val="1000"/>
              <a:buNone/>
              <a:defRPr sz="1000"/>
            </a:lvl5pPr>
            <a:lvl6pPr marL="2743200" lvl="5" indent="-228600" algn="l">
              <a:lnSpc>
                <a:spcPct val="90000"/>
              </a:lnSpc>
              <a:spcBef>
                <a:spcPts val="500"/>
              </a:spcBef>
              <a:spcAft>
                <a:spcPts val="0"/>
              </a:spcAft>
              <a:buClr>
                <a:schemeClr val="dk1"/>
              </a:buClr>
              <a:buSzPts val="1000"/>
              <a:buNone/>
              <a:defRPr sz="1000"/>
            </a:lvl6pPr>
            <a:lvl7pPr marL="3200400" lvl="6" indent="-228600" algn="l">
              <a:lnSpc>
                <a:spcPct val="90000"/>
              </a:lnSpc>
              <a:spcBef>
                <a:spcPts val="500"/>
              </a:spcBef>
              <a:spcAft>
                <a:spcPts val="0"/>
              </a:spcAft>
              <a:buClr>
                <a:schemeClr val="dk1"/>
              </a:buClr>
              <a:buSzPts val="1000"/>
              <a:buNone/>
              <a:defRPr sz="1000"/>
            </a:lvl7pPr>
            <a:lvl8pPr marL="3657600" lvl="7" indent="-228600" algn="l">
              <a:lnSpc>
                <a:spcPct val="90000"/>
              </a:lnSpc>
              <a:spcBef>
                <a:spcPts val="500"/>
              </a:spcBef>
              <a:spcAft>
                <a:spcPts val="0"/>
              </a:spcAft>
              <a:buClr>
                <a:schemeClr val="dk1"/>
              </a:buClr>
              <a:buSzPts val="1000"/>
              <a:buNone/>
              <a:defRPr sz="1000"/>
            </a:lvl8pPr>
            <a:lvl9pPr marL="4114800" lvl="8" indent="-228600" algn="l">
              <a:lnSpc>
                <a:spcPct val="90000"/>
              </a:lnSpc>
              <a:spcBef>
                <a:spcPts val="500"/>
              </a:spcBef>
              <a:spcAft>
                <a:spcPts val="0"/>
              </a:spcAft>
              <a:buClr>
                <a:schemeClr val="dk1"/>
              </a:buClr>
              <a:buSzPts val="1000"/>
              <a:buNone/>
              <a:defRPr sz="1000"/>
            </a:lvl9pPr>
          </a:lstStyle>
          <a:p>
            <a:endParaRPr/>
          </a:p>
        </p:txBody>
      </p:sp>
      <p:sp>
        <p:nvSpPr>
          <p:cNvPr id="65" name="Google Shape;65;p20"/>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66" name="Google Shape;66;p20"/>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67" name="Google Shape;67;p20"/>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GB"/>
              <a:t>‹#›</a:t>
            </a:fld>
            <a:endParaRPr/>
          </a:p>
        </p:txBody>
      </p:sp>
    </p:spTree>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1_D. White one third">
    <p:bg>
      <p:bgPr>
        <a:gradFill>
          <a:gsLst>
            <a:gs pos="0">
              <a:srgbClr val="004E2A"/>
            </a:gs>
            <a:gs pos="100000">
              <a:srgbClr val="78B944"/>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309ABFA-A742-47AD-8938-9ECF23B48092}"/>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6309ABFA-A742-47AD-8938-9ECF23B4809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3 by Boston Consulting Group. All rights reserved.</a:t>
            </a: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vert="horz" anchor="ctr">
            <a:noAutofit/>
          </a:bodyPr>
          <a:lstStyle>
            <a:lvl1pPr>
              <a:defRPr sz="2400">
                <a:solidFill>
                  <a:schemeClr val="tx2"/>
                </a:solidFill>
                <a:latin typeface="+mj-lt"/>
                <a:ea typeface="+mj-ea"/>
                <a:cs typeface="+mj-cs"/>
                <a:sym typeface="Trebuchet MS" panose="020B0603020202020204" pitchFamily="34" charset="0"/>
              </a:defRPr>
            </a:lvl1pPr>
          </a:lstStyle>
          <a:p>
            <a:r>
              <a:rPr lang="en-US"/>
              <a:t>Click to add title</a:t>
            </a:r>
          </a:p>
        </p:txBody>
      </p:sp>
      <p:pic>
        <p:nvPicPr>
          <p:cNvPr id="11" name="Graphic 10">
            <a:extLst>
              <a:ext uri="{FF2B5EF4-FFF2-40B4-BE49-F238E27FC236}">
                <a16:creationId xmlns:a16="http://schemas.microsoft.com/office/drawing/2014/main" id="{CA8B2964-9600-4DAC-B0A7-99169CF33B01}"/>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428018" y="6271005"/>
            <a:ext cx="498632" cy="517662"/>
          </a:xfrm>
          <a:prstGeom prst="rect">
            <a:avLst/>
          </a:prstGeom>
        </p:spPr>
      </p:pic>
    </p:spTree>
    <p:extLst>
      <p:ext uri="{BB962C8B-B14F-4D97-AF65-F5344CB8AC3E}">
        <p14:creationId xmlns:p14="http://schemas.microsoft.com/office/powerpoint/2010/main" val="35370249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1_D. Green highlight">
    <p:bg>
      <p:bgPr>
        <a:gradFill>
          <a:gsLst>
            <a:gs pos="0">
              <a:srgbClr val="004E2A"/>
            </a:gs>
            <a:gs pos="100000">
              <a:srgbClr val="78B944"/>
            </a:gs>
          </a:gsLst>
          <a:lin ang="8100000" scaled="1"/>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1098BC0-3FD3-4042-A4ED-46604AE35D84}"/>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a:extLst>
                          <a:ext uri="{FF2B5EF4-FFF2-40B4-BE49-F238E27FC236}">
                            <a16:creationId xmlns:a16="http://schemas.microsoft.com/office/drawing/2014/main" id="{B1098BC0-3FD3-4042-A4ED-46604AE35D8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3 by Boston Consulting Group. All rights reserved.</a:t>
            </a:r>
          </a:p>
        </p:txBody>
      </p:sp>
      <p:sp>
        <p:nvSpPr>
          <p:cNvPr id="2" name="Title 1"/>
          <p:cNvSpPr>
            <a:spLocks noGrp="1"/>
          </p:cNvSpPr>
          <p:nvPr>
            <p:ph type="title" hasCustomPrompt="1"/>
          </p:nvPr>
        </p:nvSpPr>
        <p:spPr>
          <a:xfrm>
            <a:off x="630000" y="622800"/>
            <a:ext cx="6276529" cy="332399"/>
          </a:xfrm>
          <a:prstGeom prst="rect">
            <a:avLst/>
          </a:prstGeom>
        </p:spPr>
        <p:txBody>
          <a:bodyPr vert="horz"/>
          <a:lstStyle>
            <a:lvl1pPr>
              <a:defRPr>
                <a:latin typeface="+mj-lt"/>
                <a:ea typeface="+mj-ea"/>
                <a:cs typeface="+mj-cs"/>
                <a:sym typeface="Trebuchet MS" panose="020B0603020202020204" pitchFamily="34" charset="0"/>
              </a:defRPr>
            </a:lvl1pPr>
          </a:lstStyle>
          <a:p>
            <a:r>
              <a:rPr lang="en-US"/>
              <a:t>Click to add title</a:t>
            </a:r>
          </a:p>
        </p:txBody>
      </p:sp>
      <p:pic>
        <p:nvPicPr>
          <p:cNvPr id="11" name="Graphic 10">
            <a:extLst>
              <a:ext uri="{FF2B5EF4-FFF2-40B4-BE49-F238E27FC236}">
                <a16:creationId xmlns:a16="http://schemas.microsoft.com/office/drawing/2014/main" id="{FEFA0837-A574-4B5E-ADDB-F1FDAAD40FDE}"/>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428018" y="6271005"/>
            <a:ext cx="498632" cy="517662"/>
          </a:xfrm>
          <a:prstGeom prst="rect">
            <a:avLst/>
          </a:prstGeom>
        </p:spPr>
      </p:pic>
    </p:spTree>
    <p:extLst>
      <p:ext uri="{BB962C8B-B14F-4D97-AF65-F5344CB8AC3E}">
        <p14:creationId xmlns:p14="http://schemas.microsoft.com/office/powerpoint/2010/main" val="36285997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1_D. Four column green">
    <p:bg>
      <p:bgPr>
        <a:gradFill>
          <a:gsLst>
            <a:gs pos="0">
              <a:srgbClr val="004E2A"/>
            </a:gs>
            <a:gs pos="100000">
              <a:srgbClr val="78B944"/>
            </a:gs>
          </a:gsLst>
          <a:lin ang="8100000" scaled="1"/>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9C1361-72CE-479C-9918-741A81F1F474}"/>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a:extLst>
                          <a:ext uri="{FF2B5EF4-FFF2-40B4-BE49-F238E27FC236}">
                            <a16:creationId xmlns:a16="http://schemas.microsoft.com/office/drawing/2014/main" id="{3C9C1361-72CE-479C-9918-741A81F1F47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3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vert="horz"/>
          <a:lstStyle>
            <a:lvl1pPr>
              <a:defRPr>
                <a:latin typeface="+mj-lt"/>
                <a:ea typeface="+mj-ea"/>
                <a:cs typeface="+mj-cs"/>
                <a:sym typeface="Trebuchet MS" panose="020B0603020202020204" pitchFamily="34" charset="0"/>
              </a:defRPr>
            </a:lvl1pPr>
          </a:lstStyle>
          <a:p>
            <a:r>
              <a:rPr lang="en-US"/>
              <a:t>Click to add title</a:t>
            </a:r>
          </a:p>
        </p:txBody>
      </p:sp>
      <p:pic>
        <p:nvPicPr>
          <p:cNvPr id="11" name="Graphic 10">
            <a:extLst>
              <a:ext uri="{FF2B5EF4-FFF2-40B4-BE49-F238E27FC236}">
                <a16:creationId xmlns:a16="http://schemas.microsoft.com/office/drawing/2014/main" id="{60688487-FEC5-4D7A-AE75-0A1041853A04}"/>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428018" y="6271005"/>
            <a:ext cx="498632" cy="517662"/>
          </a:xfrm>
          <a:prstGeom prst="rect">
            <a:avLst/>
          </a:prstGeom>
        </p:spPr>
      </p:pic>
    </p:spTree>
    <p:extLst>
      <p:ext uri="{BB962C8B-B14F-4D97-AF65-F5344CB8AC3E}">
        <p14:creationId xmlns:p14="http://schemas.microsoft.com/office/powerpoint/2010/main" val="24661588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1_D. Green one third">
    <p:bg>
      <p:bgPr>
        <a:gradFill>
          <a:gsLst>
            <a:gs pos="0">
              <a:srgbClr val="004E2A"/>
            </a:gs>
            <a:gs pos="100000">
              <a:srgbClr val="78B944"/>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CF2E201-93C1-4209-877B-D2B78F8C8717}"/>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CCF2E201-93C1-4209-877B-D2B78F8C871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vert="horz" anchor="ctr">
            <a:noAutofit/>
          </a:bodyPr>
          <a:lstStyle>
            <a:lvl1pPr>
              <a:defRPr sz="2400">
                <a:solidFill>
                  <a:schemeClr val="bg1"/>
                </a:solidFill>
                <a:latin typeface="+mj-lt"/>
                <a:ea typeface="+mj-ea"/>
                <a:cs typeface="+mj-cs"/>
                <a:sym typeface="Trebuchet MS" panose="020B0603020202020204" pitchFamily="34" charset="0"/>
              </a:defRPr>
            </a:lvl1pPr>
          </a:lstStyle>
          <a:p>
            <a:r>
              <a:rPr lang="en-US"/>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3 by Boston Consulting Group. All rights reserved.</a:t>
            </a: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pic>
        <p:nvPicPr>
          <p:cNvPr id="12" name="Graphic 11">
            <a:extLst>
              <a:ext uri="{FF2B5EF4-FFF2-40B4-BE49-F238E27FC236}">
                <a16:creationId xmlns:a16="http://schemas.microsoft.com/office/drawing/2014/main" id="{98B6CCC3-33DD-4B31-8B73-A1CCC60C8A62}"/>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428018" y="6271005"/>
            <a:ext cx="498632" cy="517662"/>
          </a:xfrm>
          <a:prstGeom prst="rect">
            <a:avLst/>
          </a:prstGeom>
        </p:spPr>
      </p:pic>
    </p:spTree>
    <p:extLst>
      <p:ext uri="{BB962C8B-B14F-4D97-AF65-F5344CB8AC3E}">
        <p14:creationId xmlns:p14="http://schemas.microsoft.com/office/powerpoint/2010/main" val="16856155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1_D. Green half">
    <p:bg>
      <p:bgPr>
        <a:gradFill>
          <a:gsLst>
            <a:gs pos="0">
              <a:srgbClr val="004E2A"/>
            </a:gs>
            <a:gs pos="100000">
              <a:srgbClr val="78B944"/>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47F48E6-8F4F-4C8A-840F-E9E450106B48}"/>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647F48E6-8F4F-4C8A-840F-E9E450106B4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Trebuchet MS" panose="020B0603020202020204" pitchFamily="34" charset="0"/>
              </a:defRPr>
            </a:lvl1pPr>
          </a:lstStyle>
          <a:p>
            <a:r>
              <a:rPr lang="en-US"/>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vert="horz" wrap="square" lIns="0" tIns="0" rIns="320040" bIns="0" anchor="ctr">
            <a:noAutofit/>
          </a:bodyPr>
          <a:lstStyle>
            <a:lvl1pPr>
              <a:defRPr sz="4400">
                <a:solidFill>
                  <a:schemeClr val="bg1"/>
                </a:solidFill>
                <a:latin typeface="+mj-lt"/>
                <a:ea typeface="+mj-ea"/>
                <a:cs typeface="+mj-cs"/>
                <a:sym typeface="Trebuchet MS" panose="020B0603020202020204" pitchFamily="34" charset="0"/>
              </a:defRPr>
            </a:lvl1pPr>
          </a:lstStyle>
          <a:p>
            <a:r>
              <a:rPr lang="en-US"/>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Trebuchet MS" panose="020B0603020202020204" pitchFamily="34" charset="0"/>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3 by Boston Consulting Group. All rights reserved.</a:t>
            </a:r>
          </a:p>
        </p:txBody>
      </p:sp>
      <p:pic>
        <p:nvPicPr>
          <p:cNvPr id="16" name="Graphic 15">
            <a:extLst>
              <a:ext uri="{FF2B5EF4-FFF2-40B4-BE49-F238E27FC236}">
                <a16:creationId xmlns:a16="http://schemas.microsoft.com/office/drawing/2014/main" id="{3B0EDB3A-5498-4F2C-AA15-DD727D2BCEE0}"/>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428018" y="6271005"/>
            <a:ext cx="498632" cy="517662"/>
          </a:xfrm>
          <a:prstGeom prst="rect">
            <a:avLst/>
          </a:prstGeom>
        </p:spPr>
      </p:pic>
    </p:spTree>
    <p:extLst>
      <p:ext uri="{BB962C8B-B14F-4D97-AF65-F5344CB8AC3E}">
        <p14:creationId xmlns:p14="http://schemas.microsoft.com/office/powerpoint/2010/main" val="30215716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1_D. Green two third">
    <p:bg>
      <p:bgPr>
        <a:gradFill>
          <a:gsLst>
            <a:gs pos="0">
              <a:srgbClr val="004E2A"/>
            </a:gs>
            <a:gs pos="100000">
              <a:srgbClr val="78B944"/>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1F4A537-39BC-418A-8B9B-AD1146CAD24C}"/>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D1F4A537-39BC-418A-8B9B-AD1146CAD24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Trebuchet MS" panose="020B0603020202020204" pitchFamily="34" charset="0"/>
              </a:defRPr>
            </a:lvl1pPr>
          </a:lstStyle>
          <a:p>
            <a:r>
              <a:rPr lang="en-US"/>
              <a:t>Click icon below to insert an image or remove this placeholder to use the whitespace in another way</a:t>
            </a: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3 by Boston Consulting Group. All rights reserved.</a:t>
            </a:r>
          </a:p>
        </p:txBody>
      </p:sp>
      <p:sp>
        <p:nvSpPr>
          <p:cNvPr id="15" name="Title 1"/>
          <p:cNvSpPr>
            <a:spLocks noGrp="1"/>
          </p:cNvSpPr>
          <p:nvPr>
            <p:ph type="title" hasCustomPrompt="1"/>
          </p:nvPr>
        </p:nvSpPr>
        <p:spPr bwMode="black">
          <a:xfrm>
            <a:off x="630936" y="1785600"/>
            <a:ext cx="6247552" cy="3286800"/>
          </a:xfrm>
          <a:prstGeom prst="rect">
            <a:avLst/>
          </a:prstGeom>
        </p:spPr>
        <p:txBody>
          <a:bodyPr vert="horz" anchor="ctr">
            <a:noAutofit/>
          </a:bodyPr>
          <a:lstStyle>
            <a:lvl1pPr>
              <a:defRPr sz="4400">
                <a:solidFill>
                  <a:schemeClr val="bg1"/>
                </a:solidFill>
                <a:latin typeface="+mj-lt"/>
                <a:ea typeface="+mj-ea"/>
                <a:cs typeface="+mj-cs"/>
                <a:sym typeface="Trebuchet MS" panose="020B0603020202020204" pitchFamily="34" charset="0"/>
              </a:defRPr>
            </a:lvl1pPr>
          </a:lstStyle>
          <a:p>
            <a:r>
              <a:rPr lang="en-US"/>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Trebuchet MS" panose="020B0603020202020204" pitchFamily="34" charset="0"/>
            </a:endParaRPr>
          </a:p>
        </p:txBody>
      </p:sp>
      <p:pic>
        <p:nvPicPr>
          <p:cNvPr id="17" name="Graphic 16">
            <a:extLst>
              <a:ext uri="{FF2B5EF4-FFF2-40B4-BE49-F238E27FC236}">
                <a16:creationId xmlns:a16="http://schemas.microsoft.com/office/drawing/2014/main" id="{8B896DE2-713E-47E0-AB20-8D007B12B6B9}"/>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428018" y="6271005"/>
            <a:ext cx="498632" cy="517662"/>
          </a:xfrm>
          <a:prstGeom prst="rect">
            <a:avLst/>
          </a:prstGeom>
        </p:spPr>
      </p:pic>
    </p:spTree>
    <p:extLst>
      <p:ext uri="{BB962C8B-B14F-4D97-AF65-F5344CB8AC3E}">
        <p14:creationId xmlns:p14="http://schemas.microsoft.com/office/powerpoint/2010/main" val="26168748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1_D. Left arrow">
    <p:bg>
      <p:bgPr>
        <a:gradFill>
          <a:gsLst>
            <a:gs pos="0">
              <a:srgbClr val="004E2A"/>
            </a:gs>
            <a:gs pos="100000">
              <a:srgbClr val="78B944"/>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3 by Boston Consulting Group. All rights reserved.</a:t>
            </a: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vert="horz" anchor="ctr">
            <a:noAutofit/>
          </a:bodyPr>
          <a:lstStyle>
            <a:lvl1pPr>
              <a:defRPr sz="2400">
                <a:solidFill>
                  <a:schemeClr val="tx2"/>
                </a:solidFill>
                <a:latin typeface="+mj-lt"/>
                <a:ea typeface="+mj-ea"/>
                <a:cs typeface="+mj-cs"/>
                <a:sym typeface="Trebuchet MS" panose="020B0603020202020204" pitchFamily="34" charset="0"/>
              </a:defRPr>
            </a:lvl1pPr>
          </a:lstStyle>
          <a:p>
            <a:r>
              <a:rPr lang="en-US">
                <a:solidFill>
                  <a:schemeClr val="tx2"/>
                </a:solidFill>
              </a:rPr>
              <a:t>Click to add title</a:t>
            </a:r>
          </a:p>
        </p:txBody>
      </p:sp>
      <p:pic>
        <p:nvPicPr>
          <p:cNvPr id="12" name="Picture 11"/>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pic>
        <p:nvPicPr>
          <p:cNvPr id="15" name="Graphic 14">
            <a:extLst>
              <a:ext uri="{FF2B5EF4-FFF2-40B4-BE49-F238E27FC236}">
                <a16:creationId xmlns:a16="http://schemas.microsoft.com/office/drawing/2014/main" id="{58A658C9-283C-409B-BCDE-0B1CE587CC6C}"/>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428018" y="6271005"/>
            <a:ext cx="498632" cy="517662"/>
          </a:xfrm>
          <a:prstGeom prst="rect">
            <a:avLst/>
          </a:prstGeom>
        </p:spPr>
      </p:pic>
    </p:spTree>
    <p:extLst>
      <p:ext uri="{BB962C8B-B14F-4D97-AF65-F5344CB8AC3E}">
        <p14:creationId xmlns:p14="http://schemas.microsoft.com/office/powerpoint/2010/main" val="21961707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1_D. Green left arrow">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B621046-ED60-4E65-AC39-F99A800D8AF5}"/>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FB621046-ED60-4E65-AC39-F99A800D8AF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rgbClr val="004E2A"/>
              </a:gs>
              <a:gs pos="100000">
                <a:srgbClr val="78B944"/>
              </a:gs>
            </a:gsLst>
            <a:lin ang="8100000" scaled="1"/>
          </a:gra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008C4F"/>
                </a:solidFill>
                <a:prstDash val="solid"/>
                <a:round/>
                <a:headEnd type="none" w="med" len="med"/>
                <a:tailEnd type="none" w="med" len="med"/>
              </a14:hiddenLine>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fontAlgn="base">
              <a:spcBef>
                <a:spcPct val="0"/>
              </a:spcBef>
              <a:spcAft>
                <a:spcPct val="0"/>
              </a:spcAft>
            </a:pPr>
            <a:endParaRPr lang="en-US" sz="1200" kern="0">
              <a:solidFill>
                <a:srgbClr val="FFFFFF"/>
              </a:solidFill>
              <a:latin typeface="+mn-lt"/>
              <a:ea typeface="+mn-ea"/>
              <a:cs typeface="+mn-cs"/>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vert="horz" anchor="ctr" anchorCtr="0">
            <a:noAutofit/>
          </a:bodyPr>
          <a:lstStyle>
            <a:lvl1pPr>
              <a:defRPr>
                <a:solidFill>
                  <a:srgbClr val="FFFFFF"/>
                </a:solidFill>
                <a:latin typeface="+mj-lt"/>
                <a:ea typeface="+mj-ea"/>
                <a:cs typeface="+mj-cs"/>
              </a:defRPr>
            </a:lvl1pPr>
          </a:lstStyle>
          <a:p>
            <a:r>
              <a:rPr lang="en-US"/>
              <a:t>Click to add title</a:t>
            </a: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3 by Boston Consulting Group.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pic>
        <p:nvPicPr>
          <p:cNvPr id="11" name="Graphic 10">
            <a:extLst>
              <a:ext uri="{FF2B5EF4-FFF2-40B4-BE49-F238E27FC236}">
                <a16:creationId xmlns:a16="http://schemas.microsoft.com/office/drawing/2014/main" id="{5E9A8F04-435B-49AB-9F48-BEDFEEE7CF80}"/>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428018" y="6271005"/>
            <a:ext cx="498632" cy="517662"/>
          </a:xfrm>
          <a:prstGeom prst="rect">
            <a:avLst/>
          </a:prstGeom>
        </p:spPr>
      </p:pic>
    </p:spTree>
    <p:extLst>
      <p:ext uri="{BB962C8B-B14F-4D97-AF65-F5344CB8AC3E}">
        <p14:creationId xmlns:p14="http://schemas.microsoft.com/office/powerpoint/2010/main" val="30354619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1_D. Arrow one third">
    <p:bg>
      <p:bgPr>
        <a:gradFill>
          <a:gsLst>
            <a:gs pos="0">
              <a:srgbClr val="004E2A"/>
            </a:gs>
            <a:gs pos="100000">
              <a:srgbClr val="78B944"/>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1574FA5-5389-4F55-B7F5-8FAFE670CBDB}"/>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E1574FA5-5389-4F55-B7F5-8FAFE670CB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solidFill>
              <a:latin typeface="+mn-lt"/>
              <a:ea typeface="+mn-ea"/>
              <a:cs typeface="+mn-cs"/>
              <a:sym typeface="Trebuchet MS" panose="020B0603020202020204" pitchFamily="34" charset="0"/>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3 by Boston Consulting Group. All rights reserved.</a:t>
            </a: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vert="horz" anchor="ctr">
            <a:noAutofit/>
          </a:bodyPr>
          <a:lstStyle>
            <a:lvl1pPr>
              <a:defRPr sz="4400" b="0">
                <a:solidFill>
                  <a:schemeClr val="tx2"/>
                </a:solidFill>
                <a:latin typeface="+mj-lt"/>
                <a:ea typeface="+mj-ea"/>
                <a:cs typeface="+mj-cs"/>
                <a:sym typeface="Trebuchet MS" panose="020B0603020202020204" pitchFamily="34" charset="0"/>
              </a:defRPr>
            </a:lvl1pPr>
          </a:lstStyle>
          <a:p>
            <a:r>
              <a:rPr lang="en-US"/>
              <a:t>Click to add title</a:t>
            </a:r>
          </a:p>
        </p:txBody>
      </p:sp>
      <p:pic>
        <p:nvPicPr>
          <p:cNvPr id="11" name="Picture 10"/>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pic>
        <p:nvPicPr>
          <p:cNvPr id="13" name="Graphic 12">
            <a:extLst>
              <a:ext uri="{FF2B5EF4-FFF2-40B4-BE49-F238E27FC236}">
                <a16:creationId xmlns:a16="http://schemas.microsoft.com/office/drawing/2014/main" id="{EE975D33-C34C-42D4-96B2-445B5DD34411}"/>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428018" y="6271005"/>
            <a:ext cx="498632" cy="517662"/>
          </a:xfrm>
          <a:prstGeom prst="rect">
            <a:avLst/>
          </a:prstGeom>
        </p:spPr>
      </p:pic>
    </p:spTree>
    <p:extLst>
      <p:ext uri="{BB962C8B-B14F-4D97-AF65-F5344CB8AC3E}">
        <p14:creationId xmlns:p14="http://schemas.microsoft.com/office/powerpoint/2010/main" val="32467590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1_D. Green arrow one thir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CC8594D-7A00-4E04-AE75-22435AC62092}"/>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8CC8594D-7A00-4E04-AE75-22435AC6209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9" name="Pentagon 3"/>
          <p:cNvSpPr/>
          <p:nvPr userDrawn="1"/>
        </p:nvSpPr>
        <p:spPr bwMode="white">
          <a:xfrm>
            <a:off x="1" y="0"/>
            <a:ext cx="5426920" cy="6858000"/>
          </a:xfrm>
          <a:prstGeom prst="homePlate">
            <a:avLst>
              <a:gd name="adj" fmla="val 12939"/>
            </a:avLst>
          </a:prstGeom>
          <a:gradFill>
            <a:gsLst>
              <a:gs pos="0">
                <a:srgbClr val="004E2A"/>
              </a:gs>
              <a:gs pos="100000">
                <a:srgbClr val="78B944"/>
              </a:gs>
            </a:gsLst>
            <a:lin ang="8100000" scaled="1"/>
          </a:gra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008C4F"/>
                </a:solidFill>
                <a:prstDash val="solid"/>
                <a:round/>
                <a:headEnd type="none" w="med" len="med"/>
                <a:tailEnd type="none" w="med" len="med"/>
              </a14:hiddenLine>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fontAlgn="base">
              <a:spcBef>
                <a:spcPct val="0"/>
              </a:spcBef>
              <a:spcAft>
                <a:spcPct val="0"/>
              </a:spcAft>
            </a:pPr>
            <a:endParaRPr lang="en-US" sz="1200" kern="0">
              <a:solidFill>
                <a:srgbClr val="FFFFFF"/>
              </a:solidFill>
              <a:latin typeface="+mn-lt"/>
              <a:ea typeface="+mn-ea"/>
              <a:cs typeface="+mn-cs"/>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vert="horz" anchor="ctr">
            <a:noAutofit/>
          </a:bodyPr>
          <a:lstStyle>
            <a:lvl1pPr>
              <a:defRPr sz="4400" b="0">
                <a:solidFill>
                  <a:srgbClr val="FFFFFF"/>
                </a:solidFill>
                <a:latin typeface="+mj-lt"/>
                <a:ea typeface="+mj-ea"/>
                <a:cs typeface="+mj-cs"/>
                <a:sym typeface="Trebuchet MS" panose="020B0603020202020204" pitchFamily="34" charset="0"/>
              </a:defRPr>
            </a:lvl1pPr>
          </a:lstStyle>
          <a:p>
            <a:r>
              <a:rPr lang="en-US"/>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3 by Boston Consulting Group.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pic>
        <p:nvPicPr>
          <p:cNvPr id="11" name="Graphic 10">
            <a:extLst>
              <a:ext uri="{FF2B5EF4-FFF2-40B4-BE49-F238E27FC236}">
                <a16:creationId xmlns:a16="http://schemas.microsoft.com/office/drawing/2014/main" id="{1FFEA053-AA7F-4306-87CC-86CF132F9C5C}"/>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428018" y="6271005"/>
            <a:ext cx="498632" cy="517662"/>
          </a:xfrm>
          <a:prstGeom prst="rect">
            <a:avLst/>
          </a:prstGeom>
        </p:spPr>
      </p:pic>
    </p:spTree>
    <p:extLst>
      <p:ext uri="{BB962C8B-B14F-4D97-AF65-F5344CB8AC3E}">
        <p14:creationId xmlns:p14="http://schemas.microsoft.com/office/powerpoint/2010/main" val="11754435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26" Type="http://schemas.openxmlformats.org/officeDocument/2006/relationships/slideLayout" Target="../slideLayouts/slideLayout37.xml"/><Relationship Id="rId117" Type="http://schemas.openxmlformats.org/officeDocument/2006/relationships/slideLayout" Target="../slideLayouts/slideLayout128.xml"/><Relationship Id="rId21" Type="http://schemas.openxmlformats.org/officeDocument/2006/relationships/slideLayout" Target="../slideLayouts/slideLayout32.xml"/><Relationship Id="rId42" Type="http://schemas.openxmlformats.org/officeDocument/2006/relationships/slideLayout" Target="../slideLayouts/slideLayout53.xml"/><Relationship Id="rId47" Type="http://schemas.openxmlformats.org/officeDocument/2006/relationships/slideLayout" Target="../slideLayouts/slideLayout58.xml"/><Relationship Id="rId63" Type="http://schemas.openxmlformats.org/officeDocument/2006/relationships/slideLayout" Target="../slideLayouts/slideLayout74.xml"/><Relationship Id="rId68" Type="http://schemas.openxmlformats.org/officeDocument/2006/relationships/slideLayout" Target="../slideLayouts/slideLayout79.xml"/><Relationship Id="rId84" Type="http://schemas.openxmlformats.org/officeDocument/2006/relationships/slideLayout" Target="../slideLayouts/slideLayout95.xml"/><Relationship Id="rId89" Type="http://schemas.openxmlformats.org/officeDocument/2006/relationships/slideLayout" Target="../slideLayouts/slideLayout100.xml"/><Relationship Id="rId112" Type="http://schemas.openxmlformats.org/officeDocument/2006/relationships/slideLayout" Target="../slideLayouts/slideLayout123.xml"/><Relationship Id="rId133" Type="http://schemas.openxmlformats.org/officeDocument/2006/relationships/slideLayout" Target="../slideLayouts/slideLayout144.xml"/><Relationship Id="rId138" Type="http://schemas.openxmlformats.org/officeDocument/2006/relationships/slideLayout" Target="../slideLayouts/slideLayout149.xml"/><Relationship Id="rId154" Type="http://schemas.openxmlformats.org/officeDocument/2006/relationships/slideLayout" Target="../slideLayouts/slideLayout165.xml"/><Relationship Id="rId159" Type="http://schemas.openxmlformats.org/officeDocument/2006/relationships/slideLayout" Target="../slideLayouts/slideLayout170.xml"/><Relationship Id="rId175" Type="http://schemas.openxmlformats.org/officeDocument/2006/relationships/tags" Target="../tags/tag1.xml"/><Relationship Id="rId170" Type="http://schemas.openxmlformats.org/officeDocument/2006/relationships/slideLayout" Target="../slideLayouts/slideLayout181.xml"/><Relationship Id="rId16" Type="http://schemas.openxmlformats.org/officeDocument/2006/relationships/slideLayout" Target="../slideLayouts/slideLayout27.xml"/><Relationship Id="rId107" Type="http://schemas.openxmlformats.org/officeDocument/2006/relationships/slideLayout" Target="../slideLayouts/slideLayout118.xml"/><Relationship Id="rId11" Type="http://schemas.openxmlformats.org/officeDocument/2006/relationships/slideLayout" Target="../slideLayouts/slideLayout22.xml"/><Relationship Id="rId32" Type="http://schemas.openxmlformats.org/officeDocument/2006/relationships/slideLayout" Target="../slideLayouts/slideLayout43.xml"/><Relationship Id="rId37" Type="http://schemas.openxmlformats.org/officeDocument/2006/relationships/slideLayout" Target="../slideLayouts/slideLayout48.xml"/><Relationship Id="rId53" Type="http://schemas.openxmlformats.org/officeDocument/2006/relationships/slideLayout" Target="../slideLayouts/slideLayout64.xml"/><Relationship Id="rId58" Type="http://schemas.openxmlformats.org/officeDocument/2006/relationships/slideLayout" Target="../slideLayouts/slideLayout69.xml"/><Relationship Id="rId74" Type="http://schemas.openxmlformats.org/officeDocument/2006/relationships/slideLayout" Target="../slideLayouts/slideLayout85.xml"/><Relationship Id="rId79" Type="http://schemas.openxmlformats.org/officeDocument/2006/relationships/slideLayout" Target="../slideLayouts/slideLayout90.xml"/><Relationship Id="rId102" Type="http://schemas.openxmlformats.org/officeDocument/2006/relationships/slideLayout" Target="../slideLayouts/slideLayout113.xml"/><Relationship Id="rId123" Type="http://schemas.openxmlformats.org/officeDocument/2006/relationships/slideLayout" Target="../slideLayouts/slideLayout134.xml"/><Relationship Id="rId128" Type="http://schemas.openxmlformats.org/officeDocument/2006/relationships/slideLayout" Target="../slideLayouts/slideLayout139.xml"/><Relationship Id="rId144" Type="http://schemas.openxmlformats.org/officeDocument/2006/relationships/slideLayout" Target="../slideLayouts/slideLayout155.xml"/><Relationship Id="rId149" Type="http://schemas.openxmlformats.org/officeDocument/2006/relationships/slideLayout" Target="../slideLayouts/slideLayout160.xml"/><Relationship Id="rId5" Type="http://schemas.openxmlformats.org/officeDocument/2006/relationships/slideLayout" Target="../slideLayouts/slideLayout16.xml"/><Relationship Id="rId90" Type="http://schemas.openxmlformats.org/officeDocument/2006/relationships/slideLayout" Target="../slideLayouts/slideLayout101.xml"/><Relationship Id="rId95" Type="http://schemas.openxmlformats.org/officeDocument/2006/relationships/slideLayout" Target="../slideLayouts/slideLayout106.xml"/><Relationship Id="rId160" Type="http://schemas.openxmlformats.org/officeDocument/2006/relationships/slideLayout" Target="../slideLayouts/slideLayout171.xml"/><Relationship Id="rId165" Type="http://schemas.openxmlformats.org/officeDocument/2006/relationships/slideLayout" Target="../slideLayouts/slideLayout176.xml"/><Relationship Id="rId22" Type="http://schemas.openxmlformats.org/officeDocument/2006/relationships/slideLayout" Target="../slideLayouts/slideLayout33.xml"/><Relationship Id="rId27" Type="http://schemas.openxmlformats.org/officeDocument/2006/relationships/slideLayout" Target="../slideLayouts/slideLayout38.xml"/><Relationship Id="rId43" Type="http://schemas.openxmlformats.org/officeDocument/2006/relationships/slideLayout" Target="../slideLayouts/slideLayout54.xml"/><Relationship Id="rId48" Type="http://schemas.openxmlformats.org/officeDocument/2006/relationships/slideLayout" Target="../slideLayouts/slideLayout59.xml"/><Relationship Id="rId64" Type="http://schemas.openxmlformats.org/officeDocument/2006/relationships/slideLayout" Target="../slideLayouts/slideLayout75.xml"/><Relationship Id="rId69" Type="http://schemas.openxmlformats.org/officeDocument/2006/relationships/slideLayout" Target="../slideLayouts/slideLayout80.xml"/><Relationship Id="rId113" Type="http://schemas.openxmlformats.org/officeDocument/2006/relationships/slideLayout" Target="../slideLayouts/slideLayout124.xml"/><Relationship Id="rId118" Type="http://schemas.openxmlformats.org/officeDocument/2006/relationships/slideLayout" Target="../slideLayouts/slideLayout129.xml"/><Relationship Id="rId134" Type="http://schemas.openxmlformats.org/officeDocument/2006/relationships/slideLayout" Target="../slideLayouts/slideLayout145.xml"/><Relationship Id="rId139" Type="http://schemas.openxmlformats.org/officeDocument/2006/relationships/slideLayout" Target="../slideLayouts/slideLayout150.xml"/><Relationship Id="rId80" Type="http://schemas.openxmlformats.org/officeDocument/2006/relationships/slideLayout" Target="../slideLayouts/slideLayout91.xml"/><Relationship Id="rId85" Type="http://schemas.openxmlformats.org/officeDocument/2006/relationships/slideLayout" Target="../slideLayouts/slideLayout96.xml"/><Relationship Id="rId150" Type="http://schemas.openxmlformats.org/officeDocument/2006/relationships/slideLayout" Target="../slideLayouts/slideLayout161.xml"/><Relationship Id="rId155" Type="http://schemas.openxmlformats.org/officeDocument/2006/relationships/slideLayout" Target="../slideLayouts/slideLayout166.xml"/><Relationship Id="rId171" Type="http://schemas.openxmlformats.org/officeDocument/2006/relationships/slideLayout" Target="../slideLayouts/slideLayout182.xml"/><Relationship Id="rId176" Type="http://schemas.openxmlformats.org/officeDocument/2006/relationships/oleObject" Target="../embeddings/oleObject1.bin"/><Relationship Id="rId12" Type="http://schemas.openxmlformats.org/officeDocument/2006/relationships/slideLayout" Target="../slideLayouts/slideLayout23.xml"/><Relationship Id="rId17" Type="http://schemas.openxmlformats.org/officeDocument/2006/relationships/slideLayout" Target="../slideLayouts/slideLayout28.xml"/><Relationship Id="rId33" Type="http://schemas.openxmlformats.org/officeDocument/2006/relationships/slideLayout" Target="../slideLayouts/slideLayout44.xml"/><Relationship Id="rId38" Type="http://schemas.openxmlformats.org/officeDocument/2006/relationships/slideLayout" Target="../slideLayouts/slideLayout49.xml"/><Relationship Id="rId59" Type="http://schemas.openxmlformats.org/officeDocument/2006/relationships/slideLayout" Target="../slideLayouts/slideLayout70.xml"/><Relationship Id="rId103" Type="http://schemas.openxmlformats.org/officeDocument/2006/relationships/slideLayout" Target="../slideLayouts/slideLayout114.xml"/><Relationship Id="rId108" Type="http://schemas.openxmlformats.org/officeDocument/2006/relationships/slideLayout" Target="../slideLayouts/slideLayout119.xml"/><Relationship Id="rId124" Type="http://schemas.openxmlformats.org/officeDocument/2006/relationships/slideLayout" Target="../slideLayouts/slideLayout135.xml"/><Relationship Id="rId129" Type="http://schemas.openxmlformats.org/officeDocument/2006/relationships/slideLayout" Target="../slideLayouts/slideLayout140.xml"/><Relationship Id="rId54" Type="http://schemas.openxmlformats.org/officeDocument/2006/relationships/slideLayout" Target="../slideLayouts/slideLayout65.xml"/><Relationship Id="rId70" Type="http://schemas.openxmlformats.org/officeDocument/2006/relationships/slideLayout" Target="../slideLayouts/slideLayout81.xml"/><Relationship Id="rId75" Type="http://schemas.openxmlformats.org/officeDocument/2006/relationships/slideLayout" Target="../slideLayouts/slideLayout86.xml"/><Relationship Id="rId91" Type="http://schemas.openxmlformats.org/officeDocument/2006/relationships/slideLayout" Target="../slideLayouts/slideLayout102.xml"/><Relationship Id="rId96" Type="http://schemas.openxmlformats.org/officeDocument/2006/relationships/slideLayout" Target="../slideLayouts/slideLayout107.xml"/><Relationship Id="rId140" Type="http://schemas.openxmlformats.org/officeDocument/2006/relationships/slideLayout" Target="../slideLayouts/slideLayout151.xml"/><Relationship Id="rId145" Type="http://schemas.openxmlformats.org/officeDocument/2006/relationships/slideLayout" Target="../slideLayouts/slideLayout156.xml"/><Relationship Id="rId161" Type="http://schemas.openxmlformats.org/officeDocument/2006/relationships/slideLayout" Target="../slideLayouts/slideLayout172.xml"/><Relationship Id="rId166" Type="http://schemas.openxmlformats.org/officeDocument/2006/relationships/slideLayout" Target="../slideLayouts/slideLayout177.xml"/><Relationship Id="rId1" Type="http://schemas.openxmlformats.org/officeDocument/2006/relationships/slideLayout" Target="../slideLayouts/slideLayout12.xml"/><Relationship Id="rId6" Type="http://schemas.openxmlformats.org/officeDocument/2006/relationships/slideLayout" Target="../slideLayouts/slideLayout17.xml"/><Relationship Id="rId23" Type="http://schemas.openxmlformats.org/officeDocument/2006/relationships/slideLayout" Target="../slideLayouts/slideLayout34.xml"/><Relationship Id="rId28" Type="http://schemas.openxmlformats.org/officeDocument/2006/relationships/slideLayout" Target="../slideLayouts/slideLayout39.xml"/><Relationship Id="rId49" Type="http://schemas.openxmlformats.org/officeDocument/2006/relationships/slideLayout" Target="../slideLayouts/slideLayout60.xml"/><Relationship Id="rId114" Type="http://schemas.openxmlformats.org/officeDocument/2006/relationships/slideLayout" Target="../slideLayouts/slideLayout125.xml"/><Relationship Id="rId119" Type="http://schemas.openxmlformats.org/officeDocument/2006/relationships/slideLayout" Target="../slideLayouts/slideLayout130.xml"/><Relationship Id="rId10" Type="http://schemas.openxmlformats.org/officeDocument/2006/relationships/slideLayout" Target="../slideLayouts/slideLayout21.xml"/><Relationship Id="rId31" Type="http://schemas.openxmlformats.org/officeDocument/2006/relationships/slideLayout" Target="../slideLayouts/slideLayout42.xml"/><Relationship Id="rId44" Type="http://schemas.openxmlformats.org/officeDocument/2006/relationships/slideLayout" Target="../slideLayouts/slideLayout55.xml"/><Relationship Id="rId52" Type="http://schemas.openxmlformats.org/officeDocument/2006/relationships/slideLayout" Target="../slideLayouts/slideLayout63.xml"/><Relationship Id="rId60" Type="http://schemas.openxmlformats.org/officeDocument/2006/relationships/slideLayout" Target="../slideLayouts/slideLayout71.xml"/><Relationship Id="rId65" Type="http://schemas.openxmlformats.org/officeDocument/2006/relationships/slideLayout" Target="../slideLayouts/slideLayout76.xml"/><Relationship Id="rId73" Type="http://schemas.openxmlformats.org/officeDocument/2006/relationships/slideLayout" Target="../slideLayouts/slideLayout84.xml"/><Relationship Id="rId78" Type="http://schemas.openxmlformats.org/officeDocument/2006/relationships/slideLayout" Target="../slideLayouts/slideLayout89.xml"/><Relationship Id="rId81" Type="http://schemas.openxmlformats.org/officeDocument/2006/relationships/slideLayout" Target="../slideLayouts/slideLayout92.xml"/><Relationship Id="rId86" Type="http://schemas.openxmlformats.org/officeDocument/2006/relationships/slideLayout" Target="../slideLayouts/slideLayout97.xml"/><Relationship Id="rId94" Type="http://schemas.openxmlformats.org/officeDocument/2006/relationships/slideLayout" Target="../slideLayouts/slideLayout105.xml"/><Relationship Id="rId99" Type="http://schemas.openxmlformats.org/officeDocument/2006/relationships/slideLayout" Target="../slideLayouts/slideLayout110.xml"/><Relationship Id="rId101" Type="http://schemas.openxmlformats.org/officeDocument/2006/relationships/slideLayout" Target="../slideLayouts/slideLayout112.xml"/><Relationship Id="rId122" Type="http://schemas.openxmlformats.org/officeDocument/2006/relationships/slideLayout" Target="../slideLayouts/slideLayout133.xml"/><Relationship Id="rId130" Type="http://schemas.openxmlformats.org/officeDocument/2006/relationships/slideLayout" Target="../slideLayouts/slideLayout141.xml"/><Relationship Id="rId135" Type="http://schemas.openxmlformats.org/officeDocument/2006/relationships/slideLayout" Target="../slideLayouts/slideLayout146.xml"/><Relationship Id="rId143" Type="http://schemas.openxmlformats.org/officeDocument/2006/relationships/slideLayout" Target="../slideLayouts/slideLayout154.xml"/><Relationship Id="rId148" Type="http://schemas.openxmlformats.org/officeDocument/2006/relationships/slideLayout" Target="../slideLayouts/slideLayout159.xml"/><Relationship Id="rId151" Type="http://schemas.openxmlformats.org/officeDocument/2006/relationships/slideLayout" Target="../slideLayouts/slideLayout162.xml"/><Relationship Id="rId156" Type="http://schemas.openxmlformats.org/officeDocument/2006/relationships/slideLayout" Target="../slideLayouts/slideLayout167.xml"/><Relationship Id="rId164" Type="http://schemas.openxmlformats.org/officeDocument/2006/relationships/slideLayout" Target="../slideLayouts/slideLayout175.xml"/><Relationship Id="rId169" Type="http://schemas.openxmlformats.org/officeDocument/2006/relationships/slideLayout" Target="../slideLayouts/slideLayout180.xml"/><Relationship Id="rId177" Type="http://schemas.openxmlformats.org/officeDocument/2006/relationships/image" Target="../media/image1.emf"/><Relationship Id="rId4" Type="http://schemas.openxmlformats.org/officeDocument/2006/relationships/slideLayout" Target="../slideLayouts/slideLayout15.xml"/><Relationship Id="rId9" Type="http://schemas.openxmlformats.org/officeDocument/2006/relationships/slideLayout" Target="../slideLayouts/slideLayout20.xml"/><Relationship Id="rId172" Type="http://schemas.openxmlformats.org/officeDocument/2006/relationships/slideLayout" Target="../slideLayouts/slideLayout183.xml"/><Relationship Id="rId13" Type="http://schemas.openxmlformats.org/officeDocument/2006/relationships/slideLayout" Target="../slideLayouts/slideLayout24.xml"/><Relationship Id="rId18" Type="http://schemas.openxmlformats.org/officeDocument/2006/relationships/slideLayout" Target="../slideLayouts/slideLayout29.xml"/><Relationship Id="rId39" Type="http://schemas.openxmlformats.org/officeDocument/2006/relationships/slideLayout" Target="../slideLayouts/slideLayout50.xml"/><Relationship Id="rId109" Type="http://schemas.openxmlformats.org/officeDocument/2006/relationships/slideLayout" Target="../slideLayouts/slideLayout120.xml"/><Relationship Id="rId34" Type="http://schemas.openxmlformats.org/officeDocument/2006/relationships/slideLayout" Target="../slideLayouts/slideLayout45.xml"/><Relationship Id="rId50" Type="http://schemas.openxmlformats.org/officeDocument/2006/relationships/slideLayout" Target="../slideLayouts/slideLayout61.xml"/><Relationship Id="rId55" Type="http://schemas.openxmlformats.org/officeDocument/2006/relationships/slideLayout" Target="../slideLayouts/slideLayout66.xml"/><Relationship Id="rId76" Type="http://schemas.openxmlformats.org/officeDocument/2006/relationships/slideLayout" Target="../slideLayouts/slideLayout87.xml"/><Relationship Id="rId97" Type="http://schemas.openxmlformats.org/officeDocument/2006/relationships/slideLayout" Target="../slideLayouts/slideLayout108.xml"/><Relationship Id="rId104" Type="http://schemas.openxmlformats.org/officeDocument/2006/relationships/slideLayout" Target="../slideLayouts/slideLayout115.xml"/><Relationship Id="rId120" Type="http://schemas.openxmlformats.org/officeDocument/2006/relationships/slideLayout" Target="../slideLayouts/slideLayout131.xml"/><Relationship Id="rId125" Type="http://schemas.openxmlformats.org/officeDocument/2006/relationships/slideLayout" Target="../slideLayouts/slideLayout136.xml"/><Relationship Id="rId141" Type="http://schemas.openxmlformats.org/officeDocument/2006/relationships/slideLayout" Target="../slideLayouts/slideLayout152.xml"/><Relationship Id="rId146" Type="http://schemas.openxmlformats.org/officeDocument/2006/relationships/slideLayout" Target="../slideLayouts/slideLayout157.xml"/><Relationship Id="rId167" Type="http://schemas.openxmlformats.org/officeDocument/2006/relationships/slideLayout" Target="../slideLayouts/slideLayout178.xml"/><Relationship Id="rId7" Type="http://schemas.openxmlformats.org/officeDocument/2006/relationships/slideLayout" Target="../slideLayouts/slideLayout18.xml"/><Relationship Id="rId71" Type="http://schemas.openxmlformats.org/officeDocument/2006/relationships/slideLayout" Target="../slideLayouts/slideLayout82.xml"/><Relationship Id="rId92" Type="http://schemas.openxmlformats.org/officeDocument/2006/relationships/slideLayout" Target="../slideLayouts/slideLayout103.xml"/><Relationship Id="rId162" Type="http://schemas.openxmlformats.org/officeDocument/2006/relationships/slideLayout" Target="../slideLayouts/slideLayout173.xml"/><Relationship Id="rId2" Type="http://schemas.openxmlformats.org/officeDocument/2006/relationships/slideLayout" Target="../slideLayouts/slideLayout13.xml"/><Relationship Id="rId29" Type="http://schemas.openxmlformats.org/officeDocument/2006/relationships/slideLayout" Target="../slideLayouts/slideLayout40.xml"/><Relationship Id="rId24" Type="http://schemas.openxmlformats.org/officeDocument/2006/relationships/slideLayout" Target="../slideLayouts/slideLayout35.xml"/><Relationship Id="rId40" Type="http://schemas.openxmlformats.org/officeDocument/2006/relationships/slideLayout" Target="../slideLayouts/slideLayout51.xml"/><Relationship Id="rId45" Type="http://schemas.openxmlformats.org/officeDocument/2006/relationships/slideLayout" Target="../slideLayouts/slideLayout56.xml"/><Relationship Id="rId66" Type="http://schemas.openxmlformats.org/officeDocument/2006/relationships/slideLayout" Target="../slideLayouts/slideLayout77.xml"/><Relationship Id="rId87" Type="http://schemas.openxmlformats.org/officeDocument/2006/relationships/slideLayout" Target="../slideLayouts/slideLayout98.xml"/><Relationship Id="rId110" Type="http://schemas.openxmlformats.org/officeDocument/2006/relationships/slideLayout" Target="../slideLayouts/slideLayout121.xml"/><Relationship Id="rId115" Type="http://schemas.openxmlformats.org/officeDocument/2006/relationships/slideLayout" Target="../slideLayouts/slideLayout126.xml"/><Relationship Id="rId131" Type="http://schemas.openxmlformats.org/officeDocument/2006/relationships/slideLayout" Target="../slideLayouts/slideLayout142.xml"/><Relationship Id="rId136" Type="http://schemas.openxmlformats.org/officeDocument/2006/relationships/slideLayout" Target="../slideLayouts/slideLayout147.xml"/><Relationship Id="rId157" Type="http://schemas.openxmlformats.org/officeDocument/2006/relationships/slideLayout" Target="../slideLayouts/slideLayout168.xml"/><Relationship Id="rId61" Type="http://schemas.openxmlformats.org/officeDocument/2006/relationships/slideLayout" Target="../slideLayouts/slideLayout72.xml"/><Relationship Id="rId82" Type="http://schemas.openxmlformats.org/officeDocument/2006/relationships/slideLayout" Target="../slideLayouts/slideLayout93.xml"/><Relationship Id="rId152" Type="http://schemas.openxmlformats.org/officeDocument/2006/relationships/slideLayout" Target="../slideLayouts/slideLayout163.xml"/><Relationship Id="rId173" Type="http://schemas.openxmlformats.org/officeDocument/2006/relationships/slideLayout" Target="../slideLayouts/slideLayout184.xml"/><Relationship Id="rId19" Type="http://schemas.openxmlformats.org/officeDocument/2006/relationships/slideLayout" Target="../slideLayouts/slideLayout30.xml"/><Relationship Id="rId14" Type="http://schemas.openxmlformats.org/officeDocument/2006/relationships/slideLayout" Target="../slideLayouts/slideLayout25.xml"/><Relationship Id="rId30" Type="http://schemas.openxmlformats.org/officeDocument/2006/relationships/slideLayout" Target="../slideLayouts/slideLayout41.xml"/><Relationship Id="rId35" Type="http://schemas.openxmlformats.org/officeDocument/2006/relationships/slideLayout" Target="../slideLayouts/slideLayout46.xml"/><Relationship Id="rId56" Type="http://schemas.openxmlformats.org/officeDocument/2006/relationships/slideLayout" Target="../slideLayouts/slideLayout67.xml"/><Relationship Id="rId77" Type="http://schemas.openxmlformats.org/officeDocument/2006/relationships/slideLayout" Target="../slideLayouts/slideLayout88.xml"/><Relationship Id="rId100" Type="http://schemas.openxmlformats.org/officeDocument/2006/relationships/slideLayout" Target="../slideLayouts/slideLayout111.xml"/><Relationship Id="rId105" Type="http://schemas.openxmlformats.org/officeDocument/2006/relationships/slideLayout" Target="../slideLayouts/slideLayout116.xml"/><Relationship Id="rId126" Type="http://schemas.openxmlformats.org/officeDocument/2006/relationships/slideLayout" Target="../slideLayouts/slideLayout137.xml"/><Relationship Id="rId147" Type="http://schemas.openxmlformats.org/officeDocument/2006/relationships/slideLayout" Target="../slideLayouts/slideLayout158.xml"/><Relationship Id="rId168" Type="http://schemas.openxmlformats.org/officeDocument/2006/relationships/slideLayout" Target="../slideLayouts/slideLayout179.xml"/><Relationship Id="rId8" Type="http://schemas.openxmlformats.org/officeDocument/2006/relationships/slideLayout" Target="../slideLayouts/slideLayout19.xml"/><Relationship Id="rId51" Type="http://schemas.openxmlformats.org/officeDocument/2006/relationships/slideLayout" Target="../slideLayouts/slideLayout62.xml"/><Relationship Id="rId72" Type="http://schemas.openxmlformats.org/officeDocument/2006/relationships/slideLayout" Target="../slideLayouts/slideLayout83.xml"/><Relationship Id="rId93" Type="http://schemas.openxmlformats.org/officeDocument/2006/relationships/slideLayout" Target="../slideLayouts/slideLayout104.xml"/><Relationship Id="rId98" Type="http://schemas.openxmlformats.org/officeDocument/2006/relationships/slideLayout" Target="../slideLayouts/slideLayout109.xml"/><Relationship Id="rId121" Type="http://schemas.openxmlformats.org/officeDocument/2006/relationships/slideLayout" Target="../slideLayouts/slideLayout132.xml"/><Relationship Id="rId142" Type="http://schemas.openxmlformats.org/officeDocument/2006/relationships/slideLayout" Target="../slideLayouts/slideLayout153.xml"/><Relationship Id="rId163" Type="http://schemas.openxmlformats.org/officeDocument/2006/relationships/slideLayout" Target="../slideLayouts/slideLayout174.xml"/><Relationship Id="rId3" Type="http://schemas.openxmlformats.org/officeDocument/2006/relationships/slideLayout" Target="../slideLayouts/slideLayout14.xml"/><Relationship Id="rId25" Type="http://schemas.openxmlformats.org/officeDocument/2006/relationships/slideLayout" Target="../slideLayouts/slideLayout36.xml"/><Relationship Id="rId46" Type="http://schemas.openxmlformats.org/officeDocument/2006/relationships/slideLayout" Target="../slideLayouts/slideLayout57.xml"/><Relationship Id="rId67" Type="http://schemas.openxmlformats.org/officeDocument/2006/relationships/slideLayout" Target="../slideLayouts/slideLayout78.xml"/><Relationship Id="rId116" Type="http://schemas.openxmlformats.org/officeDocument/2006/relationships/slideLayout" Target="../slideLayouts/slideLayout127.xml"/><Relationship Id="rId137" Type="http://schemas.openxmlformats.org/officeDocument/2006/relationships/slideLayout" Target="../slideLayouts/slideLayout148.xml"/><Relationship Id="rId158" Type="http://schemas.openxmlformats.org/officeDocument/2006/relationships/slideLayout" Target="../slideLayouts/slideLayout169.xml"/><Relationship Id="rId20" Type="http://schemas.openxmlformats.org/officeDocument/2006/relationships/slideLayout" Target="../slideLayouts/slideLayout31.xml"/><Relationship Id="rId41" Type="http://schemas.openxmlformats.org/officeDocument/2006/relationships/slideLayout" Target="../slideLayouts/slideLayout52.xml"/><Relationship Id="rId62" Type="http://schemas.openxmlformats.org/officeDocument/2006/relationships/slideLayout" Target="../slideLayouts/slideLayout73.xml"/><Relationship Id="rId83" Type="http://schemas.openxmlformats.org/officeDocument/2006/relationships/slideLayout" Target="../slideLayouts/slideLayout94.xml"/><Relationship Id="rId88" Type="http://schemas.openxmlformats.org/officeDocument/2006/relationships/slideLayout" Target="../slideLayouts/slideLayout99.xml"/><Relationship Id="rId111" Type="http://schemas.openxmlformats.org/officeDocument/2006/relationships/slideLayout" Target="../slideLayouts/slideLayout122.xml"/><Relationship Id="rId132" Type="http://schemas.openxmlformats.org/officeDocument/2006/relationships/slideLayout" Target="../slideLayouts/slideLayout143.xml"/><Relationship Id="rId153" Type="http://schemas.openxmlformats.org/officeDocument/2006/relationships/slideLayout" Target="../slideLayouts/slideLayout164.xml"/><Relationship Id="rId174" Type="http://schemas.openxmlformats.org/officeDocument/2006/relationships/theme" Target="../theme/theme2.xml"/><Relationship Id="rId15" Type="http://schemas.openxmlformats.org/officeDocument/2006/relationships/slideLayout" Target="../slideLayouts/slideLayout26.xml"/><Relationship Id="rId36" Type="http://schemas.openxmlformats.org/officeDocument/2006/relationships/slideLayout" Target="../slideLayouts/slideLayout47.xml"/><Relationship Id="rId57" Type="http://schemas.openxmlformats.org/officeDocument/2006/relationships/slideLayout" Target="../slideLayouts/slideLayout68.xml"/><Relationship Id="rId106" Type="http://schemas.openxmlformats.org/officeDocument/2006/relationships/slideLayout" Target="../slideLayouts/slideLayout117.xml"/><Relationship Id="rId127" Type="http://schemas.openxmlformats.org/officeDocument/2006/relationships/slideLayout" Target="../slideLayouts/slideLayout13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5"/>
        <p:cNvGrpSpPr/>
        <p:nvPr/>
      </p:nvGrpSpPr>
      <p:grpSpPr>
        <a:xfrm>
          <a:off x="0" y="0"/>
          <a:ext cx="0" cy="0"/>
          <a:chOff x="0" y="0"/>
          <a:chExt cx="0" cy="0"/>
        </a:xfrm>
      </p:grpSpPr>
      <p:sp>
        <p:nvSpPr>
          <p:cNvPr id="6" name="Google Shape;6;p11"/>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marR="0" lvl="0" algn="l" rtl="0">
              <a:lnSpc>
                <a:spcPct val="90000"/>
              </a:lnSpc>
              <a:spcBef>
                <a:spcPts val="0"/>
              </a:spcBef>
              <a:spcAft>
                <a:spcPts val="0"/>
              </a:spcAft>
              <a:buClr>
                <a:schemeClr val="dk1"/>
              </a:buClr>
              <a:buSzPts val="4400"/>
              <a:buFont typeface="Calibri"/>
              <a:buNone/>
              <a:defRPr sz="4400" b="0" i="0" u="none" strike="noStrike" cap="none">
                <a:solidFill>
                  <a:schemeClr val="dk1"/>
                </a:solidFill>
                <a:latin typeface="Calibri"/>
                <a:ea typeface="Calibri"/>
                <a:cs typeface="Calibri"/>
                <a:sym typeface="Calibri"/>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7" name="Google Shape;7;p11"/>
          <p:cNvSpPr txBox="1">
            <a:spLocks noGrp="1"/>
          </p:cNvSpPr>
          <p:nvPr>
            <p:ph type="body" idx="1"/>
          </p:nvPr>
        </p:nvSpPr>
        <p:spPr>
          <a:xfrm>
            <a:off x="838200" y="1825625"/>
            <a:ext cx="10515600" cy="4351338"/>
          </a:xfrm>
          <a:prstGeom prst="rect">
            <a:avLst/>
          </a:prstGeom>
          <a:noFill/>
          <a:ln>
            <a:noFill/>
          </a:ln>
        </p:spPr>
        <p:txBody>
          <a:bodyPr spcFirstLastPara="1" wrap="square" lIns="91425" tIns="45700" rIns="91425" bIns="45700" anchor="t" anchorCtr="0">
            <a:normAutofit/>
          </a:bodyPr>
          <a:lstStyle>
            <a:lvl1pPr marL="457200" marR="0" lvl="0" indent="-406400" algn="l" rtl="0">
              <a:lnSpc>
                <a:spcPct val="90000"/>
              </a:lnSpc>
              <a:spcBef>
                <a:spcPts val="1000"/>
              </a:spcBef>
              <a:spcAft>
                <a:spcPts val="0"/>
              </a:spcAft>
              <a:buClr>
                <a:schemeClr val="dk1"/>
              </a:buClr>
              <a:buSzPts val="2800"/>
              <a:buFont typeface="Arial"/>
              <a:buChar char="•"/>
              <a:defRPr sz="2800" b="0" i="0" u="none" strike="noStrike" cap="none">
                <a:solidFill>
                  <a:schemeClr val="dk1"/>
                </a:solidFill>
                <a:latin typeface="Calibri"/>
                <a:ea typeface="Calibri"/>
                <a:cs typeface="Calibri"/>
                <a:sym typeface="Calibri"/>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8" name="Google Shape;8;p11"/>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200" b="0" i="0" u="none" strike="noStrike" cap="none">
                <a:solidFill>
                  <a:srgbClr val="888888"/>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9" name="Google Shape;9;p11"/>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marR="0" lvl="0" algn="ctr" rtl="0">
              <a:spcBef>
                <a:spcPts val="0"/>
              </a:spcBef>
              <a:spcAft>
                <a:spcPts val="0"/>
              </a:spcAft>
              <a:buSzPts val="1400"/>
              <a:buNone/>
              <a:defRPr sz="1200" b="0" i="0" u="none" strike="noStrike" cap="none">
                <a:solidFill>
                  <a:srgbClr val="888888"/>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0" name="Google Shape;10;p11"/>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200" b="0" i="0" u="none" strike="noStrike" cap="none">
                <a:solidFill>
                  <a:srgbClr val="888888"/>
                </a:solidFill>
                <a:latin typeface="Calibri"/>
                <a:ea typeface="Calibri"/>
                <a:cs typeface="Calibri"/>
                <a:sym typeface="Calibri"/>
              </a:defRPr>
            </a:lvl1pPr>
            <a:lvl2pPr marL="0" marR="0" lvl="1" indent="0" algn="r" rtl="0">
              <a:spcBef>
                <a:spcPts val="0"/>
              </a:spcBef>
              <a:buNone/>
              <a:defRPr sz="1200" b="0" i="0" u="none" strike="noStrike" cap="none">
                <a:solidFill>
                  <a:srgbClr val="888888"/>
                </a:solidFill>
                <a:latin typeface="Calibri"/>
                <a:ea typeface="Calibri"/>
                <a:cs typeface="Calibri"/>
                <a:sym typeface="Calibri"/>
              </a:defRPr>
            </a:lvl2pPr>
            <a:lvl3pPr marL="0" marR="0" lvl="2" indent="0" algn="r" rtl="0">
              <a:spcBef>
                <a:spcPts val="0"/>
              </a:spcBef>
              <a:buNone/>
              <a:defRPr sz="1200" b="0" i="0" u="none" strike="noStrike" cap="none">
                <a:solidFill>
                  <a:srgbClr val="888888"/>
                </a:solidFill>
                <a:latin typeface="Calibri"/>
                <a:ea typeface="Calibri"/>
                <a:cs typeface="Calibri"/>
                <a:sym typeface="Calibri"/>
              </a:defRPr>
            </a:lvl3pPr>
            <a:lvl4pPr marL="0" marR="0" lvl="3" indent="0" algn="r" rtl="0">
              <a:spcBef>
                <a:spcPts val="0"/>
              </a:spcBef>
              <a:buNone/>
              <a:defRPr sz="1200" b="0" i="0" u="none" strike="noStrike" cap="none">
                <a:solidFill>
                  <a:srgbClr val="888888"/>
                </a:solidFill>
                <a:latin typeface="Calibri"/>
                <a:ea typeface="Calibri"/>
                <a:cs typeface="Calibri"/>
                <a:sym typeface="Calibri"/>
              </a:defRPr>
            </a:lvl4pPr>
            <a:lvl5pPr marL="0" marR="0" lvl="4" indent="0" algn="r" rtl="0">
              <a:spcBef>
                <a:spcPts val="0"/>
              </a:spcBef>
              <a:buNone/>
              <a:defRPr sz="1200" b="0" i="0" u="none" strike="noStrike" cap="none">
                <a:solidFill>
                  <a:srgbClr val="888888"/>
                </a:solidFill>
                <a:latin typeface="Calibri"/>
                <a:ea typeface="Calibri"/>
                <a:cs typeface="Calibri"/>
                <a:sym typeface="Calibri"/>
              </a:defRPr>
            </a:lvl5pPr>
            <a:lvl6pPr marL="0" marR="0" lvl="5" indent="0" algn="r" rtl="0">
              <a:spcBef>
                <a:spcPts val="0"/>
              </a:spcBef>
              <a:buNone/>
              <a:defRPr sz="1200" b="0" i="0" u="none" strike="noStrike" cap="none">
                <a:solidFill>
                  <a:srgbClr val="888888"/>
                </a:solidFill>
                <a:latin typeface="Calibri"/>
                <a:ea typeface="Calibri"/>
                <a:cs typeface="Calibri"/>
                <a:sym typeface="Calibri"/>
              </a:defRPr>
            </a:lvl6pPr>
            <a:lvl7pPr marL="0" marR="0" lvl="6" indent="0" algn="r" rtl="0">
              <a:spcBef>
                <a:spcPts val="0"/>
              </a:spcBef>
              <a:buNone/>
              <a:defRPr sz="1200" b="0" i="0" u="none" strike="noStrike" cap="none">
                <a:solidFill>
                  <a:srgbClr val="888888"/>
                </a:solidFill>
                <a:latin typeface="Calibri"/>
                <a:ea typeface="Calibri"/>
                <a:cs typeface="Calibri"/>
                <a:sym typeface="Calibri"/>
              </a:defRPr>
            </a:lvl7pPr>
            <a:lvl8pPr marL="0" marR="0" lvl="7" indent="0" algn="r" rtl="0">
              <a:spcBef>
                <a:spcPts val="0"/>
              </a:spcBef>
              <a:buNone/>
              <a:defRPr sz="1200" b="0" i="0" u="none" strike="noStrike" cap="none">
                <a:solidFill>
                  <a:srgbClr val="888888"/>
                </a:solidFill>
                <a:latin typeface="Calibri"/>
                <a:ea typeface="Calibri"/>
                <a:cs typeface="Calibri"/>
                <a:sym typeface="Calibri"/>
              </a:defRPr>
            </a:lvl8pPr>
            <a:lvl9pPr marL="0" marR="0" lvl="8" indent="0" algn="r" rtl="0">
              <a:spcBef>
                <a:spcPts val="0"/>
              </a:spcBef>
              <a:buNone/>
              <a:defRPr sz="1200" b="0" i="0" u="none" strike="noStrike" cap="none">
                <a:solidFill>
                  <a:srgbClr val="888888"/>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GB"/>
              <a:t>‹#›</a:t>
            </a:fld>
            <a:endParaRPr/>
          </a:p>
        </p:txBody>
      </p:sp>
    </p:spTree>
  </p:cSld>
  <p:clrMap bg1="lt1" tx1="dk1" bg2="dk2" tx2="lt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75"/>
            </p:custDataLst>
            <p:extLst>
              <p:ext uri="{D42A27DB-BD31-4B8C-83A1-F6EECF244321}">
                <p14:modId xmlns:p14="http://schemas.microsoft.com/office/powerpoint/2010/main" val="40877782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76" imgW="270" imgH="270" progId="TCLayout.ActiveDocument.1">
                  <p:embed/>
                </p:oleObj>
              </mc:Choice>
              <mc:Fallback>
                <p:oleObj name="think-cell Slide" r:id="rId176" imgW="270" imgH="270" progId="TCLayout.ActiveDocument.1">
                  <p:embed/>
                  <p:pic>
                    <p:nvPicPr>
                      <p:cNvPr id="2" name="Object 1" hidden="1"/>
                      <p:cNvPicPr/>
                      <p:nvPr/>
                    </p:nvPicPr>
                    <p:blipFill>
                      <a:blip r:embed="rId177"/>
                      <a:stretch>
                        <a:fillRect/>
                      </a:stretch>
                    </p:blipFill>
                    <p:spPr>
                      <a:xfrm>
                        <a:off x="1588" y="1588"/>
                        <a:ext cx="1587" cy="1587"/>
                      </a:xfrm>
                      <a:prstGeom prst="rect">
                        <a:avLst/>
                      </a:prstGeom>
                    </p:spPr>
                  </p:pic>
                </p:oleObj>
              </mc:Fallback>
            </mc:AlternateContent>
          </a:graphicData>
        </a:graphic>
      </p:graphicFrame>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a:t>Click to add title</a:t>
            </a:r>
          </a:p>
        </p:txBody>
      </p:sp>
      <p:sp>
        <p:nvSpPr>
          <p:cNvPr id="4" name="Text Placeholder 3"/>
          <p:cNvSpPr>
            <a:spLocks noGrp="1"/>
          </p:cNvSpPr>
          <p:nvPr>
            <p:ph type="body" idx="1"/>
          </p:nvPr>
        </p:nvSpPr>
        <p:spPr>
          <a:xfrm>
            <a:off x="628650" y="2081213"/>
            <a:ext cx="10934700" cy="4079875"/>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Level six</a:t>
            </a:r>
          </a:p>
          <a:p>
            <a:pPr lvl="6"/>
            <a:r>
              <a:rPr lang="en-US"/>
              <a:t>Level seven</a:t>
            </a:r>
          </a:p>
          <a:p>
            <a:pPr lvl="7"/>
            <a:r>
              <a:rPr lang="en-US"/>
              <a:t>Level eight</a:t>
            </a:r>
          </a:p>
          <a:p>
            <a:pPr lvl="8"/>
            <a:r>
              <a:rPr lang="en-US"/>
              <a:t>Level nine</a:t>
            </a:r>
          </a:p>
        </p:txBody>
      </p:sp>
    </p:spTree>
    <p:extLst>
      <p:ext uri="{BB962C8B-B14F-4D97-AF65-F5344CB8AC3E}">
        <p14:creationId xmlns:p14="http://schemas.microsoft.com/office/powerpoint/2010/main" val="121064273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 id="2147483696" r:id="rId36"/>
    <p:sldLayoutId id="2147483697" r:id="rId37"/>
    <p:sldLayoutId id="2147483698" r:id="rId38"/>
    <p:sldLayoutId id="2147483699" r:id="rId39"/>
    <p:sldLayoutId id="2147483700" r:id="rId40"/>
    <p:sldLayoutId id="2147483701" r:id="rId41"/>
    <p:sldLayoutId id="2147483702" r:id="rId42"/>
    <p:sldLayoutId id="2147483703" r:id="rId43"/>
    <p:sldLayoutId id="2147483704" r:id="rId44"/>
    <p:sldLayoutId id="2147483705" r:id="rId45"/>
    <p:sldLayoutId id="2147483706" r:id="rId46"/>
    <p:sldLayoutId id="2147483707" r:id="rId47"/>
    <p:sldLayoutId id="2147483708" r:id="rId48"/>
    <p:sldLayoutId id="2147483709" r:id="rId49"/>
    <p:sldLayoutId id="2147483710" r:id="rId50"/>
    <p:sldLayoutId id="2147483711" r:id="rId51"/>
    <p:sldLayoutId id="2147483712" r:id="rId52"/>
    <p:sldLayoutId id="2147483713" r:id="rId53"/>
    <p:sldLayoutId id="2147483714" r:id="rId54"/>
    <p:sldLayoutId id="2147483715" r:id="rId55"/>
    <p:sldLayoutId id="2147483716" r:id="rId56"/>
    <p:sldLayoutId id="2147483717" r:id="rId57"/>
    <p:sldLayoutId id="2147483718" r:id="rId58"/>
    <p:sldLayoutId id="2147483719" r:id="rId59"/>
    <p:sldLayoutId id="2147483720" r:id="rId60"/>
    <p:sldLayoutId id="2147483721" r:id="rId61"/>
    <p:sldLayoutId id="2147483722" r:id="rId62"/>
    <p:sldLayoutId id="2147483723" r:id="rId63"/>
    <p:sldLayoutId id="2147483724" r:id="rId64"/>
    <p:sldLayoutId id="2147483725" r:id="rId65"/>
    <p:sldLayoutId id="2147483726" r:id="rId66"/>
    <p:sldLayoutId id="2147483727" r:id="rId67"/>
    <p:sldLayoutId id="2147483728" r:id="rId68"/>
    <p:sldLayoutId id="2147483729" r:id="rId69"/>
    <p:sldLayoutId id="2147483730" r:id="rId70"/>
    <p:sldLayoutId id="2147483731" r:id="rId71"/>
    <p:sldLayoutId id="2147483732" r:id="rId72"/>
    <p:sldLayoutId id="2147483733" r:id="rId73"/>
    <p:sldLayoutId id="2147483734" r:id="rId74"/>
    <p:sldLayoutId id="2147483735" r:id="rId75"/>
    <p:sldLayoutId id="2147483736" r:id="rId76"/>
    <p:sldLayoutId id="2147483737" r:id="rId77"/>
    <p:sldLayoutId id="2147483738" r:id="rId78"/>
    <p:sldLayoutId id="2147483739" r:id="rId79"/>
    <p:sldLayoutId id="2147483740" r:id="rId80"/>
    <p:sldLayoutId id="2147483741" r:id="rId81"/>
    <p:sldLayoutId id="2147483742" r:id="rId82"/>
    <p:sldLayoutId id="2147483743" r:id="rId83"/>
    <p:sldLayoutId id="2147483744" r:id="rId84"/>
    <p:sldLayoutId id="2147483745" r:id="rId85"/>
    <p:sldLayoutId id="2147483746" r:id="rId86"/>
    <p:sldLayoutId id="2147483747" r:id="rId87"/>
    <p:sldLayoutId id="2147483748" r:id="rId88"/>
    <p:sldLayoutId id="2147483749" r:id="rId89"/>
    <p:sldLayoutId id="2147483750" r:id="rId90"/>
    <p:sldLayoutId id="2147483751" r:id="rId91"/>
    <p:sldLayoutId id="2147483752" r:id="rId92"/>
    <p:sldLayoutId id="2147483753" r:id="rId93"/>
    <p:sldLayoutId id="2147483754" r:id="rId94"/>
    <p:sldLayoutId id="2147483755" r:id="rId95"/>
    <p:sldLayoutId id="2147483756" r:id="rId96"/>
    <p:sldLayoutId id="2147483757" r:id="rId97"/>
    <p:sldLayoutId id="2147483758" r:id="rId98"/>
    <p:sldLayoutId id="2147483759" r:id="rId99"/>
    <p:sldLayoutId id="2147483760" r:id="rId100"/>
    <p:sldLayoutId id="2147483761" r:id="rId101"/>
    <p:sldLayoutId id="2147483762" r:id="rId102"/>
    <p:sldLayoutId id="2147483763" r:id="rId103"/>
    <p:sldLayoutId id="2147483764" r:id="rId104"/>
    <p:sldLayoutId id="2147483765" r:id="rId105"/>
    <p:sldLayoutId id="2147483766" r:id="rId106"/>
    <p:sldLayoutId id="2147483767" r:id="rId107"/>
    <p:sldLayoutId id="2147483768" r:id="rId108"/>
    <p:sldLayoutId id="2147483769" r:id="rId109"/>
    <p:sldLayoutId id="2147483770" r:id="rId110"/>
    <p:sldLayoutId id="2147483771" r:id="rId111"/>
    <p:sldLayoutId id="2147483772" r:id="rId112"/>
    <p:sldLayoutId id="2147483773" r:id="rId113"/>
    <p:sldLayoutId id="2147483774" r:id="rId114"/>
    <p:sldLayoutId id="2147483775" r:id="rId115"/>
    <p:sldLayoutId id="2147483776" r:id="rId116"/>
    <p:sldLayoutId id="2147483777" r:id="rId117"/>
    <p:sldLayoutId id="2147483778" r:id="rId118"/>
    <p:sldLayoutId id="2147483779" r:id="rId119"/>
    <p:sldLayoutId id="2147483780" r:id="rId120"/>
    <p:sldLayoutId id="2147483781" r:id="rId121"/>
    <p:sldLayoutId id="2147483782" r:id="rId122"/>
    <p:sldLayoutId id="2147483783" r:id="rId123"/>
    <p:sldLayoutId id="2147483784" r:id="rId124"/>
    <p:sldLayoutId id="2147483785" r:id="rId125"/>
    <p:sldLayoutId id="2147483786" r:id="rId126"/>
    <p:sldLayoutId id="2147483787" r:id="rId127"/>
    <p:sldLayoutId id="2147483788" r:id="rId128"/>
    <p:sldLayoutId id="2147483789" r:id="rId129"/>
    <p:sldLayoutId id="2147483790" r:id="rId130"/>
    <p:sldLayoutId id="2147483791" r:id="rId131"/>
    <p:sldLayoutId id="2147483792" r:id="rId132"/>
    <p:sldLayoutId id="2147483793" r:id="rId133"/>
    <p:sldLayoutId id="2147483794" r:id="rId134"/>
    <p:sldLayoutId id="2147483795" r:id="rId135"/>
    <p:sldLayoutId id="2147483796" r:id="rId136"/>
    <p:sldLayoutId id="2147483797" r:id="rId137"/>
    <p:sldLayoutId id="2147483798" r:id="rId138"/>
    <p:sldLayoutId id="2147483799" r:id="rId139"/>
    <p:sldLayoutId id="2147483800" r:id="rId140"/>
    <p:sldLayoutId id="2147483801" r:id="rId141"/>
    <p:sldLayoutId id="2147483802" r:id="rId142"/>
    <p:sldLayoutId id="2147483803" r:id="rId143"/>
    <p:sldLayoutId id="2147483804" r:id="rId144"/>
    <p:sldLayoutId id="2147483805" r:id="rId145"/>
    <p:sldLayoutId id="2147483806" r:id="rId146"/>
    <p:sldLayoutId id="2147483807" r:id="rId147"/>
    <p:sldLayoutId id="2147483808" r:id="rId148"/>
    <p:sldLayoutId id="2147483812" r:id="rId149"/>
    <p:sldLayoutId id="2147483819" r:id="rId150"/>
    <p:sldLayoutId id="2147483821" r:id="rId151"/>
    <p:sldLayoutId id="2147483823" r:id="rId152"/>
    <p:sldLayoutId id="2147483825" r:id="rId153"/>
    <p:sldLayoutId id="2147483828" r:id="rId154"/>
    <p:sldLayoutId id="2147483833" r:id="rId155"/>
    <p:sldLayoutId id="2147483835" r:id="rId156"/>
    <p:sldLayoutId id="2147483836" r:id="rId157"/>
    <p:sldLayoutId id="2147483837" r:id="rId158"/>
    <p:sldLayoutId id="2147483848" r:id="rId159"/>
    <p:sldLayoutId id="2147483850" r:id="rId160"/>
    <p:sldLayoutId id="2147483852" r:id="rId161"/>
    <p:sldLayoutId id="2147483854" r:id="rId162"/>
    <p:sldLayoutId id="2147483857" r:id="rId163"/>
    <p:sldLayoutId id="2147483863" r:id="rId164"/>
    <p:sldLayoutId id="2147483865" r:id="rId165"/>
    <p:sldLayoutId id="2147483866" r:id="rId166"/>
    <p:sldLayoutId id="2147483867" r:id="rId167"/>
    <p:sldLayoutId id="2147483868" r:id="rId168"/>
    <p:sldLayoutId id="2147483869" r:id="rId169"/>
    <p:sldLayoutId id="2147483870" r:id="rId170"/>
    <p:sldLayoutId id="2147483871" r:id="rId171"/>
    <p:sldLayoutId id="2147483872" r:id="rId172"/>
    <p:sldLayoutId id="2147483873" r:id="rId173"/>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00000"/>
        </a:lnSpc>
        <a:spcBef>
          <a:spcPts val="0"/>
        </a:spcBef>
        <a:spcAft>
          <a:spcPts val="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320040" indent="-219456" algn="l" defTabSz="914400" rtl="0" eaLnBrk="1" latinLnBrk="0" hangingPunct="1">
        <a:lnSpc>
          <a:spcPct val="100000"/>
        </a:lnSpc>
        <a:spcBef>
          <a:spcPts val="0"/>
        </a:spcBef>
        <a:spcAft>
          <a:spcPts val="0"/>
        </a:spcAft>
        <a:buClr>
          <a:schemeClr val="tx2"/>
        </a:buClr>
        <a:buFont typeface="Wingdings 3" panose="05040102010807070707" pitchFamily="18" charset="2"/>
        <a:buChar char="u"/>
        <a:defRPr lang="en-US" sz="1200" kern="1200">
          <a:solidFill>
            <a:schemeClr val="tx1"/>
          </a:solidFill>
          <a:latin typeface="+mn-lt"/>
          <a:ea typeface="+mn-ea"/>
          <a:cs typeface="+mn-cs"/>
          <a:sym typeface="Trebuchet MS" panose="020B0603020202020204" pitchFamily="34" charset="0"/>
        </a:defRPr>
      </a:lvl2pPr>
      <a:lvl3pPr marL="649224" indent="-219456" algn="l" defTabSz="914400" rtl="0" eaLnBrk="1" latinLnBrk="0" hangingPunct="1">
        <a:lnSpc>
          <a:spcPct val="100000"/>
        </a:lnSpc>
        <a:spcBef>
          <a:spcPts val="0"/>
        </a:spcBef>
        <a:spcAft>
          <a:spcPts val="0"/>
        </a:spcAft>
        <a:buClr>
          <a:schemeClr val="tx2"/>
        </a:buClr>
        <a:buFont typeface="Wingdings 3" panose="05040102010807070707" pitchFamily="18" charset="2"/>
        <a:buChar char="u"/>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320040" indent="-219456" algn="l" defTabSz="914400" rtl="0" eaLnBrk="1" latinLnBrk="0" hangingPunct="1">
        <a:lnSpc>
          <a:spcPct val="90000"/>
        </a:lnSpc>
        <a:spcBef>
          <a:spcPts val="0"/>
        </a:spcBef>
        <a:spcAft>
          <a:spcPts val="600"/>
        </a:spcAft>
        <a:buClr>
          <a:schemeClr val="tx2"/>
        </a:buClr>
        <a:buFont typeface="Wingdings 3" panose="05040102010807070707" pitchFamily="18" charset="2"/>
        <a:buChar char="u"/>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06">
          <p15:clr>
            <a:srgbClr val="F26B43"/>
          </p15:clr>
        </p15:guide>
        <p15:guide id="2" pos="396">
          <p15:clr>
            <a:srgbClr val="F26B43"/>
          </p15:clr>
        </p15:guide>
        <p15:guide id="3" pos="7284">
          <p15:clr>
            <a:srgbClr val="F26B43"/>
          </p15:clr>
        </p15:guide>
        <p15:guide id="4" orient="horz" pos="3889">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Layout" Target="../slideLayouts/slideLayout65.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65.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65.xml"/></Relationships>
</file>

<file path=ppt/slides/_rels/slide13.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65.xml"/></Relationships>
</file>

<file path=ppt/slides/_rels/slide14.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65.xml"/></Relationships>
</file>

<file path=ppt/slides/_rels/slide15.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65.xml"/></Relationships>
</file>

<file path=ppt/slides/_rels/slide16.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65.xml"/></Relationships>
</file>

<file path=ppt/slides/_rels/slide17.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65.xml"/></Relationships>
</file>

<file path=ppt/slides/_rels/slide18.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65.xml"/></Relationships>
</file>

<file path=ppt/slides/_rels/slide19.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6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65.xml"/></Relationships>
</file>

<file path=ppt/slides/_rels/slide21.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65.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65.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65.xml"/></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175.bin"/><Relationship Id="rId2" Type="http://schemas.openxmlformats.org/officeDocument/2006/relationships/slideLayout" Target="../slideLayouts/slideLayout65.xml"/><Relationship Id="rId1" Type="http://schemas.openxmlformats.org/officeDocument/2006/relationships/tags" Target="../tags/tag196.xml"/><Relationship Id="rId4" Type="http://schemas.openxmlformats.org/officeDocument/2006/relationships/image" Target="../media/image18.emf"/></Relationships>
</file>

<file path=ppt/slides/_rels/slide3.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slideLayout" Target="../slideLayouts/slideLayout2.xml"/><Relationship Id="rId1" Type="http://schemas.openxmlformats.org/officeDocument/2006/relationships/tags" Target="../tags/tag189.xml"/></Relationships>
</file>

<file path=ppt/slides/_rels/slide4.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65.xml"/><Relationship Id="rId2" Type="http://schemas.openxmlformats.org/officeDocument/2006/relationships/tags" Target="../tags/tag191.xml"/><Relationship Id="rId1" Type="http://schemas.openxmlformats.org/officeDocument/2006/relationships/tags" Target="../tags/tag190.xml"/><Relationship Id="rId6" Type="http://schemas.openxmlformats.org/officeDocument/2006/relationships/image" Target="../media/image25.jpeg"/><Relationship Id="rId5" Type="http://schemas.openxmlformats.org/officeDocument/2006/relationships/image" Target="../media/image4.emf"/><Relationship Id="rId4" Type="http://schemas.openxmlformats.org/officeDocument/2006/relationships/oleObject" Target="../embeddings/oleObject174.bin"/></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65.xml"/><Relationship Id="rId2" Type="http://schemas.openxmlformats.org/officeDocument/2006/relationships/tags" Target="../tags/tag193.xml"/><Relationship Id="rId1" Type="http://schemas.openxmlformats.org/officeDocument/2006/relationships/tags" Target="../tags/tag192.xml"/><Relationship Id="rId6" Type="http://schemas.openxmlformats.org/officeDocument/2006/relationships/image" Target="../media/image25.jpeg"/><Relationship Id="rId5" Type="http://schemas.openxmlformats.org/officeDocument/2006/relationships/image" Target="../media/image4.emf"/><Relationship Id="rId4" Type="http://schemas.openxmlformats.org/officeDocument/2006/relationships/oleObject" Target="../embeddings/oleObject174.bin"/></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65.xml"/><Relationship Id="rId2" Type="http://schemas.openxmlformats.org/officeDocument/2006/relationships/tags" Target="../tags/tag195.xml"/><Relationship Id="rId1" Type="http://schemas.openxmlformats.org/officeDocument/2006/relationships/tags" Target="../tags/tag194.xml"/><Relationship Id="rId6" Type="http://schemas.openxmlformats.org/officeDocument/2006/relationships/image" Target="../media/image25.jpeg"/><Relationship Id="rId5" Type="http://schemas.openxmlformats.org/officeDocument/2006/relationships/image" Target="../media/image4.emf"/><Relationship Id="rId4" Type="http://schemas.openxmlformats.org/officeDocument/2006/relationships/oleObject" Target="../embeddings/oleObject174.bin"/></Relationships>
</file>

<file path=ppt/slides/_rels/slide8.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Layout" Target="../slideLayouts/slideLayout65.xml"/></Relationships>
</file>

<file path=ppt/slides/_rels/slide9.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Layout" Target="../slideLayouts/slideLayout6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83"/>
        <p:cNvGrpSpPr/>
        <p:nvPr/>
      </p:nvGrpSpPr>
      <p:grpSpPr>
        <a:xfrm>
          <a:off x="0" y="0"/>
          <a:ext cx="0" cy="0"/>
          <a:chOff x="0" y="0"/>
          <a:chExt cx="0" cy="0"/>
        </a:xfrm>
      </p:grpSpPr>
      <p:sp>
        <p:nvSpPr>
          <p:cNvPr id="84" name="Google Shape;84;p1"/>
          <p:cNvSpPr txBox="1">
            <a:spLocks noGrp="1"/>
          </p:cNvSpPr>
          <p:nvPr>
            <p:ph type="ctrTitle"/>
          </p:nvPr>
        </p:nvSpPr>
        <p:spPr>
          <a:xfrm>
            <a:off x="1524000" y="1122364"/>
            <a:ext cx="9144000" cy="2387600"/>
          </a:xfrm>
          <a:prstGeom prst="rect">
            <a:avLst/>
          </a:prstGeom>
          <a:noFill/>
          <a:ln>
            <a:noFill/>
          </a:ln>
        </p:spPr>
        <p:txBody>
          <a:bodyPr spcFirstLastPara="1" wrap="square" lIns="91425" tIns="45700" rIns="91425" bIns="45700" anchor="b" anchorCtr="0">
            <a:normAutofit/>
          </a:bodyPr>
          <a:lstStyle/>
          <a:p>
            <a:pPr marL="0" lvl="0" indent="0" algn="ctr" rtl="0">
              <a:lnSpc>
                <a:spcPct val="90000"/>
              </a:lnSpc>
              <a:spcBef>
                <a:spcPts val="0"/>
              </a:spcBef>
              <a:spcAft>
                <a:spcPts val="0"/>
              </a:spcAft>
              <a:buClr>
                <a:schemeClr val="dk1"/>
              </a:buClr>
              <a:buSzPts val="6000"/>
              <a:buFont typeface="Calibri"/>
              <a:buNone/>
            </a:pPr>
            <a:r>
              <a:rPr lang="en-GB" dirty="0">
                <a:solidFill>
                  <a:srgbClr val="00B050"/>
                </a:solidFill>
              </a:rPr>
              <a:t>BI23</a:t>
            </a:r>
            <a:endParaRPr dirty="0">
              <a:solidFill>
                <a:srgbClr val="00B050"/>
              </a:solidFill>
            </a:endParaRPr>
          </a:p>
        </p:txBody>
      </p:sp>
      <p:sp>
        <p:nvSpPr>
          <p:cNvPr id="85" name="Google Shape;85;p1"/>
          <p:cNvSpPr txBox="1">
            <a:spLocks noGrp="1"/>
          </p:cNvSpPr>
          <p:nvPr>
            <p:ph type="subTitle" idx="1"/>
          </p:nvPr>
        </p:nvSpPr>
        <p:spPr>
          <a:xfrm>
            <a:off x="1524000" y="3602038"/>
            <a:ext cx="9144000" cy="1655762"/>
          </a:xfrm>
          <a:prstGeom prst="rect">
            <a:avLst/>
          </a:prstGeom>
          <a:noFill/>
          <a:ln>
            <a:noFill/>
          </a:ln>
        </p:spPr>
        <p:txBody>
          <a:bodyPr spcFirstLastPara="1" wrap="square" lIns="91425" tIns="45700" rIns="91425" bIns="45700" anchor="t" anchorCtr="0">
            <a:normAutofit/>
          </a:bodyPr>
          <a:lstStyle/>
          <a:p>
            <a:pPr marL="0" indent="0" defTabSz="914400" eaLnBrk="1" fontAlgn="auto" latinLnBrk="0" hangingPunct="1">
              <a:spcBef>
                <a:spcPts val="0"/>
              </a:spcBef>
              <a:buSzPts val="6000"/>
              <a:tabLst/>
              <a:defRPr/>
            </a:pPr>
            <a:r>
              <a:rPr lang="en-US" sz="2500" dirty="0">
                <a:solidFill>
                  <a:srgbClr val="00B050"/>
                </a:solidFill>
              </a:rPr>
              <a:t>Business Intelligence Report for an E-Commerce business</a:t>
            </a: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D1449AF9-9149-90F1-7EBA-5984D44703A0}"/>
              </a:ext>
            </a:extLst>
          </p:cNvPr>
          <p:cNvSpPr/>
          <p:nvPr/>
        </p:nvSpPr>
        <p:spPr>
          <a:xfrm>
            <a:off x="-11957" y="3738799"/>
            <a:ext cx="1046952" cy="1107996"/>
          </a:xfrm>
          <a:prstGeom prst="rect">
            <a:avLst/>
          </a:prstGeom>
          <a:solidFill>
            <a:schemeClr val="tx2"/>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err="1">
              <a:solidFill>
                <a:schemeClr val="bg1"/>
              </a:solidFill>
            </a:endParaRPr>
          </a:p>
        </p:txBody>
      </p:sp>
      <p:grpSp>
        <p:nvGrpSpPr>
          <p:cNvPr id="4" name="Group 3">
            <a:extLst>
              <a:ext uri="{FF2B5EF4-FFF2-40B4-BE49-F238E27FC236}">
                <a16:creationId xmlns:a16="http://schemas.microsoft.com/office/drawing/2014/main" id="{66D74861-CA44-8BED-B7EE-4B9237D05526}"/>
              </a:ext>
            </a:extLst>
          </p:cNvPr>
          <p:cNvGrpSpPr/>
          <p:nvPr/>
        </p:nvGrpSpPr>
        <p:grpSpPr>
          <a:xfrm>
            <a:off x="628651" y="2482223"/>
            <a:ext cx="4409589" cy="3621147"/>
            <a:chOff x="628651" y="2619633"/>
            <a:chExt cx="4409589" cy="3621147"/>
          </a:xfrm>
        </p:grpSpPr>
        <p:sp>
          <p:nvSpPr>
            <p:cNvPr id="5" name="Freeform: Shape 4">
              <a:extLst>
                <a:ext uri="{FF2B5EF4-FFF2-40B4-BE49-F238E27FC236}">
                  <a16:creationId xmlns:a16="http://schemas.microsoft.com/office/drawing/2014/main" id="{375BC08D-60EA-08C2-1D67-0CCF9A294623}"/>
                </a:ext>
              </a:extLst>
            </p:cNvPr>
            <p:cNvSpPr/>
            <p:nvPr/>
          </p:nvSpPr>
          <p:spPr>
            <a:xfrm>
              <a:off x="628652" y="4413109"/>
              <a:ext cx="4404614" cy="1827671"/>
            </a:xfrm>
            <a:custGeom>
              <a:avLst/>
              <a:gdLst>
                <a:gd name="connsiteX0" fmla="*/ 0 w 3413760"/>
                <a:gd name="connsiteY0" fmla="*/ 0 h 2164080"/>
                <a:gd name="connsiteX1" fmla="*/ 0 w 3413760"/>
                <a:gd name="connsiteY1" fmla="*/ 2026920 h 2164080"/>
                <a:gd name="connsiteX2" fmla="*/ 137160 w 3413760"/>
                <a:gd name="connsiteY2" fmla="*/ 2164080 h 2164080"/>
                <a:gd name="connsiteX3" fmla="*/ 3317240 w 3413760"/>
                <a:gd name="connsiteY3" fmla="*/ 2164080 h 2164080"/>
                <a:gd name="connsiteX4" fmla="*/ 3413760 w 3413760"/>
                <a:gd name="connsiteY4" fmla="*/ 2067560 h 2164080"/>
                <a:gd name="connsiteX5" fmla="*/ 3413760 w 3413760"/>
                <a:gd name="connsiteY5" fmla="*/ 60960 h 2164080"/>
                <a:gd name="connsiteX0" fmla="*/ 0 w 3413760"/>
                <a:gd name="connsiteY0" fmla="*/ 0 h 2164080"/>
                <a:gd name="connsiteX1" fmla="*/ 0 w 3413760"/>
                <a:gd name="connsiteY1" fmla="*/ 2026920 h 2164080"/>
                <a:gd name="connsiteX2" fmla="*/ 137160 w 3413760"/>
                <a:gd name="connsiteY2" fmla="*/ 2164080 h 2164080"/>
                <a:gd name="connsiteX3" fmla="*/ 3317240 w 3413760"/>
                <a:gd name="connsiteY3" fmla="*/ 2164080 h 2164080"/>
                <a:gd name="connsiteX4" fmla="*/ 3413760 w 3413760"/>
                <a:gd name="connsiteY4" fmla="*/ 2067560 h 2164080"/>
                <a:gd name="connsiteX5" fmla="*/ 3413760 w 3413760"/>
                <a:gd name="connsiteY5" fmla="*/ 60960 h 2164080"/>
                <a:gd name="connsiteX0" fmla="*/ 0 w 3413760"/>
                <a:gd name="connsiteY0" fmla="*/ 0 h 2164080"/>
                <a:gd name="connsiteX1" fmla="*/ 0 w 3413760"/>
                <a:gd name="connsiteY1" fmla="*/ 2026920 h 2164080"/>
                <a:gd name="connsiteX2" fmla="*/ 137160 w 3413760"/>
                <a:gd name="connsiteY2" fmla="*/ 2164080 h 2164080"/>
                <a:gd name="connsiteX3" fmla="*/ 3317240 w 3413760"/>
                <a:gd name="connsiteY3" fmla="*/ 2164080 h 2164080"/>
                <a:gd name="connsiteX4" fmla="*/ 3413760 w 3413760"/>
                <a:gd name="connsiteY4" fmla="*/ 2067560 h 2164080"/>
                <a:gd name="connsiteX5" fmla="*/ 3413760 w 3413760"/>
                <a:gd name="connsiteY5" fmla="*/ 60960 h 2164080"/>
                <a:gd name="connsiteX0" fmla="*/ 0 w 3413760"/>
                <a:gd name="connsiteY0" fmla="*/ 0 h 2164080"/>
                <a:gd name="connsiteX1" fmla="*/ 0 w 3413760"/>
                <a:gd name="connsiteY1" fmla="*/ 2026920 h 2164080"/>
                <a:gd name="connsiteX2" fmla="*/ 137160 w 3413760"/>
                <a:gd name="connsiteY2" fmla="*/ 2164080 h 2164080"/>
                <a:gd name="connsiteX3" fmla="*/ 3317240 w 3413760"/>
                <a:gd name="connsiteY3" fmla="*/ 2164080 h 2164080"/>
                <a:gd name="connsiteX4" fmla="*/ 3413760 w 3413760"/>
                <a:gd name="connsiteY4" fmla="*/ 2067560 h 2164080"/>
                <a:gd name="connsiteX5" fmla="*/ 3413760 w 3413760"/>
                <a:gd name="connsiteY5" fmla="*/ 60960 h 2164080"/>
                <a:gd name="connsiteX0" fmla="*/ 0 w 3413760"/>
                <a:gd name="connsiteY0" fmla="*/ 0 h 2164080"/>
                <a:gd name="connsiteX1" fmla="*/ 0 w 3413760"/>
                <a:gd name="connsiteY1" fmla="*/ 2026920 h 2164080"/>
                <a:gd name="connsiteX2" fmla="*/ 137160 w 3413760"/>
                <a:gd name="connsiteY2" fmla="*/ 2164080 h 2164080"/>
                <a:gd name="connsiteX3" fmla="*/ 3317240 w 3413760"/>
                <a:gd name="connsiteY3" fmla="*/ 2164080 h 2164080"/>
                <a:gd name="connsiteX4" fmla="*/ 3413760 w 3413760"/>
                <a:gd name="connsiteY4" fmla="*/ 2046605 h 2164080"/>
                <a:gd name="connsiteX5" fmla="*/ 3413760 w 3413760"/>
                <a:gd name="connsiteY5" fmla="*/ 60960 h 2164080"/>
                <a:gd name="connsiteX0" fmla="*/ 0 w 3414349"/>
                <a:gd name="connsiteY0" fmla="*/ 0 h 2164080"/>
                <a:gd name="connsiteX1" fmla="*/ 0 w 3414349"/>
                <a:gd name="connsiteY1" fmla="*/ 2026920 h 2164080"/>
                <a:gd name="connsiteX2" fmla="*/ 137160 w 3414349"/>
                <a:gd name="connsiteY2" fmla="*/ 2164080 h 2164080"/>
                <a:gd name="connsiteX3" fmla="*/ 3317240 w 3414349"/>
                <a:gd name="connsiteY3" fmla="*/ 2164080 h 2164080"/>
                <a:gd name="connsiteX4" fmla="*/ 3413760 w 3414349"/>
                <a:gd name="connsiteY4" fmla="*/ 2046605 h 2164080"/>
                <a:gd name="connsiteX5" fmla="*/ 3413760 w 3414349"/>
                <a:gd name="connsiteY5" fmla="*/ 60960 h 2164080"/>
                <a:gd name="connsiteX0" fmla="*/ 0 w 3414556"/>
                <a:gd name="connsiteY0" fmla="*/ 0 h 2164080"/>
                <a:gd name="connsiteX1" fmla="*/ 0 w 3414556"/>
                <a:gd name="connsiteY1" fmla="*/ 2026920 h 2164080"/>
                <a:gd name="connsiteX2" fmla="*/ 137160 w 3414556"/>
                <a:gd name="connsiteY2" fmla="*/ 2164080 h 2164080"/>
                <a:gd name="connsiteX3" fmla="*/ 3317240 w 3414556"/>
                <a:gd name="connsiteY3" fmla="*/ 2164080 h 2164080"/>
                <a:gd name="connsiteX4" fmla="*/ 3413760 w 3414556"/>
                <a:gd name="connsiteY4" fmla="*/ 2046605 h 2164080"/>
                <a:gd name="connsiteX5" fmla="*/ 3413760 w 3414556"/>
                <a:gd name="connsiteY5" fmla="*/ 60960 h 2164080"/>
                <a:gd name="connsiteX0" fmla="*/ 0 w 3413760"/>
                <a:gd name="connsiteY0" fmla="*/ 0 h 2164080"/>
                <a:gd name="connsiteX1" fmla="*/ 0 w 3413760"/>
                <a:gd name="connsiteY1" fmla="*/ 2026920 h 2164080"/>
                <a:gd name="connsiteX2" fmla="*/ 137160 w 3413760"/>
                <a:gd name="connsiteY2" fmla="*/ 2164080 h 2164080"/>
                <a:gd name="connsiteX3" fmla="*/ 3317240 w 3413760"/>
                <a:gd name="connsiteY3" fmla="*/ 2164080 h 2164080"/>
                <a:gd name="connsiteX4" fmla="*/ 3413760 w 3413760"/>
                <a:gd name="connsiteY4" fmla="*/ 2046605 h 2164080"/>
                <a:gd name="connsiteX5" fmla="*/ 3413760 w 3413760"/>
                <a:gd name="connsiteY5" fmla="*/ 60960 h 2164080"/>
                <a:gd name="connsiteX0" fmla="*/ 0 w 3413760"/>
                <a:gd name="connsiteY0" fmla="*/ 0 h 2164080"/>
                <a:gd name="connsiteX1" fmla="*/ 0 w 3413760"/>
                <a:gd name="connsiteY1" fmla="*/ 2026920 h 2164080"/>
                <a:gd name="connsiteX2" fmla="*/ 137160 w 3413760"/>
                <a:gd name="connsiteY2" fmla="*/ 2164080 h 2164080"/>
                <a:gd name="connsiteX3" fmla="*/ 3317240 w 3413760"/>
                <a:gd name="connsiteY3" fmla="*/ 2164080 h 2164080"/>
                <a:gd name="connsiteX4" fmla="*/ 3413760 w 3413760"/>
                <a:gd name="connsiteY4" fmla="*/ 2046605 h 2164080"/>
                <a:gd name="connsiteX5" fmla="*/ 3413760 w 3413760"/>
                <a:gd name="connsiteY5" fmla="*/ 60960 h 2164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13760" h="2164080">
                  <a:moveTo>
                    <a:pt x="0" y="0"/>
                  </a:moveTo>
                  <a:lnTo>
                    <a:pt x="0" y="2026920"/>
                  </a:lnTo>
                  <a:cubicBezTo>
                    <a:pt x="0" y="2105025"/>
                    <a:pt x="17145" y="2158365"/>
                    <a:pt x="137160" y="2164080"/>
                  </a:cubicBezTo>
                  <a:lnTo>
                    <a:pt x="3317240" y="2164080"/>
                  </a:lnTo>
                  <a:cubicBezTo>
                    <a:pt x="3377988" y="2157307"/>
                    <a:pt x="3413972" y="2114338"/>
                    <a:pt x="3413760" y="2046605"/>
                  </a:cubicBezTo>
                  <a:lnTo>
                    <a:pt x="3413760" y="60960"/>
                  </a:lnTo>
                </a:path>
              </a:pathLst>
            </a:custGeom>
            <a:noFill/>
            <a:ln w="19050">
              <a:solidFill>
                <a:schemeClr val="tx2"/>
              </a:solidFill>
            </a:ln>
          </p:spPr>
          <p:style>
            <a:lnRef idx="1">
              <a:schemeClr val="dk1"/>
            </a:lnRef>
            <a:fillRef idx="0">
              <a:schemeClr val="dk1"/>
            </a:fillRef>
            <a:effectRef idx="0">
              <a:schemeClr val="dk1"/>
            </a:effectRef>
            <a:fontRef idx="minor">
              <a:schemeClr val="tx1"/>
            </a:fontRef>
          </p:style>
          <p:txBody>
            <a:bodyPr rtlCol="0" anchor="ctr"/>
            <a:lstStyle/>
            <a:p>
              <a:pPr algn="ctr"/>
              <a:endParaRPr lang="en-US"/>
            </a:p>
          </p:txBody>
        </p:sp>
        <p:sp>
          <p:nvSpPr>
            <p:cNvPr id="6" name="Rectangle: Rounded Corners 5">
              <a:extLst>
                <a:ext uri="{FF2B5EF4-FFF2-40B4-BE49-F238E27FC236}">
                  <a16:creationId xmlns:a16="http://schemas.microsoft.com/office/drawing/2014/main" id="{104016CD-12A5-E03B-E7EF-F14079DC74B3}"/>
                </a:ext>
              </a:extLst>
            </p:cNvPr>
            <p:cNvSpPr/>
            <p:nvPr/>
          </p:nvSpPr>
          <p:spPr>
            <a:xfrm>
              <a:off x="647699" y="2649284"/>
              <a:ext cx="4368801" cy="3568636"/>
            </a:xfrm>
            <a:prstGeom prst="roundRect">
              <a:avLst>
                <a:gd name="adj" fmla="val 2664"/>
              </a:avLst>
            </a:prstGeom>
            <a:solidFill>
              <a:srgbClr val="FFFFFF"/>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err="1">
                <a:solidFill>
                  <a:schemeClr val="bg1"/>
                </a:solidFill>
              </a:endParaRPr>
            </a:p>
          </p:txBody>
        </p:sp>
        <p:sp>
          <p:nvSpPr>
            <p:cNvPr id="7" name="Freeform: Shape 6">
              <a:extLst>
                <a:ext uri="{FF2B5EF4-FFF2-40B4-BE49-F238E27FC236}">
                  <a16:creationId xmlns:a16="http://schemas.microsoft.com/office/drawing/2014/main" id="{711B1B0F-CC8B-5C1D-0E98-76A4F7929AD0}"/>
                </a:ext>
              </a:extLst>
            </p:cNvPr>
            <p:cNvSpPr/>
            <p:nvPr/>
          </p:nvSpPr>
          <p:spPr>
            <a:xfrm flipV="1">
              <a:off x="628651" y="2619633"/>
              <a:ext cx="4409589" cy="1765081"/>
            </a:xfrm>
            <a:custGeom>
              <a:avLst/>
              <a:gdLst>
                <a:gd name="connsiteX0" fmla="*/ 0 w 3413760"/>
                <a:gd name="connsiteY0" fmla="*/ 0 h 2164080"/>
                <a:gd name="connsiteX1" fmla="*/ 0 w 3413760"/>
                <a:gd name="connsiteY1" fmla="*/ 2026920 h 2164080"/>
                <a:gd name="connsiteX2" fmla="*/ 137160 w 3413760"/>
                <a:gd name="connsiteY2" fmla="*/ 2164080 h 2164080"/>
                <a:gd name="connsiteX3" fmla="*/ 3317240 w 3413760"/>
                <a:gd name="connsiteY3" fmla="*/ 2164080 h 2164080"/>
                <a:gd name="connsiteX4" fmla="*/ 3413760 w 3413760"/>
                <a:gd name="connsiteY4" fmla="*/ 2067560 h 2164080"/>
                <a:gd name="connsiteX5" fmla="*/ 3413760 w 3413760"/>
                <a:gd name="connsiteY5" fmla="*/ 60960 h 2164080"/>
                <a:gd name="connsiteX0" fmla="*/ 0 w 3413760"/>
                <a:gd name="connsiteY0" fmla="*/ 0 h 2164080"/>
                <a:gd name="connsiteX1" fmla="*/ 0 w 3413760"/>
                <a:gd name="connsiteY1" fmla="*/ 2026920 h 2164080"/>
                <a:gd name="connsiteX2" fmla="*/ 137160 w 3413760"/>
                <a:gd name="connsiteY2" fmla="*/ 2164080 h 2164080"/>
                <a:gd name="connsiteX3" fmla="*/ 3317240 w 3413760"/>
                <a:gd name="connsiteY3" fmla="*/ 2164080 h 2164080"/>
                <a:gd name="connsiteX4" fmla="*/ 3413760 w 3413760"/>
                <a:gd name="connsiteY4" fmla="*/ 2067560 h 2164080"/>
                <a:gd name="connsiteX5" fmla="*/ 3413760 w 3413760"/>
                <a:gd name="connsiteY5" fmla="*/ 60960 h 2164080"/>
                <a:gd name="connsiteX0" fmla="*/ 0 w 3413760"/>
                <a:gd name="connsiteY0" fmla="*/ 0 h 2164080"/>
                <a:gd name="connsiteX1" fmla="*/ 0 w 3413760"/>
                <a:gd name="connsiteY1" fmla="*/ 2026920 h 2164080"/>
                <a:gd name="connsiteX2" fmla="*/ 137160 w 3413760"/>
                <a:gd name="connsiteY2" fmla="*/ 2164080 h 2164080"/>
                <a:gd name="connsiteX3" fmla="*/ 3317240 w 3413760"/>
                <a:gd name="connsiteY3" fmla="*/ 2164080 h 2164080"/>
                <a:gd name="connsiteX4" fmla="*/ 3413760 w 3413760"/>
                <a:gd name="connsiteY4" fmla="*/ 2067560 h 2164080"/>
                <a:gd name="connsiteX5" fmla="*/ 3413760 w 3413760"/>
                <a:gd name="connsiteY5" fmla="*/ 60960 h 2164080"/>
                <a:gd name="connsiteX0" fmla="*/ 0 w 3413760"/>
                <a:gd name="connsiteY0" fmla="*/ 0 h 2164080"/>
                <a:gd name="connsiteX1" fmla="*/ 0 w 3413760"/>
                <a:gd name="connsiteY1" fmla="*/ 2026920 h 2164080"/>
                <a:gd name="connsiteX2" fmla="*/ 137160 w 3413760"/>
                <a:gd name="connsiteY2" fmla="*/ 2164080 h 2164080"/>
                <a:gd name="connsiteX3" fmla="*/ 3317240 w 3413760"/>
                <a:gd name="connsiteY3" fmla="*/ 2164080 h 2164080"/>
                <a:gd name="connsiteX4" fmla="*/ 3413760 w 3413760"/>
                <a:gd name="connsiteY4" fmla="*/ 2067560 h 2164080"/>
                <a:gd name="connsiteX5" fmla="*/ 3413760 w 3413760"/>
                <a:gd name="connsiteY5" fmla="*/ 60960 h 2164080"/>
                <a:gd name="connsiteX0" fmla="*/ 0 w 3413760"/>
                <a:gd name="connsiteY0" fmla="*/ 0 h 2164080"/>
                <a:gd name="connsiteX1" fmla="*/ 0 w 3413760"/>
                <a:gd name="connsiteY1" fmla="*/ 2026920 h 2164080"/>
                <a:gd name="connsiteX2" fmla="*/ 137160 w 3413760"/>
                <a:gd name="connsiteY2" fmla="*/ 2164080 h 2164080"/>
                <a:gd name="connsiteX3" fmla="*/ 3317240 w 3413760"/>
                <a:gd name="connsiteY3" fmla="*/ 2164080 h 2164080"/>
                <a:gd name="connsiteX4" fmla="*/ 3413760 w 3413760"/>
                <a:gd name="connsiteY4" fmla="*/ 2046605 h 2164080"/>
                <a:gd name="connsiteX5" fmla="*/ 3413760 w 3413760"/>
                <a:gd name="connsiteY5" fmla="*/ 60960 h 2164080"/>
                <a:gd name="connsiteX0" fmla="*/ 0 w 3414349"/>
                <a:gd name="connsiteY0" fmla="*/ 0 h 2164080"/>
                <a:gd name="connsiteX1" fmla="*/ 0 w 3414349"/>
                <a:gd name="connsiteY1" fmla="*/ 2026920 h 2164080"/>
                <a:gd name="connsiteX2" fmla="*/ 137160 w 3414349"/>
                <a:gd name="connsiteY2" fmla="*/ 2164080 h 2164080"/>
                <a:gd name="connsiteX3" fmla="*/ 3317240 w 3414349"/>
                <a:gd name="connsiteY3" fmla="*/ 2164080 h 2164080"/>
                <a:gd name="connsiteX4" fmla="*/ 3413760 w 3414349"/>
                <a:gd name="connsiteY4" fmla="*/ 2046605 h 2164080"/>
                <a:gd name="connsiteX5" fmla="*/ 3413760 w 3414349"/>
                <a:gd name="connsiteY5" fmla="*/ 60960 h 2164080"/>
                <a:gd name="connsiteX0" fmla="*/ 0 w 3414556"/>
                <a:gd name="connsiteY0" fmla="*/ 0 h 2164080"/>
                <a:gd name="connsiteX1" fmla="*/ 0 w 3414556"/>
                <a:gd name="connsiteY1" fmla="*/ 2026920 h 2164080"/>
                <a:gd name="connsiteX2" fmla="*/ 137160 w 3414556"/>
                <a:gd name="connsiteY2" fmla="*/ 2164080 h 2164080"/>
                <a:gd name="connsiteX3" fmla="*/ 3317240 w 3414556"/>
                <a:gd name="connsiteY3" fmla="*/ 2164080 h 2164080"/>
                <a:gd name="connsiteX4" fmla="*/ 3413760 w 3414556"/>
                <a:gd name="connsiteY4" fmla="*/ 2046605 h 2164080"/>
                <a:gd name="connsiteX5" fmla="*/ 3413760 w 3414556"/>
                <a:gd name="connsiteY5" fmla="*/ 60960 h 2164080"/>
                <a:gd name="connsiteX0" fmla="*/ 0 w 3413760"/>
                <a:gd name="connsiteY0" fmla="*/ 0 h 2164080"/>
                <a:gd name="connsiteX1" fmla="*/ 0 w 3413760"/>
                <a:gd name="connsiteY1" fmla="*/ 2026920 h 2164080"/>
                <a:gd name="connsiteX2" fmla="*/ 137160 w 3413760"/>
                <a:gd name="connsiteY2" fmla="*/ 2164080 h 2164080"/>
                <a:gd name="connsiteX3" fmla="*/ 3317240 w 3413760"/>
                <a:gd name="connsiteY3" fmla="*/ 2164080 h 2164080"/>
                <a:gd name="connsiteX4" fmla="*/ 3413760 w 3413760"/>
                <a:gd name="connsiteY4" fmla="*/ 2046605 h 2164080"/>
                <a:gd name="connsiteX5" fmla="*/ 3413760 w 3413760"/>
                <a:gd name="connsiteY5" fmla="*/ 60960 h 2164080"/>
                <a:gd name="connsiteX0" fmla="*/ 0 w 3413760"/>
                <a:gd name="connsiteY0" fmla="*/ 0 h 2164080"/>
                <a:gd name="connsiteX1" fmla="*/ 0 w 3413760"/>
                <a:gd name="connsiteY1" fmla="*/ 2026920 h 2164080"/>
                <a:gd name="connsiteX2" fmla="*/ 137160 w 3413760"/>
                <a:gd name="connsiteY2" fmla="*/ 2164080 h 2164080"/>
                <a:gd name="connsiteX3" fmla="*/ 3317240 w 3413760"/>
                <a:gd name="connsiteY3" fmla="*/ 2164080 h 2164080"/>
                <a:gd name="connsiteX4" fmla="*/ 3413760 w 3413760"/>
                <a:gd name="connsiteY4" fmla="*/ 2046605 h 2164080"/>
                <a:gd name="connsiteX5" fmla="*/ 3413760 w 3413760"/>
                <a:gd name="connsiteY5" fmla="*/ 60960 h 2164080"/>
                <a:gd name="connsiteX0" fmla="*/ 0 w 3417615"/>
                <a:gd name="connsiteY0" fmla="*/ 0 h 2164080"/>
                <a:gd name="connsiteX1" fmla="*/ 0 w 3417615"/>
                <a:gd name="connsiteY1" fmla="*/ 2026920 h 2164080"/>
                <a:gd name="connsiteX2" fmla="*/ 137160 w 3417615"/>
                <a:gd name="connsiteY2" fmla="*/ 2164080 h 2164080"/>
                <a:gd name="connsiteX3" fmla="*/ 3317240 w 3417615"/>
                <a:gd name="connsiteY3" fmla="*/ 2164080 h 2164080"/>
                <a:gd name="connsiteX4" fmla="*/ 3413760 w 3417615"/>
                <a:gd name="connsiteY4" fmla="*/ 2046605 h 2164080"/>
                <a:gd name="connsiteX5" fmla="*/ 3417615 w 3417615"/>
                <a:gd name="connsiteY5" fmla="*/ 368979 h 2164080"/>
                <a:gd name="connsiteX0" fmla="*/ 3855 w 3417615"/>
                <a:gd name="connsiteY0" fmla="*/ 0 h 1913558"/>
                <a:gd name="connsiteX1" fmla="*/ 0 w 3417615"/>
                <a:gd name="connsiteY1" fmla="*/ 1776398 h 1913558"/>
                <a:gd name="connsiteX2" fmla="*/ 137160 w 3417615"/>
                <a:gd name="connsiteY2" fmla="*/ 1913558 h 1913558"/>
                <a:gd name="connsiteX3" fmla="*/ 3317240 w 3417615"/>
                <a:gd name="connsiteY3" fmla="*/ 1913558 h 1913558"/>
                <a:gd name="connsiteX4" fmla="*/ 3413760 w 3417615"/>
                <a:gd name="connsiteY4" fmla="*/ 1796083 h 1913558"/>
                <a:gd name="connsiteX5" fmla="*/ 3417615 w 3417615"/>
                <a:gd name="connsiteY5" fmla="*/ 118457 h 1913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17615" h="1913558">
                  <a:moveTo>
                    <a:pt x="3855" y="0"/>
                  </a:moveTo>
                  <a:lnTo>
                    <a:pt x="0" y="1776398"/>
                  </a:lnTo>
                  <a:cubicBezTo>
                    <a:pt x="0" y="1854503"/>
                    <a:pt x="17145" y="1907843"/>
                    <a:pt x="137160" y="1913558"/>
                  </a:cubicBezTo>
                  <a:lnTo>
                    <a:pt x="3317240" y="1913558"/>
                  </a:lnTo>
                  <a:cubicBezTo>
                    <a:pt x="3377988" y="1906785"/>
                    <a:pt x="3413972" y="1863816"/>
                    <a:pt x="3413760" y="1796083"/>
                  </a:cubicBezTo>
                  <a:lnTo>
                    <a:pt x="3417615" y="118457"/>
                  </a:lnTo>
                </a:path>
              </a:pathLst>
            </a:custGeom>
            <a:noFill/>
            <a:ln w="12700">
              <a:solidFill>
                <a:schemeClr val="accent2"/>
              </a:solidFill>
              <a:prstDash val="sysDash"/>
            </a:ln>
          </p:spPr>
          <p:style>
            <a:lnRef idx="1">
              <a:schemeClr val="dk1"/>
            </a:lnRef>
            <a:fillRef idx="0">
              <a:schemeClr val="dk1"/>
            </a:fillRef>
            <a:effectRef idx="0">
              <a:schemeClr val="dk1"/>
            </a:effectRef>
            <a:fontRef idx="minor">
              <a:schemeClr val="tx1"/>
            </a:fontRef>
          </p:style>
          <p:txBody>
            <a:bodyPr rtlCol="0" anchor="ctr"/>
            <a:lstStyle/>
            <a:p>
              <a:pPr algn="ctr"/>
              <a:endParaRPr lang="en-US"/>
            </a:p>
          </p:txBody>
        </p:sp>
      </p:grpSp>
      <p:sp>
        <p:nvSpPr>
          <p:cNvPr id="9" name="Rectangle 8">
            <a:extLst>
              <a:ext uri="{FF2B5EF4-FFF2-40B4-BE49-F238E27FC236}">
                <a16:creationId xmlns:a16="http://schemas.microsoft.com/office/drawing/2014/main" id="{B2A1FA4B-2DC0-ED7A-091A-4A0B4DD3290C}"/>
              </a:ext>
            </a:extLst>
          </p:cNvPr>
          <p:cNvSpPr/>
          <p:nvPr/>
        </p:nvSpPr>
        <p:spPr>
          <a:xfrm>
            <a:off x="11145047" y="3738799"/>
            <a:ext cx="1046952" cy="1107996"/>
          </a:xfrm>
          <a:prstGeom prst="rect">
            <a:avLst/>
          </a:prstGeom>
          <a:solidFill>
            <a:schemeClr val="tx2"/>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err="1">
              <a:solidFill>
                <a:schemeClr val="bg1"/>
              </a:solidFill>
            </a:endParaRPr>
          </a:p>
        </p:txBody>
      </p:sp>
      <p:grpSp>
        <p:nvGrpSpPr>
          <p:cNvPr id="11" name="Group 10">
            <a:extLst>
              <a:ext uri="{FF2B5EF4-FFF2-40B4-BE49-F238E27FC236}">
                <a16:creationId xmlns:a16="http://schemas.microsoft.com/office/drawing/2014/main" id="{2874D697-AA69-074F-A2B3-52E7C0D0A111}"/>
              </a:ext>
            </a:extLst>
          </p:cNvPr>
          <p:cNvGrpSpPr/>
          <p:nvPr/>
        </p:nvGrpSpPr>
        <p:grpSpPr>
          <a:xfrm>
            <a:off x="5656230" y="2444078"/>
            <a:ext cx="5907120" cy="3697437"/>
            <a:chOff x="5656230" y="2619632"/>
            <a:chExt cx="5907120" cy="3697437"/>
          </a:xfrm>
        </p:grpSpPr>
        <p:sp>
          <p:nvSpPr>
            <p:cNvPr id="12" name="Freeform: Shape 11">
              <a:extLst>
                <a:ext uri="{FF2B5EF4-FFF2-40B4-BE49-F238E27FC236}">
                  <a16:creationId xmlns:a16="http://schemas.microsoft.com/office/drawing/2014/main" id="{6218F2B4-6680-8687-1B4C-8AE34FD7C582}"/>
                </a:ext>
              </a:extLst>
            </p:cNvPr>
            <p:cNvSpPr/>
            <p:nvPr/>
          </p:nvSpPr>
          <p:spPr>
            <a:xfrm>
              <a:off x="5657110" y="4413109"/>
              <a:ext cx="5900456" cy="1903960"/>
            </a:xfrm>
            <a:custGeom>
              <a:avLst/>
              <a:gdLst>
                <a:gd name="connsiteX0" fmla="*/ 0 w 3413760"/>
                <a:gd name="connsiteY0" fmla="*/ 0 h 2164080"/>
                <a:gd name="connsiteX1" fmla="*/ 0 w 3413760"/>
                <a:gd name="connsiteY1" fmla="*/ 2026920 h 2164080"/>
                <a:gd name="connsiteX2" fmla="*/ 137160 w 3413760"/>
                <a:gd name="connsiteY2" fmla="*/ 2164080 h 2164080"/>
                <a:gd name="connsiteX3" fmla="*/ 3317240 w 3413760"/>
                <a:gd name="connsiteY3" fmla="*/ 2164080 h 2164080"/>
                <a:gd name="connsiteX4" fmla="*/ 3413760 w 3413760"/>
                <a:gd name="connsiteY4" fmla="*/ 2067560 h 2164080"/>
                <a:gd name="connsiteX5" fmla="*/ 3413760 w 3413760"/>
                <a:gd name="connsiteY5" fmla="*/ 60960 h 2164080"/>
                <a:gd name="connsiteX0" fmla="*/ 0 w 3413760"/>
                <a:gd name="connsiteY0" fmla="*/ 0 h 2164080"/>
                <a:gd name="connsiteX1" fmla="*/ 0 w 3413760"/>
                <a:gd name="connsiteY1" fmla="*/ 2026920 h 2164080"/>
                <a:gd name="connsiteX2" fmla="*/ 137160 w 3413760"/>
                <a:gd name="connsiteY2" fmla="*/ 2164080 h 2164080"/>
                <a:gd name="connsiteX3" fmla="*/ 3317240 w 3413760"/>
                <a:gd name="connsiteY3" fmla="*/ 2164080 h 2164080"/>
                <a:gd name="connsiteX4" fmla="*/ 3413760 w 3413760"/>
                <a:gd name="connsiteY4" fmla="*/ 2067560 h 2164080"/>
                <a:gd name="connsiteX5" fmla="*/ 3413760 w 3413760"/>
                <a:gd name="connsiteY5" fmla="*/ 60960 h 2164080"/>
                <a:gd name="connsiteX0" fmla="*/ 0 w 3413760"/>
                <a:gd name="connsiteY0" fmla="*/ 0 h 2164080"/>
                <a:gd name="connsiteX1" fmla="*/ 0 w 3413760"/>
                <a:gd name="connsiteY1" fmla="*/ 2026920 h 2164080"/>
                <a:gd name="connsiteX2" fmla="*/ 137160 w 3413760"/>
                <a:gd name="connsiteY2" fmla="*/ 2164080 h 2164080"/>
                <a:gd name="connsiteX3" fmla="*/ 3317240 w 3413760"/>
                <a:gd name="connsiteY3" fmla="*/ 2164080 h 2164080"/>
                <a:gd name="connsiteX4" fmla="*/ 3413760 w 3413760"/>
                <a:gd name="connsiteY4" fmla="*/ 2067560 h 2164080"/>
                <a:gd name="connsiteX5" fmla="*/ 3413760 w 3413760"/>
                <a:gd name="connsiteY5" fmla="*/ 60960 h 2164080"/>
                <a:gd name="connsiteX0" fmla="*/ 0 w 3413760"/>
                <a:gd name="connsiteY0" fmla="*/ 0 h 2164080"/>
                <a:gd name="connsiteX1" fmla="*/ 0 w 3413760"/>
                <a:gd name="connsiteY1" fmla="*/ 2026920 h 2164080"/>
                <a:gd name="connsiteX2" fmla="*/ 137160 w 3413760"/>
                <a:gd name="connsiteY2" fmla="*/ 2164080 h 2164080"/>
                <a:gd name="connsiteX3" fmla="*/ 3317240 w 3413760"/>
                <a:gd name="connsiteY3" fmla="*/ 2164080 h 2164080"/>
                <a:gd name="connsiteX4" fmla="*/ 3413760 w 3413760"/>
                <a:gd name="connsiteY4" fmla="*/ 2067560 h 2164080"/>
                <a:gd name="connsiteX5" fmla="*/ 3413760 w 3413760"/>
                <a:gd name="connsiteY5" fmla="*/ 60960 h 2164080"/>
                <a:gd name="connsiteX0" fmla="*/ 0 w 3413760"/>
                <a:gd name="connsiteY0" fmla="*/ 0 h 2164080"/>
                <a:gd name="connsiteX1" fmla="*/ 0 w 3413760"/>
                <a:gd name="connsiteY1" fmla="*/ 2026920 h 2164080"/>
                <a:gd name="connsiteX2" fmla="*/ 137160 w 3413760"/>
                <a:gd name="connsiteY2" fmla="*/ 2164080 h 2164080"/>
                <a:gd name="connsiteX3" fmla="*/ 3317240 w 3413760"/>
                <a:gd name="connsiteY3" fmla="*/ 2164080 h 2164080"/>
                <a:gd name="connsiteX4" fmla="*/ 3413760 w 3413760"/>
                <a:gd name="connsiteY4" fmla="*/ 2046605 h 2164080"/>
                <a:gd name="connsiteX5" fmla="*/ 3413760 w 3413760"/>
                <a:gd name="connsiteY5" fmla="*/ 60960 h 2164080"/>
                <a:gd name="connsiteX0" fmla="*/ 0 w 3414349"/>
                <a:gd name="connsiteY0" fmla="*/ 0 h 2164080"/>
                <a:gd name="connsiteX1" fmla="*/ 0 w 3414349"/>
                <a:gd name="connsiteY1" fmla="*/ 2026920 h 2164080"/>
                <a:gd name="connsiteX2" fmla="*/ 137160 w 3414349"/>
                <a:gd name="connsiteY2" fmla="*/ 2164080 h 2164080"/>
                <a:gd name="connsiteX3" fmla="*/ 3317240 w 3414349"/>
                <a:gd name="connsiteY3" fmla="*/ 2164080 h 2164080"/>
                <a:gd name="connsiteX4" fmla="*/ 3413760 w 3414349"/>
                <a:gd name="connsiteY4" fmla="*/ 2046605 h 2164080"/>
                <a:gd name="connsiteX5" fmla="*/ 3413760 w 3414349"/>
                <a:gd name="connsiteY5" fmla="*/ 60960 h 2164080"/>
                <a:gd name="connsiteX0" fmla="*/ 0 w 3414556"/>
                <a:gd name="connsiteY0" fmla="*/ 0 h 2164080"/>
                <a:gd name="connsiteX1" fmla="*/ 0 w 3414556"/>
                <a:gd name="connsiteY1" fmla="*/ 2026920 h 2164080"/>
                <a:gd name="connsiteX2" fmla="*/ 137160 w 3414556"/>
                <a:gd name="connsiteY2" fmla="*/ 2164080 h 2164080"/>
                <a:gd name="connsiteX3" fmla="*/ 3317240 w 3414556"/>
                <a:gd name="connsiteY3" fmla="*/ 2164080 h 2164080"/>
                <a:gd name="connsiteX4" fmla="*/ 3413760 w 3414556"/>
                <a:gd name="connsiteY4" fmla="*/ 2046605 h 2164080"/>
                <a:gd name="connsiteX5" fmla="*/ 3413760 w 3414556"/>
                <a:gd name="connsiteY5" fmla="*/ 60960 h 2164080"/>
                <a:gd name="connsiteX0" fmla="*/ 0 w 3413760"/>
                <a:gd name="connsiteY0" fmla="*/ 0 h 2164080"/>
                <a:gd name="connsiteX1" fmla="*/ 0 w 3413760"/>
                <a:gd name="connsiteY1" fmla="*/ 2026920 h 2164080"/>
                <a:gd name="connsiteX2" fmla="*/ 137160 w 3413760"/>
                <a:gd name="connsiteY2" fmla="*/ 2164080 h 2164080"/>
                <a:gd name="connsiteX3" fmla="*/ 3317240 w 3413760"/>
                <a:gd name="connsiteY3" fmla="*/ 2164080 h 2164080"/>
                <a:gd name="connsiteX4" fmla="*/ 3413760 w 3413760"/>
                <a:gd name="connsiteY4" fmla="*/ 2046605 h 2164080"/>
                <a:gd name="connsiteX5" fmla="*/ 3413760 w 3413760"/>
                <a:gd name="connsiteY5" fmla="*/ 60960 h 2164080"/>
                <a:gd name="connsiteX0" fmla="*/ 0 w 3413760"/>
                <a:gd name="connsiteY0" fmla="*/ 0 h 2164080"/>
                <a:gd name="connsiteX1" fmla="*/ 0 w 3413760"/>
                <a:gd name="connsiteY1" fmla="*/ 2026920 h 2164080"/>
                <a:gd name="connsiteX2" fmla="*/ 137160 w 3413760"/>
                <a:gd name="connsiteY2" fmla="*/ 2164080 h 2164080"/>
                <a:gd name="connsiteX3" fmla="*/ 3317240 w 3413760"/>
                <a:gd name="connsiteY3" fmla="*/ 2164080 h 2164080"/>
                <a:gd name="connsiteX4" fmla="*/ 3413760 w 3413760"/>
                <a:gd name="connsiteY4" fmla="*/ 2046605 h 2164080"/>
                <a:gd name="connsiteX5" fmla="*/ 3413760 w 3413760"/>
                <a:gd name="connsiteY5" fmla="*/ 60960 h 2164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13760" h="2164080">
                  <a:moveTo>
                    <a:pt x="0" y="0"/>
                  </a:moveTo>
                  <a:lnTo>
                    <a:pt x="0" y="2026920"/>
                  </a:lnTo>
                  <a:cubicBezTo>
                    <a:pt x="0" y="2105025"/>
                    <a:pt x="17145" y="2158365"/>
                    <a:pt x="137160" y="2164080"/>
                  </a:cubicBezTo>
                  <a:lnTo>
                    <a:pt x="3317240" y="2164080"/>
                  </a:lnTo>
                  <a:cubicBezTo>
                    <a:pt x="3377988" y="2157307"/>
                    <a:pt x="3413972" y="2114338"/>
                    <a:pt x="3413760" y="2046605"/>
                  </a:cubicBezTo>
                  <a:lnTo>
                    <a:pt x="3413760" y="60960"/>
                  </a:lnTo>
                </a:path>
              </a:pathLst>
            </a:custGeom>
            <a:noFill/>
            <a:ln w="19050">
              <a:solidFill>
                <a:schemeClr val="tx2"/>
              </a:solidFill>
            </a:ln>
          </p:spPr>
          <p:style>
            <a:lnRef idx="1">
              <a:schemeClr val="dk1"/>
            </a:lnRef>
            <a:fillRef idx="0">
              <a:schemeClr val="dk1"/>
            </a:fillRef>
            <a:effectRef idx="0">
              <a:schemeClr val="dk1"/>
            </a:effectRef>
            <a:fontRef idx="minor">
              <a:schemeClr val="tx1"/>
            </a:fontRef>
          </p:style>
          <p:txBody>
            <a:bodyPr rtlCol="0" anchor="ctr"/>
            <a:lstStyle/>
            <a:p>
              <a:pPr algn="ctr"/>
              <a:endParaRPr lang="en-US"/>
            </a:p>
          </p:txBody>
        </p:sp>
        <p:sp>
          <p:nvSpPr>
            <p:cNvPr id="13" name="Rectangle: Rounded Corners 12">
              <a:extLst>
                <a:ext uri="{FF2B5EF4-FFF2-40B4-BE49-F238E27FC236}">
                  <a16:creationId xmlns:a16="http://schemas.microsoft.com/office/drawing/2014/main" id="{D0E1DBFB-7E29-C903-9E06-41590D52A304}"/>
                </a:ext>
              </a:extLst>
            </p:cNvPr>
            <p:cNvSpPr/>
            <p:nvPr/>
          </p:nvSpPr>
          <p:spPr>
            <a:xfrm>
              <a:off x="5685352" y="2619633"/>
              <a:ext cx="5858948" cy="3667786"/>
            </a:xfrm>
            <a:prstGeom prst="roundRect">
              <a:avLst>
                <a:gd name="adj" fmla="val 2664"/>
              </a:avLst>
            </a:prstGeom>
            <a:solidFill>
              <a:srgbClr val="FFFFFF"/>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err="1">
                <a:solidFill>
                  <a:schemeClr val="bg1"/>
                </a:solidFill>
              </a:endParaRPr>
            </a:p>
          </p:txBody>
        </p:sp>
        <p:sp>
          <p:nvSpPr>
            <p:cNvPr id="14" name="Freeform: Shape 13">
              <a:extLst>
                <a:ext uri="{FF2B5EF4-FFF2-40B4-BE49-F238E27FC236}">
                  <a16:creationId xmlns:a16="http://schemas.microsoft.com/office/drawing/2014/main" id="{5D6693DC-2494-0FE3-22A7-0629127E5E59}"/>
                </a:ext>
              </a:extLst>
            </p:cNvPr>
            <p:cNvSpPr/>
            <p:nvPr/>
          </p:nvSpPr>
          <p:spPr>
            <a:xfrm flipV="1">
              <a:off x="5656230" y="2619632"/>
              <a:ext cx="5907120" cy="1630507"/>
            </a:xfrm>
            <a:custGeom>
              <a:avLst/>
              <a:gdLst>
                <a:gd name="connsiteX0" fmla="*/ 0 w 3413760"/>
                <a:gd name="connsiteY0" fmla="*/ 0 h 2164080"/>
                <a:gd name="connsiteX1" fmla="*/ 0 w 3413760"/>
                <a:gd name="connsiteY1" fmla="*/ 2026920 h 2164080"/>
                <a:gd name="connsiteX2" fmla="*/ 137160 w 3413760"/>
                <a:gd name="connsiteY2" fmla="*/ 2164080 h 2164080"/>
                <a:gd name="connsiteX3" fmla="*/ 3317240 w 3413760"/>
                <a:gd name="connsiteY3" fmla="*/ 2164080 h 2164080"/>
                <a:gd name="connsiteX4" fmla="*/ 3413760 w 3413760"/>
                <a:gd name="connsiteY4" fmla="*/ 2067560 h 2164080"/>
                <a:gd name="connsiteX5" fmla="*/ 3413760 w 3413760"/>
                <a:gd name="connsiteY5" fmla="*/ 60960 h 2164080"/>
                <a:gd name="connsiteX0" fmla="*/ 0 w 3413760"/>
                <a:gd name="connsiteY0" fmla="*/ 0 h 2164080"/>
                <a:gd name="connsiteX1" fmla="*/ 0 w 3413760"/>
                <a:gd name="connsiteY1" fmla="*/ 2026920 h 2164080"/>
                <a:gd name="connsiteX2" fmla="*/ 137160 w 3413760"/>
                <a:gd name="connsiteY2" fmla="*/ 2164080 h 2164080"/>
                <a:gd name="connsiteX3" fmla="*/ 3317240 w 3413760"/>
                <a:gd name="connsiteY3" fmla="*/ 2164080 h 2164080"/>
                <a:gd name="connsiteX4" fmla="*/ 3413760 w 3413760"/>
                <a:gd name="connsiteY4" fmla="*/ 2067560 h 2164080"/>
                <a:gd name="connsiteX5" fmla="*/ 3413760 w 3413760"/>
                <a:gd name="connsiteY5" fmla="*/ 60960 h 2164080"/>
                <a:gd name="connsiteX0" fmla="*/ 0 w 3413760"/>
                <a:gd name="connsiteY0" fmla="*/ 0 h 2164080"/>
                <a:gd name="connsiteX1" fmla="*/ 0 w 3413760"/>
                <a:gd name="connsiteY1" fmla="*/ 2026920 h 2164080"/>
                <a:gd name="connsiteX2" fmla="*/ 137160 w 3413760"/>
                <a:gd name="connsiteY2" fmla="*/ 2164080 h 2164080"/>
                <a:gd name="connsiteX3" fmla="*/ 3317240 w 3413760"/>
                <a:gd name="connsiteY3" fmla="*/ 2164080 h 2164080"/>
                <a:gd name="connsiteX4" fmla="*/ 3413760 w 3413760"/>
                <a:gd name="connsiteY4" fmla="*/ 2067560 h 2164080"/>
                <a:gd name="connsiteX5" fmla="*/ 3413760 w 3413760"/>
                <a:gd name="connsiteY5" fmla="*/ 60960 h 2164080"/>
                <a:gd name="connsiteX0" fmla="*/ 0 w 3413760"/>
                <a:gd name="connsiteY0" fmla="*/ 0 h 2164080"/>
                <a:gd name="connsiteX1" fmla="*/ 0 w 3413760"/>
                <a:gd name="connsiteY1" fmla="*/ 2026920 h 2164080"/>
                <a:gd name="connsiteX2" fmla="*/ 137160 w 3413760"/>
                <a:gd name="connsiteY2" fmla="*/ 2164080 h 2164080"/>
                <a:gd name="connsiteX3" fmla="*/ 3317240 w 3413760"/>
                <a:gd name="connsiteY3" fmla="*/ 2164080 h 2164080"/>
                <a:gd name="connsiteX4" fmla="*/ 3413760 w 3413760"/>
                <a:gd name="connsiteY4" fmla="*/ 2067560 h 2164080"/>
                <a:gd name="connsiteX5" fmla="*/ 3413760 w 3413760"/>
                <a:gd name="connsiteY5" fmla="*/ 60960 h 2164080"/>
                <a:gd name="connsiteX0" fmla="*/ 0 w 3413760"/>
                <a:gd name="connsiteY0" fmla="*/ 0 h 2164080"/>
                <a:gd name="connsiteX1" fmla="*/ 0 w 3413760"/>
                <a:gd name="connsiteY1" fmla="*/ 2026920 h 2164080"/>
                <a:gd name="connsiteX2" fmla="*/ 137160 w 3413760"/>
                <a:gd name="connsiteY2" fmla="*/ 2164080 h 2164080"/>
                <a:gd name="connsiteX3" fmla="*/ 3317240 w 3413760"/>
                <a:gd name="connsiteY3" fmla="*/ 2164080 h 2164080"/>
                <a:gd name="connsiteX4" fmla="*/ 3413760 w 3413760"/>
                <a:gd name="connsiteY4" fmla="*/ 2046605 h 2164080"/>
                <a:gd name="connsiteX5" fmla="*/ 3413760 w 3413760"/>
                <a:gd name="connsiteY5" fmla="*/ 60960 h 2164080"/>
                <a:gd name="connsiteX0" fmla="*/ 0 w 3414349"/>
                <a:gd name="connsiteY0" fmla="*/ 0 h 2164080"/>
                <a:gd name="connsiteX1" fmla="*/ 0 w 3414349"/>
                <a:gd name="connsiteY1" fmla="*/ 2026920 h 2164080"/>
                <a:gd name="connsiteX2" fmla="*/ 137160 w 3414349"/>
                <a:gd name="connsiteY2" fmla="*/ 2164080 h 2164080"/>
                <a:gd name="connsiteX3" fmla="*/ 3317240 w 3414349"/>
                <a:gd name="connsiteY3" fmla="*/ 2164080 h 2164080"/>
                <a:gd name="connsiteX4" fmla="*/ 3413760 w 3414349"/>
                <a:gd name="connsiteY4" fmla="*/ 2046605 h 2164080"/>
                <a:gd name="connsiteX5" fmla="*/ 3413760 w 3414349"/>
                <a:gd name="connsiteY5" fmla="*/ 60960 h 2164080"/>
                <a:gd name="connsiteX0" fmla="*/ 0 w 3414556"/>
                <a:gd name="connsiteY0" fmla="*/ 0 h 2164080"/>
                <a:gd name="connsiteX1" fmla="*/ 0 w 3414556"/>
                <a:gd name="connsiteY1" fmla="*/ 2026920 h 2164080"/>
                <a:gd name="connsiteX2" fmla="*/ 137160 w 3414556"/>
                <a:gd name="connsiteY2" fmla="*/ 2164080 h 2164080"/>
                <a:gd name="connsiteX3" fmla="*/ 3317240 w 3414556"/>
                <a:gd name="connsiteY3" fmla="*/ 2164080 h 2164080"/>
                <a:gd name="connsiteX4" fmla="*/ 3413760 w 3414556"/>
                <a:gd name="connsiteY4" fmla="*/ 2046605 h 2164080"/>
                <a:gd name="connsiteX5" fmla="*/ 3413760 w 3414556"/>
                <a:gd name="connsiteY5" fmla="*/ 60960 h 2164080"/>
                <a:gd name="connsiteX0" fmla="*/ 0 w 3413760"/>
                <a:gd name="connsiteY0" fmla="*/ 0 h 2164080"/>
                <a:gd name="connsiteX1" fmla="*/ 0 w 3413760"/>
                <a:gd name="connsiteY1" fmla="*/ 2026920 h 2164080"/>
                <a:gd name="connsiteX2" fmla="*/ 137160 w 3413760"/>
                <a:gd name="connsiteY2" fmla="*/ 2164080 h 2164080"/>
                <a:gd name="connsiteX3" fmla="*/ 3317240 w 3413760"/>
                <a:gd name="connsiteY3" fmla="*/ 2164080 h 2164080"/>
                <a:gd name="connsiteX4" fmla="*/ 3413760 w 3413760"/>
                <a:gd name="connsiteY4" fmla="*/ 2046605 h 2164080"/>
                <a:gd name="connsiteX5" fmla="*/ 3413760 w 3413760"/>
                <a:gd name="connsiteY5" fmla="*/ 60960 h 2164080"/>
                <a:gd name="connsiteX0" fmla="*/ 0 w 3413760"/>
                <a:gd name="connsiteY0" fmla="*/ 0 h 2164080"/>
                <a:gd name="connsiteX1" fmla="*/ 0 w 3413760"/>
                <a:gd name="connsiteY1" fmla="*/ 2026920 h 2164080"/>
                <a:gd name="connsiteX2" fmla="*/ 137160 w 3413760"/>
                <a:gd name="connsiteY2" fmla="*/ 2164080 h 2164080"/>
                <a:gd name="connsiteX3" fmla="*/ 3317240 w 3413760"/>
                <a:gd name="connsiteY3" fmla="*/ 2164080 h 2164080"/>
                <a:gd name="connsiteX4" fmla="*/ 3413760 w 3413760"/>
                <a:gd name="connsiteY4" fmla="*/ 2046605 h 2164080"/>
                <a:gd name="connsiteX5" fmla="*/ 3413760 w 3413760"/>
                <a:gd name="connsiteY5" fmla="*/ 60960 h 2164080"/>
                <a:gd name="connsiteX0" fmla="*/ 0 w 3417615"/>
                <a:gd name="connsiteY0" fmla="*/ 0 h 2164080"/>
                <a:gd name="connsiteX1" fmla="*/ 0 w 3417615"/>
                <a:gd name="connsiteY1" fmla="*/ 2026920 h 2164080"/>
                <a:gd name="connsiteX2" fmla="*/ 137160 w 3417615"/>
                <a:gd name="connsiteY2" fmla="*/ 2164080 h 2164080"/>
                <a:gd name="connsiteX3" fmla="*/ 3317240 w 3417615"/>
                <a:gd name="connsiteY3" fmla="*/ 2164080 h 2164080"/>
                <a:gd name="connsiteX4" fmla="*/ 3413760 w 3417615"/>
                <a:gd name="connsiteY4" fmla="*/ 2046605 h 2164080"/>
                <a:gd name="connsiteX5" fmla="*/ 3417615 w 3417615"/>
                <a:gd name="connsiteY5" fmla="*/ 368979 h 2164080"/>
                <a:gd name="connsiteX0" fmla="*/ 3855 w 3417615"/>
                <a:gd name="connsiteY0" fmla="*/ 0 h 1913558"/>
                <a:gd name="connsiteX1" fmla="*/ 0 w 3417615"/>
                <a:gd name="connsiteY1" fmla="*/ 1776398 h 1913558"/>
                <a:gd name="connsiteX2" fmla="*/ 137160 w 3417615"/>
                <a:gd name="connsiteY2" fmla="*/ 1913558 h 1913558"/>
                <a:gd name="connsiteX3" fmla="*/ 3317240 w 3417615"/>
                <a:gd name="connsiteY3" fmla="*/ 1913558 h 1913558"/>
                <a:gd name="connsiteX4" fmla="*/ 3413760 w 3417615"/>
                <a:gd name="connsiteY4" fmla="*/ 1796083 h 1913558"/>
                <a:gd name="connsiteX5" fmla="*/ 3417615 w 3417615"/>
                <a:gd name="connsiteY5" fmla="*/ 118457 h 1913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17615" h="1913558">
                  <a:moveTo>
                    <a:pt x="3855" y="0"/>
                  </a:moveTo>
                  <a:lnTo>
                    <a:pt x="0" y="1776398"/>
                  </a:lnTo>
                  <a:cubicBezTo>
                    <a:pt x="0" y="1854503"/>
                    <a:pt x="17145" y="1907843"/>
                    <a:pt x="137160" y="1913558"/>
                  </a:cubicBezTo>
                  <a:lnTo>
                    <a:pt x="3317240" y="1913558"/>
                  </a:lnTo>
                  <a:cubicBezTo>
                    <a:pt x="3377988" y="1906785"/>
                    <a:pt x="3413972" y="1863816"/>
                    <a:pt x="3413760" y="1796083"/>
                  </a:cubicBezTo>
                  <a:lnTo>
                    <a:pt x="3417615" y="118457"/>
                  </a:lnTo>
                </a:path>
              </a:pathLst>
            </a:custGeom>
            <a:noFill/>
            <a:ln w="12700">
              <a:solidFill>
                <a:schemeClr val="accent2"/>
              </a:solidFill>
              <a:prstDash val="sysDash"/>
            </a:ln>
          </p:spPr>
          <p:style>
            <a:lnRef idx="1">
              <a:schemeClr val="dk1"/>
            </a:lnRef>
            <a:fillRef idx="0">
              <a:schemeClr val="dk1"/>
            </a:fillRef>
            <a:effectRef idx="0">
              <a:schemeClr val="dk1"/>
            </a:effectRef>
            <a:fontRef idx="minor">
              <a:schemeClr val="tx1"/>
            </a:fontRef>
          </p:style>
          <p:txBody>
            <a:bodyPr rtlCol="0" anchor="ctr"/>
            <a:lstStyle/>
            <a:p>
              <a:pPr algn="ctr"/>
              <a:endParaRPr lang="en-US"/>
            </a:p>
          </p:txBody>
        </p:sp>
      </p:grpSp>
      <p:grpSp>
        <p:nvGrpSpPr>
          <p:cNvPr id="16" name="Group 15">
            <a:extLst>
              <a:ext uri="{FF2B5EF4-FFF2-40B4-BE49-F238E27FC236}">
                <a16:creationId xmlns:a16="http://schemas.microsoft.com/office/drawing/2014/main" id="{97381570-A870-813A-4F5B-60B8478592D6}"/>
              </a:ext>
            </a:extLst>
          </p:cNvPr>
          <p:cNvGrpSpPr/>
          <p:nvPr/>
        </p:nvGrpSpPr>
        <p:grpSpPr>
          <a:xfrm>
            <a:off x="628651" y="1724934"/>
            <a:ext cx="4525847" cy="646488"/>
            <a:chOff x="628651" y="1999254"/>
            <a:chExt cx="5126698" cy="646488"/>
          </a:xfrm>
        </p:grpSpPr>
        <p:sp>
          <p:nvSpPr>
            <p:cNvPr id="17" name="Freeform: Shape 16">
              <a:extLst>
                <a:ext uri="{FF2B5EF4-FFF2-40B4-BE49-F238E27FC236}">
                  <a16:creationId xmlns:a16="http://schemas.microsoft.com/office/drawing/2014/main" id="{22FEAA0C-553A-E6A1-281B-A1DE8C268C9E}"/>
                </a:ext>
              </a:extLst>
            </p:cNvPr>
            <p:cNvSpPr/>
            <p:nvPr/>
          </p:nvSpPr>
          <p:spPr>
            <a:xfrm>
              <a:off x="628651" y="1999254"/>
              <a:ext cx="5126698" cy="646488"/>
            </a:xfrm>
            <a:custGeom>
              <a:avLst/>
              <a:gdLst>
                <a:gd name="connsiteX0" fmla="*/ 0 w 3435424"/>
                <a:gd name="connsiteY0" fmla="*/ 0 h 411480"/>
                <a:gd name="connsiteX1" fmla="*/ 354330 w 3435424"/>
                <a:gd name="connsiteY1" fmla="*/ 0 h 411480"/>
                <a:gd name="connsiteX2" fmla="*/ 434340 w 3435424"/>
                <a:gd name="connsiteY2" fmla="*/ 0 h 411480"/>
                <a:gd name="connsiteX3" fmla="*/ 3435424 w 3435424"/>
                <a:gd name="connsiteY3" fmla="*/ 0 h 411480"/>
                <a:gd name="connsiteX4" fmla="*/ 3081094 w 3435424"/>
                <a:gd name="connsiteY4" fmla="*/ 411480 h 411480"/>
                <a:gd name="connsiteX5" fmla="*/ 434340 w 3435424"/>
                <a:gd name="connsiteY5" fmla="*/ 411480 h 411480"/>
                <a:gd name="connsiteX6" fmla="*/ 0 w 3435424"/>
                <a:gd name="connsiteY6" fmla="*/ 411480 h 411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35424" h="411480">
                  <a:moveTo>
                    <a:pt x="0" y="0"/>
                  </a:moveTo>
                  <a:lnTo>
                    <a:pt x="354330" y="0"/>
                  </a:lnTo>
                  <a:lnTo>
                    <a:pt x="434340" y="0"/>
                  </a:lnTo>
                  <a:lnTo>
                    <a:pt x="3435424" y="0"/>
                  </a:lnTo>
                  <a:lnTo>
                    <a:pt x="3081094" y="411480"/>
                  </a:lnTo>
                  <a:lnTo>
                    <a:pt x="434340" y="411480"/>
                  </a:lnTo>
                  <a:lnTo>
                    <a:pt x="0" y="411480"/>
                  </a:lnTo>
                  <a:close/>
                </a:path>
              </a:pathLst>
            </a:custGeom>
            <a:solidFill>
              <a:schemeClr val="tx2"/>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Freeform: Shape 17">
              <a:extLst>
                <a:ext uri="{FF2B5EF4-FFF2-40B4-BE49-F238E27FC236}">
                  <a16:creationId xmlns:a16="http://schemas.microsoft.com/office/drawing/2014/main" id="{A15AF271-E1DA-1D3E-72B1-E8FEEDFBF8CC}"/>
                </a:ext>
              </a:extLst>
            </p:cNvPr>
            <p:cNvSpPr/>
            <p:nvPr/>
          </p:nvSpPr>
          <p:spPr>
            <a:xfrm>
              <a:off x="628651" y="2497588"/>
              <a:ext cx="4708395" cy="148153"/>
            </a:xfrm>
            <a:custGeom>
              <a:avLst/>
              <a:gdLst>
                <a:gd name="connsiteX0" fmla="*/ 0 w 3155117"/>
                <a:gd name="connsiteY0" fmla="*/ 0 h 94297"/>
                <a:gd name="connsiteX1" fmla="*/ 81200 w 3155117"/>
                <a:gd name="connsiteY1" fmla="*/ 0 h 94297"/>
                <a:gd name="connsiteX2" fmla="*/ 126165 w 3155117"/>
                <a:gd name="connsiteY2" fmla="*/ 0 h 94297"/>
                <a:gd name="connsiteX3" fmla="*/ 3155117 w 3155117"/>
                <a:gd name="connsiteY3" fmla="*/ 0 h 94297"/>
                <a:gd name="connsiteX4" fmla="*/ 3073917 w 3155117"/>
                <a:gd name="connsiteY4" fmla="*/ 94297 h 94297"/>
                <a:gd name="connsiteX5" fmla="*/ 126165 w 3155117"/>
                <a:gd name="connsiteY5" fmla="*/ 94297 h 94297"/>
                <a:gd name="connsiteX6" fmla="*/ 0 w 3155117"/>
                <a:gd name="connsiteY6" fmla="*/ 94297 h 942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55117" h="94297">
                  <a:moveTo>
                    <a:pt x="0" y="0"/>
                  </a:moveTo>
                  <a:lnTo>
                    <a:pt x="81200" y="0"/>
                  </a:lnTo>
                  <a:lnTo>
                    <a:pt x="126165" y="0"/>
                  </a:lnTo>
                  <a:lnTo>
                    <a:pt x="3155117" y="0"/>
                  </a:lnTo>
                  <a:lnTo>
                    <a:pt x="3073917" y="94297"/>
                  </a:lnTo>
                  <a:lnTo>
                    <a:pt x="126165" y="94297"/>
                  </a:lnTo>
                  <a:lnTo>
                    <a:pt x="0" y="94297"/>
                  </a:lnTo>
                  <a:close/>
                </a:path>
              </a:pathLst>
            </a:custGeom>
            <a:solidFill>
              <a:schemeClr val="accent2"/>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9" name="Group 18">
            <a:extLst>
              <a:ext uri="{FF2B5EF4-FFF2-40B4-BE49-F238E27FC236}">
                <a16:creationId xmlns:a16="http://schemas.microsoft.com/office/drawing/2014/main" id="{827F60B1-542E-636E-565C-C9AE51A0A489}"/>
              </a:ext>
            </a:extLst>
          </p:cNvPr>
          <p:cNvGrpSpPr/>
          <p:nvPr/>
        </p:nvGrpSpPr>
        <p:grpSpPr>
          <a:xfrm>
            <a:off x="5635653" y="1724934"/>
            <a:ext cx="6062861" cy="646488"/>
            <a:chOff x="6436652" y="1999254"/>
            <a:chExt cx="5126698" cy="646488"/>
          </a:xfrm>
        </p:grpSpPr>
        <p:sp>
          <p:nvSpPr>
            <p:cNvPr id="20" name="Freeform: Shape 19">
              <a:extLst>
                <a:ext uri="{FF2B5EF4-FFF2-40B4-BE49-F238E27FC236}">
                  <a16:creationId xmlns:a16="http://schemas.microsoft.com/office/drawing/2014/main" id="{D286BEDE-CF40-A634-32F5-604740082E04}"/>
                </a:ext>
              </a:extLst>
            </p:cNvPr>
            <p:cNvSpPr/>
            <p:nvPr/>
          </p:nvSpPr>
          <p:spPr>
            <a:xfrm>
              <a:off x="6436652" y="1999254"/>
              <a:ext cx="5126698" cy="646488"/>
            </a:xfrm>
            <a:custGeom>
              <a:avLst/>
              <a:gdLst>
                <a:gd name="connsiteX0" fmla="*/ 0 w 3435424"/>
                <a:gd name="connsiteY0" fmla="*/ 0 h 411480"/>
                <a:gd name="connsiteX1" fmla="*/ 354330 w 3435424"/>
                <a:gd name="connsiteY1" fmla="*/ 0 h 411480"/>
                <a:gd name="connsiteX2" fmla="*/ 434340 w 3435424"/>
                <a:gd name="connsiteY2" fmla="*/ 0 h 411480"/>
                <a:gd name="connsiteX3" fmla="*/ 3435424 w 3435424"/>
                <a:gd name="connsiteY3" fmla="*/ 0 h 411480"/>
                <a:gd name="connsiteX4" fmla="*/ 3081094 w 3435424"/>
                <a:gd name="connsiteY4" fmla="*/ 411480 h 411480"/>
                <a:gd name="connsiteX5" fmla="*/ 434340 w 3435424"/>
                <a:gd name="connsiteY5" fmla="*/ 411480 h 411480"/>
                <a:gd name="connsiteX6" fmla="*/ 0 w 3435424"/>
                <a:gd name="connsiteY6" fmla="*/ 411480 h 411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35424" h="411480">
                  <a:moveTo>
                    <a:pt x="0" y="0"/>
                  </a:moveTo>
                  <a:lnTo>
                    <a:pt x="354330" y="0"/>
                  </a:lnTo>
                  <a:lnTo>
                    <a:pt x="434340" y="0"/>
                  </a:lnTo>
                  <a:lnTo>
                    <a:pt x="3435424" y="0"/>
                  </a:lnTo>
                  <a:lnTo>
                    <a:pt x="3081094" y="411480"/>
                  </a:lnTo>
                  <a:lnTo>
                    <a:pt x="434340" y="411480"/>
                  </a:lnTo>
                  <a:lnTo>
                    <a:pt x="0" y="411480"/>
                  </a:lnTo>
                  <a:close/>
                </a:path>
              </a:pathLst>
            </a:custGeom>
            <a:solidFill>
              <a:schemeClr val="tx2"/>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Freeform: Shape 20">
              <a:extLst>
                <a:ext uri="{FF2B5EF4-FFF2-40B4-BE49-F238E27FC236}">
                  <a16:creationId xmlns:a16="http://schemas.microsoft.com/office/drawing/2014/main" id="{E693340E-7F5B-431B-E44D-994EA28D0496}"/>
                </a:ext>
              </a:extLst>
            </p:cNvPr>
            <p:cNvSpPr/>
            <p:nvPr/>
          </p:nvSpPr>
          <p:spPr>
            <a:xfrm>
              <a:off x="6436652" y="2497588"/>
              <a:ext cx="4708395" cy="148153"/>
            </a:xfrm>
            <a:custGeom>
              <a:avLst/>
              <a:gdLst>
                <a:gd name="connsiteX0" fmla="*/ 0 w 3155117"/>
                <a:gd name="connsiteY0" fmla="*/ 0 h 94297"/>
                <a:gd name="connsiteX1" fmla="*/ 81200 w 3155117"/>
                <a:gd name="connsiteY1" fmla="*/ 0 h 94297"/>
                <a:gd name="connsiteX2" fmla="*/ 126165 w 3155117"/>
                <a:gd name="connsiteY2" fmla="*/ 0 h 94297"/>
                <a:gd name="connsiteX3" fmla="*/ 3155117 w 3155117"/>
                <a:gd name="connsiteY3" fmla="*/ 0 h 94297"/>
                <a:gd name="connsiteX4" fmla="*/ 3073917 w 3155117"/>
                <a:gd name="connsiteY4" fmla="*/ 94297 h 94297"/>
                <a:gd name="connsiteX5" fmla="*/ 126165 w 3155117"/>
                <a:gd name="connsiteY5" fmla="*/ 94297 h 94297"/>
                <a:gd name="connsiteX6" fmla="*/ 0 w 3155117"/>
                <a:gd name="connsiteY6" fmla="*/ 94297 h 942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55117" h="94297">
                  <a:moveTo>
                    <a:pt x="0" y="0"/>
                  </a:moveTo>
                  <a:lnTo>
                    <a:pt x="81200" y="0"/>
                  </a:lnTo>
                  <a:lnTo>
                    <a:pt x="126165" y="0"/>
                  </a:lnTo>
                  <a:lnTo>
                    <a:pt x="3155117" y="0"/>
                  </a:lnTo>
                  <a:lnTo>
                    <a:pt x="3073917" y="94297"/>
                  </a:lnTo>
                  <a:lnTo>
                    <a:pt x="126165" y="94297"/>
                  </a:lnTo>
                  <a:lnTo>
                    <a:pt x="0" y="94297"/>
                  </a:lnTo>
                  <a:close/>
                </a:path>
              </a:pathLst>
            </a:custGeom>
            <a:solidFill>
              <a:schemeClr val="accent2"/>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2" name="Oval 21">
            <a:extLst>
              <a:ext uri="{FF2B5EF4-FFF2-40B4-BE49-F238E27FC236}">
                <a16:creationId xmlns:a16="http://schemas.microsoft.com/office/drawing/2014/main" id="{86AF5D30-64E0-3D4C-591A-A38ADE906DAE}"/>
              </a:ext>
            </a:extLst>
          </p:cNvPr>
          <p:cNvSpPr/>
          <p:nvPr/>
        </p:nvSpPr>
        <p:spPr>
          <a:xfrm>
            <a:off x="5761355" y="1566477"/>
            <a:ext cx="963402" cy="963402"/>
          </a:xfrm>
          <a:prstGeom prst="ellipse">
            <a:avLst/>
          </a:prstGeom>
          <a:solidFill>
            <a:srgbClr val="FFFFFF"/>
          </a:solidFill>
          <a:ln w="38100">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kern="0">
              <a:solidFill>
                <a:schemeClr val="bg1">
                  <a:lumMod val="50000"/>
                </a:schemeClr>
              </a:solidFill>
            </a:endParaRPr>
          </a:p>
        </p:txBody>
      </p:sp>
      <p:sp>
        <p:nvSpPr>
          <p:cNvPr id="23" name="Oval 22">
            <a:extLst>
              <a:ext uri="{FF2B5EF4-FFF2-40B4-BE49-F238E27FC236}">
                <a16:creationId xmlns:a16="http://schemas.microsoft.com/office/drawing/2014/main" id="{56F5B269-4689-EA87-B0FB-9C111E4E0B8F}"/>
              </a:ext>
            </a:extLst>
          </p:cNvPr>
          <p:cNvSpPr/>
          <p:nvPr/>
        </p:nvSpPr>
        <p:spPr>
          <a:xfrm>
            <a:off x="802497" y="1546502"/>
            <a:ext cx="963402" cy="963402"/>
          </a:xfrm>
          <a:prstGeom prst="ellipse">
            <a:avLst/>
          </a:prstGeom>
          <a:solidFill>
            <a:srgbClr val="FFFFFF"/>
          </a:solidFill>
          <a:ln w="38100">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kern="0">
              <a:solidFill>
                <a:schemeClr val="bg1">
                  <a:lumMod val="50000"/>
                </a:schemeClr>
              </a:solidFill>
            </a:endParaRPr>
          </a:p>
        </p:txBody>
      </p:sp>
      <p:sp>
        <p:nvSpPr>
          <p:cNvPr id="33" name="TextBox 32">
            <a:extLst>
              <a:ext uri="{FF2B5EF4-FFF2-40B4-BE49-F238E27FC236}">
                <a16:creationId xmlns:a16="http://schemas.microsoft.com/office/drawing/2014/main" id="{F6200355-A8E3-046A-CD8A-657829F60AAD}"/>
              </a:ext>
            </a:extLst>
          </p:cNvPr>
          <p:cNvSpPr txBox="1"/>
          <p:nvPr/>
        </p:nvSpPr>
        <p:spPr>
          <a:xfrm>
            <a:off x="1937544" y="1940455"/>
            <a:ext cx="3007618" cy="21544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lvl="3"/>
            <a:r>
              <a:rPr lang="en-US" dirty="0">
                <a:solidFill>
                  <a:schemeClr val="accent3"/>
                </a:solidFill>
                <a:sym typeface="Trebuchet MS" panose="020B0603020202020204" pitchFamily="34" charset="0"/>
              </a:rPr>
              <a:t>Visualization using Matplotlib</a:t>
            </a:r>
          </a:p>
        </p:txBody>
      </p:sp>
      <p:sp>
        <p:nvSpPr>
          <p:cNvPr id="34" name="TextBox 33">
            <a:extLst>
              <a:ext uri="{FF2B5EF4-FFF2-40B4-BE49-F238E27FC236}">
                <a16:creationId xmlns:a16="http://schemas.microsoft.com/office/drawing/2014/main" id="{FAD1DB8C-AAC6-F474-5001-9EC0D869FE99}"/>
              </a:ext>
            </a:extLst>
          </p:cNvPr>
          <p:cNvSpPr txBox="1"/>
          <p:nvPr/>
        </p:nvSpPr>
        <p:spPr>
          <a:xfrm>
            <a:off x="6907001" y="1940455"/>
            <a:ext cx="4029029" cy="21544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lvl="3"/>
            <a:r>
              <a:rPr lang="en-US" dirty="0">
                <a:solidFill>
                  <a:srgbClr val="FFFFFF"/>
                </a:solidFill>
                <a:sym typeface="Trebuchet MS" panose="020B0603020202020204" pitchFamily="34" charset="0"/>
              </a:rPr>
              <a:t>Sample result</a:t>
            </a:r>
            <a:endParaRPr lang="en-US" dirty="0">
              <a:solidFill>
                <a:schemeClr val="accent3"/>
              </a:solidFill>
              <a:sym typeface="Trebuchet MS" panose="020B0603020202020204" pitchFamily="34" charset="0"/>
            </a:endParaRPr>
          </a:p>
        </p:txBody>
      </p:sp>
      <p:sp>
        <p:nvSpPr>
          <p:cNvPr id="38" name="Rectangle 37">
            <a:extLst>
              <a:ext uri="{FF2B5EF4-FFF2-40B4-BE49-F238E27FC236}">
                <a16:creationId xmlns:a16="http://schemas.microsoft.com/office/drawing/2014/main" id="{E935479B-9910-513F-0ED8-5B407DCC1E04}"/>
              </a:ext>
            </a:extLst>
          </p:cNvPr>
          <p:cNvSpPr/>
          <p:nvPr/>
        </p:nvSpPr>
        <p:spPr>
          <a:xfrm flipV="1">
            <a:off x="0" y="0"/>
            <a:ext cx="12192000" cy="1287597"/>
          </a:xfrm>
          <a:prstGeom prst="rect">
            <a:avLst/>
          </a:prstGeom>
          <a:gradFill flip="none" rotWithShape="1">
            <a:gsLst>
              <a:gs pos="0">
                <a:srgbClr val="008C4F"/>
              </a:gs>
              <a:gs pos="100000">
                <a:srgbClr val="00693B"/>
              </a:gs>
            </a:gsLst>
            <a:lin ang="13500000" scaled="1"/>
            <a:tileRect/>
          </a:gradFill>
          <a:ln w="10795" cap="flat" cmpd="sng" algn="ctr">
            <a:noFill/>
            <a:prstDash val="solid"/>
          </a:ln>
          <a:effectLst/>
        </p:spPr>
        <p:txBody>
          <a:bodyPr lIns="91440" tIns="91440" rIns="91440" bIns="91440" rtlCol="0" anchor="ctr"/>
          <a:lstStyle/>
          <a:p>
            <a:pPr marL="0" marR="0" lvl="0" indent="0" algn="ctr" defTabSz="914400" eaLnBrk="1" fontAlgn="auto" latinLnBrk="0" hangingPunct="1">
              <a:lnSpc>
                <a:spcPct val="95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40" name="Title 1">
            <a:extLst>
              <a:ext uri="{FF2B5EF4-FFF2-40B4-BE49-F238E27FC236}">
                <a16:creationId xmlns:a16="http://schemas.microsoft.com/office/drawing/2014/main" id="{8E7AACCA-A87D-DE89-47FB-2D8621449F16}"/>
              </a:ext>
            </a:extLst>
          </p:cNvPr>
          <p:cNvSpPr txBox="1">
            <a:spLocks/>
          </p:cNvSpPr>
          <p:nvPr/>
        </p:nvSpPr>
        <p:spPr>
          <a:xfrm>
            <a:off x="482082" y="332033"/>
            <a:ext cx="10933200" cy="701690"/>
          </a:xfrm>
          <a:prstGeom prst="rect">
            <a:avLst/>
          </a:prstGeom>
          <a:noFill/>
          <a:ln>
            <a:noFill/>
          </a:ln>
        </p:spPr>
        <p:txBody>
          <a:bodyPr spcFirstLastPara="1" vert="horz" wrap="square" lIns="91425" tIns="45700" rIns="91425" bIns="45700" anchor="ctr" anchorCtr="0">
            <a:spAutoFit/>
          </a:bodyPr>
          <a:lstStyle>
            <a:defPPr marR="0" lvl="0" algn="l" rtl="0">
              <a:lnSpc>
                <a:spcPct val="100000"/>
              </a:lnSpc>
              <a:spcBef>
                <a:spcPts val="0"/>
              </a:spcBef>
              <a:spcAft>
                <a:spcPts val="0"/>
              </a:spcAft>
            </a:defPPr>
            <a:lvl1pPr marR="0" lvl="0" algn="l" rtl="0">
              <a:lnSpc>
                <a:spcPct val="90000"/>
              </a:lnSpc>
              <a:spcBef>
                <a:spcPts val="0"/>
              </a:spcBef>
              <a:spcAft>
                <a:spcPts val="0"/>
              </a:spcAft>
              <a:buClr>
                <a:schemeClr val="dk1"/>
              </a:buClr>
              <a:buSzPts val="1800"/>
              <a:buFont typeface="Calibri"/>
              <a:buNone/>
              <a:defRPr sz="44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r>
              <a:rPr lang="en-US" dirty="0">
                <a:solidFill>
                  <a:srgbClr val="D4DF33"/>
                </a:solidFill>
                <a:latin typeface="Calibri" panose="020F0502020204030204" pitchFamily="34" charset="0"/>
              </a:rPr>
              <a:t>3 – Second step: </a:t>
            </a:r>
            <a:r>
              <a:rPr lang="en-US" dirty="0">
                <a:solidFill>
                  <a:srgbClr val="FFFFFF"/>
                </a:solidFill>
                <a:latin typeface="Calibri" panose="020F0502020204030204" pitchFamily="34" charset="0"/>
              </a:rPr>
              <a:t>Prepare</a:t>
            </a:r>
          </a:p>
        </p:txBody>
      </p:sp>
      <p:grpSp>
        <p:nvGrpSpPr>
          <p:cNvPr id="24" name="Group 23">
            <a:extLst>
              <a:ext uri="{FF2B5EF4-FFF2-40B4-BE49-F238E27FC236}">
                <a16:creationId xmlns:a16="http://schemas.microsoft.com/office/drawing/2014/main" id="{DD422EFD-FB91-9044-C697-1949D35EAFAB}"/>
              </a:ext>
            </a:extLst>
          </p:cNvPr>
          <p:cNvGrpSpPr>
            <a:grpSpLocks noChangeAspect="1"/>
          </p:cNvGrpSpPr>
          <p:nvPr/>
        </p:nvGrpSpPr>
        <p:grpSpPr>
          <a:xfrm>
            <a:off x="953507" y="1704764"/>
            <a:ext cx="667897" cy="667897"/>
            <a:chOff x="1109933" y="1822724"/>
            <a:chExt cx="1649421" cy="1649421"/>
          </a:xfrm>
        </p:grpSpPr>
        <p:sp>
          <p:nvSpPr>
            <p:cNvPr id="25" name="AutoShape 68">
              <a:extLst>
                <a:ext uri="{FF2B5EF4-FFF2-40B4-BE49-F238E27FC236}">
                  <a16:creationId xmlns:a16="http://schemas.microsoft.com/office/drawing/2014/main" id="{E00CE451-CD66-EC97-A4B1-835784CB2780}"/>
                </a:ext>
              </a:extLst>
            </p:cNvPr>
            <p:cNvSpPr>
              <a:spLocks noChangeAspect="1" noChangeArrowheads="1" noTextEdit="1"/>
            </p:cNvSpPr>
            <p:nvPr/>
          </p:nvSpPr>
          <p:spPr bwMode="auto">
            <a:xfrm>
              <a:off x="1109933" y="1822724"/>
              <a:ext cx="1649421" cy="16494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26" name="Group 25">
              <a:extLst>
                <a:ext uri="{FF2B5EF4-FFF2-40B4-BE49-F238E27FC236}">
                  <a16:creationId xmlns:a16="http://schemas.microsoft.com/office/drawing/2014/main" id="{1CFA29A3-33C2-AEAF-C236-04117C29D92F}"/>
                </a:ext>
              </a:extLst>
            </p:cNvPr>
            <p:cNvGrpSpPr/>
            <p:nvPr/>
          </p:nvGrpSpPr>
          <p:grpSpPr>
            <a:xfrm>
              <a:off x="1323199" y="2204914"/>
              <a:ext cx="1221983" cy="879309"/>
              <a:chOff x="1323199" y="2204914"/>
              <a:chExt cx="1221983" cy="879309"/>
            </a:xfrm>
          </p:grpSpPr>
          <p:sp>
            <p:nvSpPr>
              <p:cNvPr id="27" name="Freeform 70">
                <a:extLst>
                  <a:ext uri="{FF2B5EF4-FFF2-40B4-BE49-F238E27FC236}">
                    <a16:creationId xmlns:a16="http://schemas.microsoft.com/office/drawing/2014/main" id="{9C36226C-76DB-2B31-C163-972941911C99}"/>
                  </a:ext>
                </a:extLst>
              </p:cNvPr>
              <p:cNvSpPr>
                <a:spLocks noEditPoints="1"/>
              </p:cNvSpPr>
              <p:nvPr/>
            </p:nvSpPr>
            <p:spPr bwMode="auto">
              <a:xfrm>
                <a:off x="1323199" y="2204914"/>
                <a:ext cx="1221983" cy="879309"/>
              </a:xfrm>
              <a:custGeom>
                <a:avLst/>
                <a:gdLst>
                  <a:gd name="T0" fmla="*/ 503 w 1707"/>
                  <a:gd name="T1" fmla="*/ 599 h 1228"/>
                  <a:gd name="T2" fmla="*/ 449 w 1707"/>
                  <a:gd name="T3" fmla="*/ 585 h 1228"/>
                  <a:gd name="T4" fmla="*/ 471 w 1707"/>
                  <a:gd name="T5" fmla="*/ 660 h 1228"/>
                  <a:gd name="T6" fmla="*/ 360 w 1707"/>
                  <a:gd name="T7" fmla="*/ 428 h 1228"/>
                  <a:gd name="T8" fmla="*/ 387 w 1707"/>
                  <a:gd name="T9" fmla="*/ 394 h 1228"/>
                  <a:gd name="T10" fmla="*/ 395 w 1707"/>
                  <a:gd name="T11" fmla="*/ 344 h 1228"/>
                  <a:gd name="T12" fmla="*/ 1445 w 1707"/>
                  <a:gd name="T13" fmla="*/ 0 h 1228"/>
                  <a:gd name="T14" fmla="*/ 429 w 1707"/>
                  <a:gd name="T15" fmla="*/ 161 h 1228"/>
                  <a:gd name="T16" fmla="*/ 440 w 1707"/>
                  <a:gd name="T17" fmla="*/ 196 h 1228"/>
                  <a:gd name="T18" fmla="*/ 449 w 1707"/>
                  <a:gd name="T19" fmla="*/ 174 h 1228"/>
                  <a:gd name="T20" fmla="*/ 457 w 1707"/>
                  <a:gd name="T21" fmla="*/ 158 h 1228"/>
                  <a:gd name="T22" fmla="*/ 465 w 1707"/>
                  <a:gd name="T23" fmla="*/ 143 h 1228"/>
                  <a:gd name="T24" fmla="*/ 473 w 1707"/>
                  <a:gd name="T25" fmla="*/ 129 h 1228"/>
                  <a:gd name="T26" fmla="*/ 575 w 1707"/>
                  <a:gd name="T27" fmla="*/ 37 h 1228"/>
                  <a:gd name="T28" fmla="*/ 589 w 1707"/>
                  <a:gd name="T29" fmla="*/ 34 h 1228"/>
                  <a:gd name="T30" fmla="*/ 1454 w 1707"/>
                  <a:gd name="T31" fmla="*/ 35 h 1228"/>
                  <a:gd name="T32" fmla="*/ 1466 w 1707"/>
                  <a:gd name="T33" fmla="*/ 37 h 1228"/>
                  <a:gd name="T34" fmla="*/ 1478 w 1707"/>
                  <a:gd name="T35" fmla="*/ 40 h 1228"/>
                  <a:gd name="T36" fmla="*/ 1488 w 1707"/>
                  <a:gd name="T37" fmla="*/ 46 h 1228"/>
                  <a:gd name="T38" fmla="*/ 1499 w 1707"/>
                  <a:gd name="T39" fmla="*/ 52 h 1228"/>
                  <a:gd name="T40" fmla="*/ 1513 w 1707"/>
                  <a:gd name="T41" fmla="*/ 62 h 1228"/>
                  <a:gd name="T42" fmla="*/ 1596 w 1707"/>
                  <a:gd name="T43" fmla="*/ 187 h 1228"/>
                  <a:gd name="T44" fmla="*/ 1607 w 1707"/>
                  <a:gd name="T45" fmla="*/ 216 h 1228"/>
                  <a:gd name="T46" fmla="*/ 1608 w 1707"/>
                  <a:gd name="T47" fmla="*/ 1011 h 1228"/>
                  <a:gd name="T48" fmla="*/ 1600 w 1707"/>
                  <a:gd name="T49" fmla="*/ 1031 h 1228"/>
                  <a:gd name="T50" fmla="*/ 1514 w 1707"/>
                  <a:gd name="T51" fmla="*/ 1164 h 1228"/>
                  <a:gd name="T52" fmla="*/ 1504 w 1707"/>
                  <a:gd name="T53" fmla="*/ 1173 h 1228"/>
                  <a:gd name="T54" fmla="*/ 1491 w 1707"/>
                  <a:gd name="T55" fmla="*/ 1181 h 1228"/>
                  <a:gd name="T56" fmla="*/ 1479 w 1707"/>
                  <a:gd name="T57" fmla="*/ 1187 h 1228"/>
                  <a:gd name="T58" fmla="*/ 1468 w 1707"/>
                  <a:gd name="T59" fmla="*/ 1190 h 1228"/>
                  <a:gd name="T60" fmla="*/ 1456 w 1707"/>
                  <a:gd name="T61" fmla="*/ 1193 h 1228"/>
                  <a:gd name="T62" fmla="*/ 1443 w 1707"/>
                  <a:gd name="T63" fmla="*/ 1194 h 1228"/>
                  <a:gd name="T64" fmla="*/ 1434 w 1707"/>
                  <a:gd name="T65" fmla="*/ 1193 h 1228"/>
                  <a:gd name="T66" fmla="*/ 599 w 1707"/>
                  <a:gd name="T67" fmla="*/ 1194 h 1228"/>
                  <a:gd name="T68" fmla="*/ 587 w 1707"/>
                  <a:gd name="T69" fmla="*/ 1193 h 1228"/>
                  <a:gd name="T70" fmla="*/ 574 w 1707"/>
                  <a:gd name="T71" fmla="*/ 1191 h 1228"/>
                  <a:gd name="T72" fmla="*/ 563 w 1707"/>
                  <a:gd name="T73" fmla="*/ 1188 h 1228"/>
                  <a:gd name="T74" fmla="*/ 552 w 1707"/>
                  <a:gd name="T75" fmla="*/ 1182 h 1228"/>
                  <a:gd name="T76" fmla="*/ 541 w 1707"/>
                  <a:gd name="T77" fmla="*/ 1176 h 1228"/>
                  <a:gd name="T78" fmla="*/ 528 w 1707"/>
                  <a:gd name="T79" fmla="*/ 1166 h 1228"/>
                  <a:gd name="T80" fmla="*/ 596 w 1707"/>
                  <a:gd name="T81" fmla="*/ 1228 h 1228"/>
                  <a:gd name="T82" fmla="*/ 1707 w 1707"/>
                  <a:gd name="T83" fmla="*/ 614 h 1228"/>
                  <a:gd name="T84" fmla="*/ 451 w 1707"/>
                  <a:gd name="T85" fmla="*/ 423 h 1228"/>
                  <a:gd name="T86" fmla="*/ 535 w 1707"/>
                  <a:gd name="T87" fmla="*/ 409 h 1228"/>
                  <a:gd name="T88" fmla="*/ 639 w 1707"/>
                  <a:gd name="T89" fmla="*/ 522 h 1228"/>
                  <a:gd name="T90" fmla="*/ 684 w 1707"/>
                  <a:gd name="T91" fmla="*/ 664 h 1228"/>
                  <a:gd name="T92" fmla="*/ 631 w 1707"/>
                  <a:gd name="T93" fmla="*/ 772 h 1228"/>
                  <a:gd name="T94" fmla="*/ 577 w 1707"/>
                  <a:gd name="T95" fmla="*/ 813 h 1228"/>
                  <a:gd name="T96" fmla="*/ 471 w 1707"/>
                  <a:gd name="T97" fmla="*/ 817 h 1228"/>
                  <a:gd name="T98" fmla="*/ 488 w 1707"/>
                  <a:gd name="T99" fmla="*/ 1013 h 1228"/>
                  <a:gd name="T100" fmla="*/ 808 w 1707"/>
                  <a:gd name="T101" fmla="*/ 614 h 1228"/>
                  <a:gd name="T102" fmla="*/ 362 w 1707"/>
                  <a:gd name="T103" fmla="*/ 894 h 1228"/>
                  <a:gd name="T104" fmla="*/ 345 w 1707"/>
                  <a:gd name="T105" fmla="*/ 800 h 1228"/>
                  <a:gd name="T106" fmla="*/ 226 w 1707"/>
                  <a:gd name="T107" fmla="*/ 1169 h 1228"/>
                  <a:gd name="T108" fmla="*/ 79 w 1707"/>
                  <a:gd name="T109" fmla="*/ 793 h 1228"/>
                  <a:gd name="T110" fmla="*/ 98 w 1707"/>
                  <a:gd name="T111" fmla="*/ 926 h 1228"/>
                  <a:gd name="T112" fmla="*/ 0 w 1707"/>
                  <a:gd name="T113" fmla="*/ 370 h 1228"/>
                  <a:gd name="T114" fmla="*/ 79 w 1707"/>
                  <a:gd name="T115" fmla="*/ 410 h 1228"/>
                  <a:gd name="T116" fmla="*/ 79 w 1707"/>
                  <a:gd name="T117" fmla="*/ 410 h 1228"/>
                  <a:gd name="T118" fmla="*/ 305 w 1707"/>
                  <a:gd name="T119" fmla="*/ 146 h 1228"/>
                  <a:gd name="T120" fmla="*/ 226 w 1707"/>
                  <a:gd name="T121" fmla="*/ 107 h 1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707" h="1228">
                    <a:moveTo>
                      <a:pt x="471" y="660"/>
                    </a:moveTo>
                    <a:cubicBezTo>
                      <a:pt x="477" y="660"/>
                      <a:pt x="483" y="658"/>
                      <a:pt x="489" y="655"/>
                    </a:cubicBezTo>
                    <a:cubicBezTo>
                      <a:pt x="489" y="655"/>
                      <a:pt x="489" y="655"/>
                      <a:pt x="489" y="655"/>
                    </a:cubicBezTo>
                    <a:cubicBezTo>
                      <a:pt x="508" y="644"/>
                      <a:pt x="514" y="619"/>
                      <a:pt x="503" y="599"/>
                    </a:cubicBezTo>
                    <a:cubicBezTo>
                      <a:pt x="496" y="587"/>
                      <a:pt x="483" y="580"/>
                      <a:pt x="469" y="580"/>
                    </a:cubicBezTo>
                    <a:cubicBezTo>
                      <a:pt x="467" y="580"/>
                      <a:pt x="466" y="580"/>
                      <a:pt x="464" y="580"/>
                    </a:cubicBezTo>
                    <a:cubicBezTo>
                      <a:pt x="463" y="580"/>
                      <a:pt x="463" y="580"/>
                      <a:pt x="463" y="580"/>
                    </a:cubicBezTo>
                    <a:cubicBezTo>
                      <a:pt x="461" y="580"/>
                      <a:pt x="456" y="581"/>
                      <a:pt x="449" y="585"/>
                    </a:cubicBezTo>
                    <a:cubicBezTo>
                      <a:pt x="441" y="590"/>
                      <a:pt x="435" y="598"/>
                      <a:pt x="432" y="608"/>
                    </a:cubicBezTo>
                    <a:cubicBezTo>
                      <a:pt x="429" y="619"/>
                      <a:pt x="431" y="630"/>
                      <a:pt x="436" y="639"/>
                    </a:cubicBezTo>
                    <a:cubicBezTo>
                      <a:pt x="437" y="640"/>
                      <a:pt x="437" y="640"/>
                      <a:pt x="437" y="640"/>
                    </a:cubicBezTo>
                    <a:cubicBezTo>
                      <a:pt x="444" y="652"/>
                      <a:pt x="457" y="660"/>
                      <a:pt x="471" y="660"/>
                    </a:cubicBezTo>
                    <a:close/>
                    <a:moveTo>
                      <a:pt x="362" y="333"/>
                    </a:moveTo>
                    <a:cubicBezTo>
                      <a:pt x="355" y="367"/>
                      <a:pt x="349" y="403"/>
                      <a:pt x="344" y="439"/>
                    </a:cubicBezTo>
                    <a:cubicBezTo>
                      <a:pt x="349" y="435"/>
                      <a:pt x="354" y="432"/>
                      <a:pt x="359" y="429"/>
                    </a:cubicBezTo>
                    <a:cubicBezTo>
                      <a:pt x="360" y="428"/>
                      <a:pt x="360" y="428"/>
                      <a:pt x="360" y="428"/>
                    </a:cubicBezTo>
                    <a:cubicBezTo>
                      <a:pt x="362" y="427"/>
                      <a:pt x="362" y="427"/>
                      <a:pt x="362" y="427"/>
                    </a:cubicBezTo>
                    <a:cubicBezTo>
                      <a:pt x="369" y="423"/>
                      <a:pt x="376" y="420"/>
                      <a:pt x="383" y="417"/>
                    </a:cubicBezTo>
                    <a:cubicBezTo>
                      <a:pt x="384" y="410"/>
                      <a:pt x="385" y="403"/>
                      <a:pt x="387" y="397"/>
                    </a:cubicBezTo>
                    <a:cubicBezTo>
                      <a:pt x="387" y="394"/>
                      <a:pt x="387" y="394"/>
                      <a:pt x="387" y="394"/>
                    </a:cubicBezTo>
                    <a:cubicBezTo>
                      <a:pt x="387" y="386"/>
                      <a:pt x="389" y="379"/>
                      <a:pt x="391" y="371"/>
                    </a:cubicBezTo>
                    <a:cubicBezTo>
                      <a:pt x="391" y="370"/>
                      <a:pt x="391" y="370"/>
                      <a:pt x="391" y="369"/>
                    </a:cubicBezTo>
                    <a:cubicBezTo>
                      <a:pt x="393" y="361"/>
                      <a:pt x="394" y="354"/>
                      <a:pt x="395" y="345"/>
                    </a:cubicBezTo>
                    <a:cubicBezTo>
                      <a:pt x="395" y="345"/>
                      <a:pt x="395" y="345"/>
                      <a:pt x="395" y="344"/>
                    </a:cubicBezTo>
                    <a:cubicBezTo>
                      <a:pt x="397" y="338"/>
                      <a:pt x="398" y="331"/>
                      <a:pt x="400" y="325"/>
                    </a:cubicBezTo>
                    <a:cubicBezTo>
                      <a:pt x="391" y="330"/>
                      <a:pt x="381" y="334"/>
                      <a:pt x="370" y="334"/>
                    </a:cubicBezTo>
                    <a:cubicBezTo>
                      <a:pt x="367" y="334"/>
                      <a:pt x="364" y="333"/>
                      <a:pt x="362" y="333"/>
                    </a:cubicBezTo>
                    <a:close/>
                    <a:moveTo>
                      <a:pt x="1445" y="0"/>
                    </a:moveTo>
                    <a:cubicBezTo>
                      <a:pt x="583" y="0"/>
                      <a:pt x="583" y="0"/>
                      <a:pt x="583" y="0"/>
                    </a:cubicBezTo>
                    <a:cubicBezTo>
                      <a:pt x="580" y="0"/>
                      <a:pt x="577" y="1"/>
                      <a:pt x="575" y="2"/>
                    </a:cubicBezTo>
                    <a:cubicBezTo>
                      <a:pt x="519" y="11"/>
                      <a:pt x="468" y="61"/>
                      <a:pt x="426" y="143"/>
                    </a:cubicBezTo>
                    <a:cubicBezTo>
                      <a:pt x="428" y="149"/>
                      <a:pt x="429" y="155"/>
                      <a:pt x="429" y="161"/>
                    </a:cubicBezTo>
                    <a:cubicBezTo>
                      <a:pt x="429" y="226"/>
                      <a:pt x="429" y="226"/>
                      <a:pt x="429" y="226"/>
                    </a:cubicBezTo>
                    <a:cubicBezTo>
                      <a:pt x="431" y="220"/>
                      <a:pt x="433" y="214"/>
                      <a:pt x="435" y="208"/>
                    </a:cubicBezTo>
                    <a:cubicBezTo>
                      <a:pt x="437" y="204"/>
                      <a:pt x="438" y="202"/>
                      <a:pt x="439" y="198"/>
                    </a:cubicBezTo>
                    <a:cubicBezTo>
                      <a:pt x="439" y="197"/>
                      <a:pt x="439" y="197"/>
                      <a:pt x="440" y="196"/>
                    </a:cubicBezTo>
                    <a:cubicBezTo>
                      <a:pt x="441" y="194"/>
                      <a:pt x="442" y="191"/>
                      <a:pt x="443" y="189"/>
                    </a:cubicBezTo>
                    <a:cubicBezTo>
                      <a:pt x="444" y="187"/>
                      <a:pt x="445" y="186"/>
                      <a:pt x="445" y="185"/>
                    </a:cubicBezTo>
                    <a:cubicBezTo>
                      <a:pt x="446" y="183"/>
                      <a:pt x="446" y="181"/>
                      <a:pt x="447" y="180"/>
                    </a:cubicBezTo>
                    <a:cubicBezTo>
                      <a:pt x="447" y="178"/>
                      <a:pt x="448" y="177"/>
                      <a:pt x="449" y="174"/>
                    </a:cubicBezTo>
                    <a:cubicBezTo>
                      <a:pt x="450" y="173"/>
                      <a:pt x="451" y="172"/>
                      <a:pt x="451" y="171"/>
                    </a:cubicBezTo>
                    <a:cubicBezTo>
                      <a:pt x="452" y="169"/>
                      <a:pt x="453" y="168"/>
                      <a:pt x="454" y="166"/>
                    </a:cubicBezTo>
                    <a:cubicBezTo>
                      <a:pt x="455" y="165"/>
                      <a:pt x="455" y="164"/>
                      <a:pt x="455" y="162"/>
                    </a:cubicBezTo>
                    <a:cubicBezTo>
                      <a:pt x="456" y="161"/>
                      <a:pt x="457" y="160"/>
                      <a:pt x="457" y="158"/>
                    </a:cubicBezTo>
                    <a:cubicBezTo>
                      <a:pt x="458" y="157"/>
                      <a:pt x="459" y="155"/>
                      <a:pt x="459" y="154"/>
                    </a:cubicBezTo>
                    <a:cubicBezTo>
                      <a:pt x="460" y="152"/>
                      <a:pt x="461" y="151"/>
                      <a:pt x="462" y="150"/>
                    </a:cubicBezTo>
                    <a:cubicBezTo>
                      <a:pt x="463" y="149"/>
                      <a:pt x="463" y="147"/>
                      <a:pt x="463" y="146"/>
                    </a:cubicBezTo>
                    <a:cubicBezTo>
                      <a:pt x="464" y="145"/>
                      <a:pt x="465" y="143"/>
                      <a:pt x="465" y="143"/>
                    </a:cubicBezTo>
                    <a:cubicBezTo>
                      <a:pt x="466" y="141"/>
                      <a:pt x="467" y="140"/>
                      <a:pt x="468" y="138"/>
                    </a:cubicBezTo>
                    <a:cubicBezTo>
                      <a:pt x="469" y="137"/>
                      <a:pt x="469" y="136"/>
                      <a:pt x="470" y="135"/>
                    </a:cubicBezTo>
                    <a:cubicBezTo>
                      <a:pt x="471" y="134"/>
                      <a:pt x="472" y="133"/>
                      <a:pt x="472" y="131"/>
                    </a:cubicBezTo>
                    <a:cubicBezTo>
                      <a:pt x="472" y="130"/>
                      <a:pt x="473" y="129"/>
                      <a:pt x="473" y="129"/>
                    </a:cubicBezTo>
                    <a:cubicBezTo>
                      <a:pt x="474" y="127"/>
                      <a:pt x="476" y="125"/>
                      <a:pt x="477" y="124"/>
                    </a:cubicBezTo>
                    <a:cubicBezTo>
                      <a:pt x="477" y="123"/>
                      <a:pt x="477" y="123"/>
                      <a:pt x="478" y="122"/>
                    </a:cubicBezTo>
                    <a:cubicBezTo>
                      <a:pt x="479" y="120"/>
                      <a:pt x="480" y="118"/>
                      <a:pt x="481" y="116"/>
                    </a:cubicBezTo>
                    <a:cubicBezTo>
                      <a:pt x="510" y="72"/>
                      <a:pt x="542" y="45"/>
                      <a:pt x="575" y="37"/>
                    </a:cubicBezTo>
                    <a:cubicBezTo>
                      <a:pt x="576" y="37"/>
                      <a:pt x="578" y="37"/>
                      <a:pt x="579" y="36"/>
                    </a:cubicBezTo>
                    <a:cubicBezTo>
                      <a:pt x="580" y="36"/>
                      <a:pt x="580" y="36"/>
                      <a:pt x="581" y="36"/>
                    </a:cubicBezTo>
                    <a:cubicBezTo>
                      <a:pt x="582" y="36"/>
                      <a:pt x="583" y="35"/>
                      <a:pt x="585" y="35"/>
                    </a:cubicBezTo>
                    <a:cubicBezTo>
                      <a:pt x="586" y="34"/>
                      <a:pt x="587" y="34"/>
                      <a:pt x="589" y="34"/>
                    </a:cubicBezTo>
                    <a:cubicBezTo>
                      <a:pt x="595" y="34"/>
                      <a:pt x="595" y="34"/>
                      <a:pt x="595" y="34"/>
                    </a:cubicBezTo>
                    <a:cubicBezTo>
                      <a:pt x="1437" y="34"/>
                      <a:pt x="1445" y="34"/>
                      <a:pt x="1445" y="34"/>
                    </a:cubicBezTo>
                    <a:cubicBezTo>
                      <a:pt x="1451" y="34"/>
                      <a:pt x="1451" y="34"/>
                      <a:pt x="1451" y="34"/>
                    </a:cubicBezTo>
                    <a:cubicBezTo>
                      <a:pt x="1452" y="35"/>
                      <a:pt x="1453" y="35"/>
                      <a:pt x="1454" y="35"/>
                    </a:cubicBezTo>
                    <a:cubicBezTo>
                      <a:pt x="1456" y="35"/>
                      <a:pt x="1456" y="35"/>
                      <a:pt x="1456" y="35"/>
                    </a:cubicBezTo>
                    <a:cubicBezTo>
                      <a:pt x="1457" y="35"/>
                      <a:pt x="1459" y="36"/>
                      <a:pt x="1460" y="36"/>
                    </a:cubicBezTo>
                    <a:cubicBezTo>
                      <a:pt x="1461" y="36"/>
                      <a:pt x="1462" y="36"/>
                      <a:pt x="1462" y="36"/>
                    </a:cubicBezTo>
                    <a:cubicBezTo>
                      <a:pt x="1463" y="37"/>
                      <a:pt x="1464" y="37"/>
                      <a:pt x="1466" y="37"/>
                    </a:cubicBezTo>
                    <a:cubicBezTo>
                      <a:pt x="1467" y="37"/>
                      <a:pt x="1467" y="37"/>
                      <a:pt x="1468" y="37"/>
                    </a:cubicBezTo>
                    <a:cubicBezTo>
                      <a:pt x="1469" y="37"/>
                      <a:pt x="1471" y="38"/>
                      <a:pt x="1471" y="38"/>
                    </a:cubicBezTo>
                    <a:cubicBezTo>
                      <a:pt x="1472" y="38"/>
                      <a:pt x="1473" y="39"/>
                      <a:pt x="1473" y="39"/>
                    </a:cubicBezTo>
                    <a:cubicBezTo>
                      <a:pt x="1475" y="39"/>
                      <a:pt x="1476" y="40"/>
                      <a:pt x="1478" y="40"/>
                    </a:cubicBezTo>
                    <a:cubicBezTo>
                      <a:pt x="1478" y="41"/>
                      <a:pt x="1479" y="41"/>
                      <a:pt x="1479" y="41"/>
                    </a:cubicBezTo>
                    <a:cubicBezTo>
                      <a:pt x="1480" y="42"/>
                      <a:pt x="1481" y="42"/>
                      <a:pt x="1483" y="43"/>
                    </a:cubicBezTo>
                    <a:cubicBezTo>
                      <a:pt x="1484" y="43"/>
                      <a:pt x="1484" y="44"/>
                      <a:pt x="1485" y="44"/>
                    </a:cubicBezTo>
                    <a:cubicBezTo>
                      <a:pt x="1486" y="45"/>
                      <a:pt x="1488" y="45"/>
                      <a:pt x="1488" y="46"/>
                    </a:cubicBezTo>
                    <a:cubicBezTo>
                      <a:pt x="1489" y="46"/>
                      <a:pt x="1490" y="46"/>
                      <a:pt x="1491" y="46"/>
                    </a:cubicBezTo>
                    <a:cubicBezTo>
                      <a:pt x="1492" y="47"/>
                      <a:pt x="1493" y="48"/>
                      <a:pt x="1494" y="48"/>
                    </a:cubicBezTo>
                    <a:cubicBezTo>
                      <a:pt x="1495" y="49"/>
                      <a:pt x="1496" y="50"/>
                      <a:pt x="1496" y="50"/>
                    </a:cubicBezTo>
                    <a:cubicBezTo>
                      <a:pt x="1497" y="51"/>
                      <a:pt x="1498" y="51"/>
                      <a:pt x="1499" y="52"/>
                    </a:cubicBezTo>
                    <a:cubicBezTo>
                      <a:pt x="1500" y="53"/>
                      <a:pt x="1502" y="54"/>
                      <a:pt x="1504" y="55"/>
                    </a:cubicBezTo>
                    <a:cubicBezTo>
                      <a:pt x="1504" y="55"/>
                      <a:pt x="1504" y="55"/>
                      <a:pt x="1504" y="55"/>
                    </a:cubicBezTo>
                    <a:cubicBezTo>
                      <a:pt x="1506" y="56"/>
                      <a:pt x="1508" y="58"/>
                      <a:pt x="1510" y="60"/>
                    </a:cubicBezTo>
                    <a:cubicBezTo>
                      <a:pt x="1511" y="60"/>
                      <a:pt x="1512" y="61"/>
                      <a:pt x="1513" y="62"/>
                    </a:cubicBezTo>
                    <a:cubicBezTo>
                      <a:pt x="1513" y="63"/>
                      <a:pt x="1513" y="63"/>
                      <a:pt x="1514" y="63"/>
                    </a:cubicBezTo>
                    <a:cubicBezTo>
                      <a:pt x="1543" y="89"/>
                      <a:pt x="1570" y="128"/>
                      <a:pt x="1592" y="179"/>
                    </a:cubicBezTo>
                    <a:cubicBezTo>
                      <a:pt x="1593" y="180"/>
                      <a:pt x="1593" y="181"/>
                      <a:pt x="1594" y="182"/>
                    </a:cubicBezTo>
                    <a:cubicBezTo>
                      <a:pt x="1595" y="184"/>
                      <a:pt x="1596" y="186"/>
                      <a:pt x="1596" y="187"/>
                    </a:cubicBezTo>
                    <a:cubicBezTo>
                      <a:pt x="1598" y="190"/>
                      <a:pt x="1599" y="194"/>
                      <a:pt x="1600" y="197"/>
                    </a:cubicBezTo>
                    <a:cubicBezTo>
                      <a:pt x="1601" y="200"/>
                      <a:pt x="1602" y="203"/>
                      <a:pt x="1604" y="205"/>
                    </a:cubicBezTo>
                    <a:cubicBezTo>
                      <a:pt x="1604" y="206"/>
                      <a:pt x="1604" y="206"/>
                      <a:pt x="1604" y="206"/>
                    </a:cubicBezTo>
                    <a:cubicBezTo>
                      <a:pt x="1606" y="210"/>
                      <a:pt x="1607" y="213"/>
                      <a:pt x="1607" y="216"/>
                    </a:cubicBezTo>
                    <a:cubicBezTo>
                      <a:pt x="1608" y="217"/>
                      <a:pt x="1608" y="217"/>
                      <a:pt x="1608" y="217"/>
                    </a:cubicBezTo>
                    <a:cubicBezTo>
                      <a:pt x="1646" y="318"/>
                      <a:pt x="1669" y="453"/>
                      <a:pt x="1671" y="600"/>
                    </a:cubicBezTo>
                    <a:cubicBezTo>
                      <a:pt x="1671" y="628"/>
                      <a:pt x="1671" y="628"/>
                      <a:pt x="1671" y="628"/>
                    </a:cubicBezTo>
                    <a:cubicBezTo>
                      <a:pt x="1669" y="775"/>
                      <a:pt x="1646" y="909"/>
                      <a:pt x="1608" y="1011"/>
                    </a:cubicBezTo>
                    <a:cubicBezTo>
                      <a:pt x="1608" y="1011"/>
                      <a:pt x="1608" y="1011"/>
                      <a:pt x="1607" y="1012"/>
                    </a:cubicBezTo>
                    <a:cubicBezTo>
                      <a:pt x="1607" y="1014"/>
                      <a:pt x="1606" y="1018"/>
                      <a:pt x="1604" y="1022"/>
                    </a:cubicBezTo>
                    <a:cubicBezTo>
                      <a:pt x="1604" y="1022"/>
                      <a:pt x="1604" y="1022"/>
                      <a:pt x="1603" y="1023"/>
                    </a:cubicBezTo>
                    <a:cubicBezTo>
                      <a:pt x="1602" y="1026"/>
                      <a:pt x="1601" y="1028"/>
                      <a:pt x="1600" y="1031"/>
                    </a:cubicBezTo>
                    <a:cubicBezTo>
                      <a:pt x="1599" y="1034"/>
                      <a:pt x="1598" y="1038"/>
                      <a:pt x="1596" y="1040"/>
                    </a:cubicBezTo>
                    <a:cubicBezTo>
                      <a:pt x="1596" y="1042"/>
                      <a:pt x="1595" y="1044"/>
                      <a:pt x="1594" y="1046"/>
                    </a:cubicBezTo>
                    <a:cubicBezTo>
                      <a:pt x="1593" y="1047"/>
                      <a:pt x="1593" y="1048"/>
                      <a:pt x="1592" y="1049"/>
                    </a:cubicBezTo>
                    <a:cubicBezTo>
                      <a:pt x="1570" y="1100"/>
                      <a:pt x="1543" y="1139"/>
                      <a:pt x="1514" y="1164"/>
                    </a:cubicBezTo>
                    <a:cubicBezTo>
                      <a:pt x="1513" y="1165"/>
                      <a:pt x="1513" y="1165"/>
                      <a:pt x="1513" y="1166"/>
                    </a:cubicBezTo>
                    <a:cubicBezTo>
                      <a:pt x="1512" y="1167"/>
                      <a:pt x="1511" y="1168"/>
                      <a:pt x="1510" y="1168"/>
                    </a:cubicBezTo>
                    <a:cubicBezTo>
                      <a:pt x="1508" y="1170"/>
                      <a:pt x="1506" y="1172"/>
                      <a:pt x="1504" y="1172"/>
                    </a:cubicBezTo>
                    <a:cubicBezTo>
                      <a:pt x="1504" y="1173"/>
                      <a:pt x="1504" y="1173"/>
                      <a:pt x="1504" y="1173"/>
                    </a:cubicBezTo>
                    <a:cubicBezTo>
                      <a:pt x="1502" y="1174"/>
                      <a:pt x="1500" y="1175"/>
                      <a:pt x="1499" y="1176"/>
                    </a:cubicBezTo>
                    <a:cubicBezTo>
                      <a:pt x="1498" y="1177"/>
                      <a:pt x="1497" y="1177"/>
                      <a:pt x="1496" y="1178"/>
                    </a:cubicBezTo>
                    <a:cubicBezTo>
                      <a:pt x="1496" y="1178"/>
                      <a:pt x="1495" y="1179"/>
                      <a:pt x="1494" y="1180"/>
                    </a:cubicBezTo>
                    <a:cubicBezTo>
                      <a:pt x="1493" y="1180"/>
                      <a:pt x="1492" y="1181"/>
                      <a:pt x="1491" y="1181"/>
                    </a:cubicBezTo>
                    <a:cubicBezTo>
                      <a:pt x="1490" y="1181"/>
                      <a:pt x="1489" y="1182"/>
                      <a:pt x="1488" y="1182"/>
                    </a:cubicBezTo>
                    <a:cubicBezTo>
                      <a:pt x="1488" y="1183"/>
                      <a:pt x="1486" y="1183"/>
                      <a:pt x="1485" y="1184"/>
                    </a:cubicBezTo>
                    <a:cubicBezTo>
                      <a:pt x="1484" y="1184"/>
                      <a:pt x="1484" y="1185"/>
                      <a:pt x="1483" y="1185"/>
                    </a:cubicBezTo>
                    <a:cubicBezTo>
                      <a:pt x="1481" y="1186"/>
                      <a:pt x="1480" y="1186"/>
                      <a:pt x="1479" y="1187"/>
                    </a:cubicBezTo>
                    <a:cubicBezTo>
                      <a:pt x="1479" y="1187"/>
                      <a:pt x="1478" y="1187"/>
                      <a:pt x="1478" y="1188"/>
                    </a:cubicBezTo>
                    <a:cubicBezTo>
                      <a:pt x="1476" y="1188"/>
                      <a:pt x="1475" y="1189"/>
                      <a:pt x="1473" y="1189"/>
                    </a:cubicBezTo>
                    <a:cubicBezTo>
                      <a:pt x="1473" y="1189"/>
                      <a:pt x="1472" y="1190"/>
                      <a:pt x="1471" y="1190"/>
                    </a:cubicBezTo>
                    <a:cubicBezTo>
                      <a:pt x="1471" y="1190"/>
                      <a:pt x="1469" y="1190"/>
                      <a:pt x="1468" y="1190"/>
                    </a:cubicBezTo>
                    <a:cubicBezTo>
                      <a:pt x="1467" y="1190"/>
                      <a:pt x="1467" y="1191"/>
                      <a:pt x="1466" y="1191"/>
                    </a:cubicBezTo>
                    <a:cubicBezTo>
                      <a:pt x="1464" y="1191"/>
                      <a:pt x="1463" y="1191"/>
                      <a:pt x="1462" y="1192"/>
                    </a:cubicBezTo>
                    <a:cubicBezTo>
                      <a:pt x="1462" y="1192"/>
                      <a:pt x="1461" y="1192"/>
                      <a:pt x="1460" y="1192"/>
                    </a:cubicBezTo>
                    <a:cubicBezTo>
                      <a:pt x="1459" y="1192"/>
                      <a:pt x="1457" y="1193"/>
                      <a:pt x="1456" y="1193"/>
                    </a:cubicBezTo>
                    <a:cubicBezTo>
                      <a:pt x="1454" y="1193"/>
                      <a:pt x="1454" y="1193"/>
                      <a:pt x="1454" y="1193"/>
                    </a:cubicBezTo>
                    <a:cubicBezTo>
                      <a:pt x="1453" y="1193"/>
                      <a:pt x="1452" y="1193"/>
                      <a:pt x="1451" y="1194"/>
                    </a:cubicBezTo>
                    <a:cubicBezTo>
                      <a:pt x="1445" y="1194"/>
                      <a:pt x="1445" y="1194"/>
                      <a:pt x="1445" y="1194"/>
                    </a:cubicBezTo>
                    <a:cubicBezTo>
                      <a:pt x="1444" y="1194"/>
                      <a:pt x="1444" y="1194"/>
                      <a:pt x="1443" y="1194"/>
                    </a:cubicBezTo>
                    <a:cubicBezTo>
                      <a:pt x="1442" y="1194"/>
                      <a:pt x="1442" y="1194"/>
                      <a:pt x="1442" y="1194"/>
                    </a:cubicBezTo>
                    <a:cubicBezTo>
                      <a:pt x="1441" y="1194"/>
                      <a:pt x="1441" y="1194"/>
                      <a:pt x="1441" y="1194"/>
                    </a:cubicBezTo>
                    <a:cubicBezTo>
                      <a:pt x="1437" y="1194"/>
                      <a:pt x="1437" y="1194"/>
                      <a:pt x="1437" y="1194"/>
                    </a:cubicBezTo>
                    <a:cubicBezTo>
                      <a:pt x="1434" y="1193"/>
                      <a:pt x="1434" y="1193"/>
                      <a:pt x="1434" y="1193"/>
                    </a:cubicBezTo>
                    <a:cubicBezTo>
                      <a:pt x="607" y="1193"/>
                      <a:pt x="607" y="1193"/>
                      <a:pt x="607" y="1193"/>
                    </a:cubicBezTo>
                    <a:cubicBezTo>
                      <a:pt x="604" y="1194"/>
                      <a:pt x="604" y="1194"/>
                      <a:pt x="604" y="1194"/>
                    </a:cubicBezTo>
                    <a:cubicBezTo>
                      <a:pt x="600" y="1194"/>
                      <a:pt x="600" y="1194"/>
                      <a:pt x="600" y="1194"/>
                    </a:cubicBezTo>
                    <a:cubicBezTo>
                      <a:pt x="599" y="1194"/>
                      <a:pt x="599" y="1194"/>
                      <a:pt x="599" y="1194"/>
                    </a:cubicBezTo>
                    <a:cubicBezTo>
                      <a:pt x="599" y="1194"/>
                      <a:pt x="599" y="1194"/>
                      <a:pt x="598" y="1194"/>
                    </a:cubicBezTo>
                    <a:cubicBezTo>
                      <a:pt x="597" y="1194"/>
                      <a:pt x="597" y="1194"/>
                      <a:pt x="596" y="1194"/>
                    </a:cubicBezTo>
                    <a:cubicBezTo>
                      <a:pt x="590" y="1194"/>
                      <a:pt x="590" y="1194"/>
                      <a:pt x="590" y="1194"/>
                    </a:cubicBezTo>
                    <a:cubicBezTo>
                      <a:pt x="589" y="1193"/>
                      <a:pt x="588" y="1193"/>
                      <a:pt x="587" y="1193"/>
                    </a:cubicBezTo>
                    <a:cubicBezTo>
                      <a:pt x="584" y="1193"/>
                      <a:pt x="584" y="1193"/>
                      <a:pt x="584" y="1193"/>
                    </a:cubicBezTo>
                    <a:cubicBezTo>
                      <a:pt x="583" y="1193"/>
                      <a:pt x="582" y="1192"/>
                      <a:pt x="581" y="1192"/>
                    </a:cubicBezTo>
                    <a:cubicBezTo>
                      <a:pt x="580" y="1192"/>
                      <a:pt x="579" y="1192"/>
                      <a:pt x="579" y="1192"/>
                    </a:cubicBezTo>
                    <a:cubicBezTo>
                      <a:pt x="577" y="1191"/>
                      <a:pt x="576" y="1191"/>
                      <a:pt x="574" y="1191"/>
                    </a:cubicBezTo>
                    <a:cubicBezTo>
                      <a:pt x="574" y="1191"/>
                      <a:pt x="574" y="1190"/>
                      <a:pt x="573" y="1190"/>
                    </a:cubicBezTo>
                    <a:cubicBezTo>
                      <a:pt x="572" y="1190"/>
                      <a:pt x="570" y="1190"/>
                      <a:pt x="569" y="1190"/>
                    </a:cubicBezTo>
                    <a:cubicBezTo>
                      <a:pt x="568" y="1190"/>
                      <a:pt x="567" y="1189"/>
                      <a:pt x="567" y="1189"/>
                    </a:cubicBezTo>
                    <a:cubicBezTo>
                      <a:pt x="566" y="1189"/>
                      <a:pt x="565" y="1188"/>
                      <a:pt x="563" y="1188"/>
                    </a:cubicBezTo>
                    <a:cubicBezTo>
                      <a:pt x="563" y="1187"/>
                      <a:pt x="562" y="1187"/>
                      <a:pt x="561" y="1187"/>
                    </a:cubicBezTo>
                    <a:cubicBezTo>
                      <a:pt x="560" y="1186"/>
                      <a:pt x="559" y="1186"/>
                      <a:pt x="557" y="1185"/>
                    </a:cubicBezTo>
                    <a:cubicBezTo>
                      <a:pt x="557" y="1185"/>
                      <a:pt x="557" y="1184"/>
                      <a:pt x="556" y="1184"/>
                    </a:cubicBezTo>
                    <a:cubicBezTo>
                      <a:pt x="555" y="1183"/>
                      <a:pt x="553" y="1183"/>
                      <a:pt x="552" y="1182"/>
                    </a:cubicBezTo>
                    <a:cubicBezTo>
                      <a:pt x="551" y="1182"/>
                      <a:pt x="550" y="1181"/>
                      <a:pt x="549" y="1181"/>
                    </a:cubicBezTo>
                    <a:cubicBezTo>
                      <a:pt x="549" y="1181"/>
                      <a:pt x="548" y="1180"/>
                      <a:pt x="547" y="1180"/>
                    </a:cubicBezTo>
                    <a:cubicBezTo>
                      <a:pt x="546" y="1179"/>
                      <a:pt x="545" y="1178"/>
                      <a:pt x="544" y="1178"/>
                    </a:cubicBezTo>
                    <a:cubicBezTo>
                      <a:pt x="543" y="1177"/>
                      <a:pt x="542" y="1177"/>
                      <a:pt x="541" y="1176"/>
                    </a:cubicBezTo>
                    <a:cubicBezTo>
                      <a:pt x="540" y="1175"/>
                      <a:pt x="539" y="1174"/>
                      <a:pt x="537" y="1173"/>
                    </a:cubicBezTo>
                    <a:cubicBezTo>
                      <a:pt x="537" y="1173"/>
                      <a:pt x="537" y="1172"/>
                      <a:pt x="536" y="1172"/>
                    </a:cubicBezTo>
                    <a:cubicBezTo>
                      <a:pt x="534" y="1172"/>
                      <a:pt x="532" y="1170"/>
                      <a:pt x="531" y="1168"/>
                    </a:cubicBezTo>
                    <a:cubicBezTo>
                      <a:pt x="530" y="1168"/>
                      <a:pt x="529" y="1167"/>
                      <a:pt x="528" y="1166"/>
                    </a:cubicBezTo>
                    <a:cubicBezTo>
                      <a:pt x="528" y="1165"/>
                      <a:pt x="527" y="1165"/>
                      <a:pt x="526" y="1164"/>
                    </a:cubicBezTo>
                    <a:cubicBezTo>
                      <a:pt x="504" y="1145"/>
                      <a:pt x="483" y="1118"/>
                      <a:pt x="465" y="1083"/>
                    </a:cubicBezTo>
                    <a:cubicBezTo>
                      <a:pt x="458" y="1093"/>
                      <a:pt x="449" y="1102"/>
                      <a:pt x="439" y="1109"/>
                    </a:cubicBezTo>
                    <a:cubicBezTo>
                      <a:pt x="482" y="1184"/>
                      <a:pt x="537" y="1228"/>
                      <a:pt x="596" y="1228"/>
                    </a:cubicBezTo>
                    <a:cubicBezTo>
                      <a:pt x="600" y="1228"/>
                      <a:pt x="606" y="1228"/>
                      <a:pt x="610" y="1227"/>
                    </a:cubicBezTo>
                    <a:cubicBezTo>
                      <a:pt x="1430" y="1227"/>
                      <a:pt x="1430" y="1227"/>
                      <a:pt x="1430" y="1227"/>
                    </a:cubicBezTo>
                    <a:cubicBezTo>
                      <a:pt x="1435" y="1228"/>
                      <a:pt x="1440" y="1228"/>
                      <a:pt x="1445" y="1228"/>
                    </a:cubicBezTo>
                    <a:cubicBezTo>
                      <a:pt x="1591" y="1228"/>
                      <a:pt x="1707" y="959"/>
                      <a:pt x="1707" y="614"/>
                    </a:cubicBezTo>
                    <a:cubicBezTo>
                      <a:pt x="1707" y="269"/>
                      <a:pt x="1591" y="0"/>
                      <a:pt x="1445" y="0"/>
                    </a:cubicBezTo>
                    <a:close/>
                    <a:moveTo>
                      <a:pt x="444" y="319"/>
                    </a:moveTo>
                    <a:cubicBezTo>
                      <a:pt x="437" y="346"/>
                      <a:pt x="432" y="375"/>
                      <a:pt x="427" y="405"/>
                    </a:cubicBezTo>
                    <a:cubicBezTo>
                      <a:pt x="451" y="423"/>
                      <a:pt x="451" y="423"/>
                      <a:pt x="451" y="423"/>
                    </a:cubicBezTo>
                    <a:cubicBezTo>
                      <a:pt x="458" y="422"/>
                      <a:pt x="465" y="422"/>
                      <a:pt x="471" y="422"/>
                    </a:cubicBezTo>
                    <a:cubicBezTo>
                      <a:pt x="477" y="422"/>
                      <a:pt x="483" y="422"/>
                      <a:pt x="489" y="423"/>
                    </a:cubicBezTo>
                    <a:cubicBezTo>
                      <a:pt x="516" y="403"/>
                      <a:pt x="516" y="403"/>
                      <a:pt x="516" y="403"/>
                    </a:cubicBezTo>
                    <a:cubicBezTo>
                      <a:pt x="535" y="409"/>
                      <a:pt x="535" y="409"/>
                      <a:pt x="535" y="409"/>
                    </a:cubicBezTo>
                    <a:cubicBezTo>
                      <a:pt x="564" y="418"/>
                      <a:pt x="593" y="435"/>
                      <a:pt x="616" y="456"/>
                    </a:cubicBezTo>
                    <a:cubicBezTo>
                      <a:pt x="630" y="470"/>
                      <a:pt x="630" y="470"/>
                      <a:pt x="630" y="470"/>
                    </a:cubicBezTo>
                    <a:cubicBezTo>
                      <a:pt x="627" y="502"/>
                      <a:pt x="627" y="502"/>
                      <a:pt x="627" y="502"/>
                    </a:cubicBezTo>
                    <a:cubicBezTo>
                      <a:pt x="631" y="509"/>
                      <a:pt x="635" y="515"/>
                      <a:pt x="639" y="522"/>
                    </a:cubicBezTo>
                    <a:cubicBezTo>
                      <a:pt x="643" y="528"/>
                      <a:pt x="646" y="534"/>
                      <a:pt x="648" y="540"/>
                    </a:cubicBezTo>
                    <a:cubicBezTo>
                      <a:pt x="679" y="555"/>
                      <a:pt x="679" y="555"/>
                      <a:pt x="679" y="555"/>
                    </a:cubicBezTo>
                    <a:cubicBezTo>
                      <a:pt x="683" y="573"/>
                      <a:pt x="683" y="573"/>
                      <a:pt x="683" y="573"/>
                    </a:cubicBezTo>
                    <a:cubicBezTo>
                      <a:pt x="689" y="602"/>
                      <a:pt x="690" y="633"/>
                      <a:pt x="684" y="664"/>
                    </a:cubicBezTo>
                    <a:cubicBezTo>
                      <a:pt x="680" y="684"/>
                      <a:pt x="680" y="684"/>
                      <a:pt x="680" y="684"/>
                    </a:cubicBezTo>
                    <a:cubicBezTo>
                      <a:pt x="649" y="698"/>
                      <a:pt x="649" y="698"/>
                      <a:pt x="649" y="698"/>
                    </a:cubicBezTo>
                    <a:cubicBezTo>
                      <a:pt x="643" y="712"/>
                      <a:pt x="636" y="725"/>
                      <a:pt x="627" y="737"/>
                    </a:cubicBezTo>
                    <a:cubicBezTo>
                      <a:pt x="631" y="772"/>
                      <a:pt x="631" y="772"/>
                      <a:pt x="631" y="772"/>
                    </a:cubicBezTo>
                    <a:cubicBezTo>
                      <a:pt x="615" y="786"/>
                      <a:pt x="615" y="786"/>
                      <a:pt x="615" y="786"/>
                    </a:cubicBezTo>
                    <a:cubicBezTo>
                      <a:pt x="604" y="794"/>
                      <a:pt x="593" y="804"/>
                      <a:pt x="579" y="812"/>
                    </a:cubicBezTo>
                    <a:cubicBezTo>
                      <a:pt x="578" y="812"/>
                      <a:pt x="578" y="812"/>
                      <a:pt x="578" y="812"/>
                    </a:cubicBezTo>
                    <a:cubicBezTo>
                      <a:pt x="577" y="813"/>
                      <a:pt x="577" y="813"/>
                      <a:pt x="577" y="813"/>
                    </a:cubicBezTo>
                    <a:cubicBezTo>
                      <a:pt x="563" y="820"/>
                      <a:pt x="551" y="826"/>
                      <a:pt x="540" y="829"/>
                    </a:cubicBezTo>
                    <a:cubicBezTo>
                      <a:pt x="521" y="836"/>
                      <a:pt x="521" y="836"/>
                      <a:pt x="521" y="836"/>
                    </a:cubicBezTo>
                    <a:cubicBezTo>
                      <a:pt x="492" y="816"/>
                      <a:pt x="492" y="816"/>
                      <a:pt x="492" y="816"/>
                    </a:cubicBezTo>
                    <a:cubicBezTo>
                      <a:pt x="485" y="817"/>
                      <a:pt x="478" y="817"/>
                      <a:pt x="471" y="817"/>
                    </a:cubicBezTo>
                    <a:cubicBezTo>
                      <a:pt x="463" y="817"/>
                      <a:pt x="455" y="817"/>
                      <a:pt x="447" y="816"/>
                    </a:cubicBezTo>
                    <a:cubicBezTo>
                      <a:pt x="428" y="829"/>
                      <a:pt x="428" y="829"/>
                      <a:pt x="428" y="829"/>
                    </a:cubicBezTo>
                    <a:cubicBezTo>
                      <a:pt x="433" y="862"/>
                      <a:pt x="439" y="894"/>
                      <a:pt x="447" y="923"/>
                    </a:cubicBezTo>
                    <a:cubicBezTo>
                      <a:pt x="472" y="945"/>
                      <a:pt x="488" y="977"/>
                      <a:pt x="488" y="1013"/>
                    </a:cubicBezTo>
                    <a:cubicBezTo>
                      <a:pt x="488" y="1021"/>
                      <a:pt x="487" y="1029"/>
                      <a:pt x="486" y="1036"/>
                    </a:cubicBezTo>
                    <a:cubicBezTo>
                      <a:pt x="518" y="1107"/>
                      <a:pt x="559" y="1151"/>
                      <a:pt x="604" y="1154"/>
                    </a:cubicBezTo>
                    <a:cubicBezTo>
                      <a:pt x="615" y="1154"/>
                      <a:pt x="615" y="1154"/>
                      <a:pt x="615" y="1154"/>
                    </a:cubicBezTo>
                    <a:cubicBezTo>
                      <a:pt x="721" y="1146"/>
                      <a:pt x="808" y="907"/>
                      <a:pt x="808" y="614"/>
                    </a:cubicBezTo>
                    <a:cubicBezTo>
                      <a:pt x="808" y="317"/>
                      <a:pt x="718" y="76"/>
                      <a:pt x="609" y="76"/>
                    </a:cubicBezTo>
                    <a:cubicBezTo>
                      <a:pt x="562" y="76"/>
                      <a:pt x="519" y="121"/>
                      <a:pt x="485" y="196"/>
                    </a:cubicBezTo>
                    <a:moveTo>
                      <a:pt x="345" y="800"/>
                    </a:moveTo>
                    <a:cubicBezTo>
                      <a:pt x="350" y="833"/>
                      <a:pt x="355" y="864"/>
                      <a:pt x="362" y="894"/>
                    </a:cubicBezTo>
                    <a:cubicBezTo>
                      <a:pt x="364" y="894"/>
                      <a:pt x="367" y="894"/>
                      <a:pt x="370" y="894"/>
                    </a:cubicBezTo>
                    <a:cubicBezTo>
                      <a:pt x="380" y="894"/>
                      <a:pt x="390" y="896"/>
                      <a:pt x="400" y="898"/>
                    </a:cubicBezTo>
                    <a:cubicBezTo>
                      <a:pt x="394" y="874"/>
                      <a:pt x="389" y="849"/>
                      <a:pt x="385" y="823"/>
                    </a:cubicBezTo>
                    <a:cubicBezTo>
                      <a:pt x="371" y="816"/>
                      <a:pt x="358" y="809"/>
                      <a:pt x="345" y="800"/>
                    </a:cubicBezTo>
                    <a:close/>
                    <a:moveTo>
                      <a:pt x="226" y="1016"/>
                    </a:moveTo>
                    <a:cubicBezTo>
                      <a:pt x="215" y="1016"/>
                      <a:pt x="206" y="1025"/>
                      <a:pt x="206" y="1036"/>
                    </a:cubicBezTo>
                    <a:cubicBezTo>
                      <a:pt x="206" y="1149"/>
                      <a:pt x="206" y="1149"/>
                      <a:pt x="206" y="1149"/>
                    </a:cubicBezTo>
                    <a:cubicBezTo>
                      <a:pt x="206" y="1160"/>
                      <a:pt x="215" y="1169"/>
                      <a:pt x="226" y="1169"/>
                    </a:cubicBezTo>
                    <a:cubicBezTo>
                      <a:pt x="237" y="1169"/>
                      <a:pt x="245" y="1160"/>
                      <a:pt x="245" y="1149"/>
                    </a:cubicBezTo>
                    <a:cubicBezTo>
                      <a:pt x="245" y="1036"/>
                      <a:pt x="245" y="1036"/>
                      <a:pt x="245" y="1036"/>
                    </a:cubicBezTo>
                    <a:cubicBezTo>
                      <a:pt x="245" y="1025"/>
                      <a:pt x="237" y="1016"/>
                      <a:pt x="226" y="1016"/>
                    </a:cubicBezTo>
                    <a:close/>
                    <a:moveTo>
                      <a:pt x="79" y="793"/>
                    </a:moveTo>
                    <a:cubicBezTo>
                      <a:pt x="68" y="793"/>
                      <a:pt x="59" y="801"/>
                      <a:pt x="59" y="812"/>
                    </a:cubicBezTo>
                    <a:cubicBezTo>
                      <a:pt x="59" y="926"/>
                      <a:pt x="59" y="926"/>
                      <a:pt x="59" y="926"/>
                    </a:cubicBezTo>
                    <a:cubicBezTo>
                      <a:pt x="59" y="936"/>
                      <a:pt x="68" y="945"/>
                      <a:pt x="79" y="945"/>
                    </a:cubicBezTo>
                    <a:cubicBezTo>
                      <a:pt x="90" y="945"/>
                      <a:pt x="98" y="936"/>
                      <a:pt x="98" y="926"/>
                    </a:cubicBezTo>
                    <a:cubicBezTo>
                      <a:pt x="98" y="812"/>
                      <a:pt x="98" y="812"/>
                      <a:pt x="98" y="812"/>
                    </a:cubicBezTo>
                    <a:cubicBezTo>
                      <a:pt x="98" y="801"/>
                      <a:pt x="90" y="793"/>
                      <a:pt x="79" y="793"/>
                    </a:cubicBezTo>
                    <a:close/>
                    <a:moveTo>
                      <a:pt x="79" y="291"/>
                    </a:moveTo>
                    <a:cubicBezTo>
                      <a:pt x="35" y="291"/>
                      <a:pt x="0" y="327"/>
                      <a:pt x="0" y="370"/>
                    </a:cubicBezTo>
                    <a:cubicBezTo>
                      <a:pt x="0" y="414"/>
                      <a:pt x="35" y="449"/>
                      <a:pt x="79" y="449"/>
                    </a:cubicBezTo>
                    <a:cubicBezTo>
                      <a:pt x="122" y="449"/>
                      <a:pt x="158" y="414"/>
                      <a:pt x="158" y="370"/>
                    </a:cubicBezTo>
                    <a:cubicBezTo>
                      <a:pt x="158" y="327"/>
                      <a:pt x="122" y="291"/>
                      <a:pt x="79" y="291"/>
                    </a:cubicBezTo>
                    <a:close/>
                    <a:moveTo>
                      <a:pt x="79" y="410"/>
                    </a:moveTo>
                    <a:cubicBezTo>
                      <a:pt x="57" y="410"/>
                      <a:pt x="39" y="392"/>
                      <a:pt x="39" y="370"/>
                    </a:cubicBezTo>
                    <a:cubicBezTo>
                      <a:pt x="39" y="349"/>
                      <a:pt x="57" y="331"/>
                      <a:pt x="79" y="331"/>
                    </a:cubicBezTo>
                    <a:cubicBezTo>
                      <a:pt x="101" y="331"/>
                      <a:pt x="118" y="349"/>
                      <a:pt x="118" y="370"/>
                    </a:cubicBezTo>
                    <a:cubicBezTo>
                      <a:pt x="118" y="392"/>
                      <a:pt x="101" y="410"/>
                      <a:pt x="79" y="410"/>
                    </a:cubicBezTo>
                    <a:close/>
                    <a:moveTo>
                      <a:pt x="226" y="67"/>
                    </a:moveTo>
                    <a:cubicBezTo>
                      <a:pt x="182" y="67"/>
                      <a:pt x="147" y="103"/>
                      <a:pt x="147" y="146"/>
                    </a:cubicBezTo>
                    <a:cubicBezTo>
                      <a:pt x="147" y="190"/>
                      <a:pt x="182" y="225"/>
                      <a:pt x="226" y="225"/>
                    </a:cubicBezTo>
                    <a:cubicBezTo>
                      <a:pt x="269" y="225"/>
                      <a:pt x="305" y="190"/>
                      <a:pt x="305" y="146"/>
                    </a:cubicBezTo>
                    <a:cubicBezTo>
                      <a:pt x="305" y="103"/>
                      <a:pt x="269" y="67"/>
                      <a:pt x="226" y="67"/>
                    </a:cubicBezTo>
                    <a:close/>
                    <a:moveTo>
                      <a:pt x="226" y="186"/>
                    </a:moveTo>
                    <a:cubicBezTo>
                      <a:pt x="204" y="186"/>
                      <a:pt x="186" y="168"/>
                      <a:pt x="186" y="146"/>
                    </a:cubicBezTo>
                    <a:cubicBezTo>
                      <a:pt x="186" y="125"/>
                      <a:pt x="204" y="107"/>
                      <a:pt x="226" y="107"/>
                    </a:cubicBezTo>
                    <a:cubicBezTo>
                      <a:pt x="248" y="107"/>
                      <a:pt x="265" y="125"/>
                      <a:pt x="265" y="146"/>
                    </a:cubicBezTo>
                    <a:cubicBezTo>
                      <a:pt x="265" y="168"/>
                      <a:pt x="248" y="186"/>
                      <a:pt x="226" y="186"/>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sp>
            <p:nvSpPr>
              <p:cNvPr id="28" name="Freeform 71">
                <a:extLst>
                  <a:ext uri="{FF2B5EF4-FFF2-40B4-BE49-F238E27FC236}">
                    <a16:creationId xmlns:a16="http://schemas.microsoft.com/office/drawing/2014/main" id="{754B8C51-B9BA-E7B1-2F4E-C1221A14D863}"/>
                  </a:ext>
                </a:extLst>
              </p:cNvPr>
              <p:cNvSpPr>
                <a:spLocks noEditPoints="1"/>
              </p:cNvSpPr>
              <p:nvPr/>
            </p:nvSpPr>
            <p:spPr bwMode="auto">
              <a:xfrm>
                <a:off x="1323199" y="2218790"/>
                <a:ext cx="1161955" cy="862417"/>
              </a:xfrm>
              <a:custGeom>
                <a:avLst/>
                <a:gdLst>
                  <a:gd name="T0" fmla="*/ 983 w 1623"/>
                  <a:gd name="T1" fmla="*/ 54 h 1205"/>
                  <a:gd name="T2" fmla="*/ 985 w 1623"/>
                  <a:gd name="T3" fmla="*/ 1134 h 1205"/>
                  <a:gd name="T4" fmla="*/ 1356 w 1623"/>
                  <a:gd name="T5" fmla="*/ 594 h 1205"/>
                  <a:gd name="T6" fmla="*/ 922 w 1623"/>
                  <a:gd name="T7" fmla="*/ 54 h 1205"/>
                  <a:gd name="T8" fmla="*/ 868 w 1623"/>
                  <a:gd name="T9" fmla="*/ 594 h 1205"/>
                  <a:gd name="T10" fmla="*/ 924 w 1623"/>
                  <a:gd name="T11" fmla="*/ 1134 h 1205"/>
                  <a:gd name="T12" fmla="*/ 922 w 1623"/>
                  <a:gd name="T13" fmla="*/ 54 h 1205"/>
                  <a:gd name="T14" fmla="*/ 1567 w 1623"/>
                  <a:gd name="T15" fmla="*/ 201 h 1205"/>
                  <a:gd name="T16" fmla="*/ 1260 w 1623"/>
                  <a:gd name="T17" fmla="*/ 54 h 1205"/>
                  <a:gd name="T18" fmla="*/ 1262 w 1623"/>
                  <a:gd name="T19" fmla="*/ 1133 h 1205"/>
                  <a:gd name="T20" fmla="*/ 1442 w 1623"/>
                  <a:gd name="T21" fmla="*/ 1134 h 1205"/>
                  <a:gd name="T22" fmla="*/ 1567 w 1623"/>
                  <a:gd name="T23" fmla="*/ 987 h 1205"/>
                  <a:gd name="T24" fmla="*/ 1623 w 1623"/>
                  <a:gd name="T25" fmla="*/ 593 h 1205"/>
                  <a:gd name="T26" fmla="*/ 226 w 1623"/>
                  <a:gd name="T27" fmla="*/ 491 h 1205"/>
                  <a:gd name="T28" fmla="*/ 245 w 1623"/>
                  <a:gd name="T29" fmla="*/ 358 h 1205"/>
                  <a:gd name="T30" fmla="*/ 206 w 1623"/>
                  <a:gd name="T31" fmla="*/ 358 h 1205"/>
                  <a:gd name="T32" fmla="*/ 226 w 1623"/>
                  <a:gd name="T33" fmla="*/ 491 h 1205"/>
                  <a:gd name="T34" fmla="*/ 389 w 1623"/>
                  <a:gd name="T35" fmla="*/ 255 h 1205"/>
                  <a:gd name="T36" fmla="*/ 370 w 1623"/>
                  <a:gd name="T37" fmla="*/ 123 h 1205"/>
                  <a:gd name="T38" fmla="*/ 350 w 1623"/>
                  <a:gd name="T39" fmla="*/ 255 h 1205"/>
                  <a:gd name="T40" fmla="*/ 79 w 1623"/>
                  <a:gd name="T41" fmla="*/ 153 h 1205"/>
                  <a:gd name="T42" fmla="*/ 98 w 1623"/>
                  <a:gd name="T43" fmla="*/ 20 h 1205"/>
                  <a:gd name="T44" fmla="*/ 59 w 1623"/>
                  <a:gd name="T45" fmla="*/ 20 h 1205"/>
                  <a:gd name="T46" fmla="*/ 79 w 1623"/>
                  <a:gd name="T47" fmla="*/ 153 h 1205"/>
                  <a:gd name="T48" fmla="*/ 147 w 1623"/>
                  <a:gd name="T49" fmla="*/ 787 h 1205"/>
                  <a:gd name="T50" fmla="*/ 305 w 1623"/>
                  <a:gd name="T51" fmla="*/ 787 h 1205"/>
                  <a:gd name="T52" fmla="*/ 226 w 1623"/>
                  <a:gd name="T53" fmla="*/ 827 h 1205"/>
                  <a:gd name="T54" fmla="*/ 226 w 1623"/>
                  <a:gd name="T55" fmla="*/ 748 h 1205"/>
                  <a:gd name="T56" fmla="*/ 226 w 1623"/>
                  <a:gd name="T57" fmla="*/ 827 h 1205"/>
                  <a:gd name="T58" fmla="*/ 291 w 1623"/>
                  <a:gd name="T59" fmla="*/ 994 h 1205"/>
                  <a:gd name="T60" fmla="*/ 449 w 1623"/>
                  <a:gd name="T61" fmla="*/ 994 h 1205"/>
                  <a:gd name="T62" fmla="*/ 370 w 1623"/>
                  <a:gd name="T63" fmla="*/ 1033 h 1205"/>
                  <a:gd name="T64" fmla="*/ 370 w 1623"/>
                  <a:gd name="T65" fmla="*/ 954 h 1205"/>
                  <a:gd name="T66" fmla="*/ 370 w 1623"/>
                  <a:gd name="T67" fmla="*/ 1033 h 1205"/>
                  <a:gd name="T68" fmla="*/ 0 w 1623"/>
                  <a:gd name="T69" fmla="*/ 1126 h 1205"/>
                  <a:gd name="T70" fmla="*/ 158 w 1623"/>
                  <a:gd name="T71" fmla="*/ 1126 h 1205"/>
                  <a:gd name="T72" fmla="*/ 79 w 1623"/>
                  <a:gd name="T73" fmla="*/ 1165 h 1205"/>
                  <a:gd name="T74" fmla="*/ 79 w 1623"/>
                  <a:gd name="T75" fmla="*/ 1086 h 1205"/>
                  <a:gd name="T76" fmla="*/ 79 w 1623"/>
                  <a:gd name="T77" fmla="*/ 1165 h 1205"/>
                  <a:gd name="T78" fmla="*/ 605 w 1623"/>
                  <a:gd name="T79" fmla="*/ 523 h 1205"/>
                  <a:gd name="T80" fmla="*/ 589 w 1623"/>
                  <a:gd name="T81" fmla="*/ 466 h 1205"/>
                  <a:gd name="T82" fmla="*/ 499 w 1623"/>
                  <a:gd name="T83" fmla="*/ 445 h 1205"/>
                  <a:gd name="T84" fmla="*/ 417 w 1623"/>
                  <a:gd name="T85" fmla="*/ 427 h 1205"/>
                  <a:gd name="T86" fmla="*/ 351 w 1623"/>
                  <a:gd name="T87" fmla="*/ 466 h 1205"/>
                  <a:gd name="T88" fmla="*/ 324 w 1623"/>
                  <a:gd name="T89" fmla="*/ 548 h 1205"/>
                  <a:gd name="T90" fmla="*/ 297 w 1623"/>
                  <a:gd name="T91" fmla="*/ 638 h 1205"/>
                  <a:gd name="T92" fmla="*/ 337 w 1623"/>
                  <a:gd name="T93" fmla="*/ 679 h 1205"/>
                  <a:gd name="T94" fmla="*/ 350 w 1623"/>
                  <a:gd name="T95" fmla="*/ 734 h 1205"/>
                  <a:gd name="T96" fmla="*/ 437 w 1623"/>
                  <a:gd name="T97" fmla="*/ 755 h 1205"/>
                  <a:gd name="T98" fmla="*/ 527 w 1623"/>
                  <a:gd name="T99" fmla="*/ 773 h 1205"/>
                  <a:gd name="T100" fmla="*/ 590 w 1623"/>
                  <a:gd name="T101" fmla="*/ 736 h 1205"/>
                  <a:gd name="T102" fmla="*/ 618 w 1623"/>
                  <a:gd name="T103" fmla="*/ 649 h 1205"/>
                  <a:gd name="T104" fmla="*/ 644 w 1623"/>
                  <a:gd name="T105" fmla="*/ 563 h 1205"/>
                  <a:gd name="T106" fmla="*/ 509 w 1623"/>
                  <a:gd name="T107" fmla="*/ 670 h 1205"/>
                  <a:gd name="T108" fmla="*/ 430 w 1623"/>
                  <a:gd name="T109" fmla="*/ 532 h 1205"/>
                  <a:gd name="T110" fmla="*/ 538 w 1623"/>
                  <a:gd name="T111" fmla="*/ 561 h 1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623" h="1205">
                    <a:moveTo>
                      <a:pt x="1197" y="54"/>
                    </a:moveTo>
                    <a:cubicBezTo>
                      <a:pt x="983" y="54"/>
                      <a:pt x="983" y="54"/>
                      <a:pt x="983" y="54"/>
                    </a:cubicBezTo>
                    <a:cubicBezTo>
                      <a:pt x="1078" y="93"/>
                      <a:pt x="1141" y="320"/>
                      <a:pt x="1141" y="594"/>
                    </a:cubicBezTo>
                    <a:cubicBezTo>
                      <a:pt x="1141" y="867"/>
                      <a:pt x="1079" y="1093"/>
                      <a:pt x="985" y="1134"/>
                    </a:cubicBezTo>
                    <a:cubicBezTo>
                      <a:pt x="1199" y="1134"/>
                      <a:pt x="1199" y="1134"/>
                      <a:pt x="1199" y="1134"/>
                    </a:cubicBezTo>
                    <a:cubicBezTo>
                      <a:pt x="1294" y="1093"/>
                      <a:pt x="1356" y="867"/>
                      <a:pt x="1356" y="594"/>
                    </a:cubicBezTo>
                    <a:cubicBezTo>
                      <a:pt x="1356" y="320"/>
                      <a:pt x="1293" y="93"/>
                      <a:pt x="1197" y="54"/>
                    </a:cubicBezTo>
                    <a:close/>
                    <a:moveTo>
                      <a:pt x="922" y="54"/>
                    </a:moveTo>
                    <a:cubicBezTo>
                      <a:pt x="714" y="54"/>
                      <a:pt x="714" y="54"/>
                      <a:pt x="714" y="54"/>
                    </a:cubicBezTo>
                    <a:cubicBezTo>
                      <a:pt x="806" y="93"/>
                      <a:pt x="868" y="320"/>
                      <a:pt x="868" y="594"/>
                    </a:cubicBezTo>
                    <a:cubicBezTo>
                      <a:pt x="868" y="867"/>
                      <a:pt x="807" y="1093"/>
                      <a:pt x="716" y="1134"/>
                    </a:cubicBezTo>
                    <a:cubicBezTo>
                      <a:pt x="924" y="1134"/>
                      <a:pt x="924" y="1134"/>
                      <a:pt x="924" y="1134"/>
                    </a:cubicBezTo>
                    <a:cubicBezTo>
                      <a:pt x="1016" y="1093"/>
                      <a:pt x="1077" y="867"/>
                      <a:pt x="1077" y="594"/>
                    </a:cubicBezTo>
                    <a:cubicBezTo>
                      <a:pt x="1077" y="320"/>
                      <a:pt x="1015" y="93"/>
                      <a:pt x="922" y="54"/>
                    </a:cubicBezTo>
                    <a:close/>
                    <a:moveTo>
                      <a:pt x="1584" y="250"/>
                    </a:moveTo>
                    <a:cubicBezTo>
                      <a:pt x="1579" y="233"/>
                      <a:pt x="1574" y="216"/>
                      <a:pt x="1567" y="201"/>
                    </a:cubicBezTo>
                    <a:cubicBezTo>
                      <a:pt x="1532" y="110"/>
                      <a:pt x="1485" y="54"/>
                      <a:pt x="1445" y="54"/>
                    </a:cubicBezTo>
                    <a:cubicBezTo>
                      <a:pt x="1260" y="54"/>
                      <a:pt x="1260" y="54"/>
                      <a:pt x="1260" y="54"/>
                    </a:cubicBezTo>
                    <a:cubicBezTo>
                      <a:pt x="1352" y="93"/>
                      <a:pt x="1414" y="320"/>
                      <a:pt x="1414" y="593"/>
                    </a:cubicBezTo>
                    <a:cubicBezTo>
                      <a:pt x="1414" y="866"/>
                      <a:pt x="1353" y="1092"/>
                      <a:pt x="1262" y="1133"/>
                    </a:cubicBezTo>
                    <a:cubicBezTo>
                      <a:pt x="1439" y="1133"/>
                      <a:pt x="1439" y="1133"/>
                      <a:pt x="1439" y="1133"/>
                    </a:cubicBezTo>
                    <a:cubicBezTo>
                      <a:pt x="1442" y="1134"/>
                      <a:pt x="1442" y="1134"/>
                      <a:pt x="1442" y="1134"/>
                    </a:cubicBezTo>
                    <a:cubicBezTo>
                      <a:pt x="1445" y="1134"/>
                      <a:pt x="1445" y="1134"/>
                      <a:pt x="1445" y="1134"/>
                    </a:cubicBezTo>
                    <a:cubicBezTo>
                      <a:pt x="1485" y="1134"/>
                      <a:pt x="1532" y="1078"/>
                      <a:pt x="1567" y="987"/>
                    </a:cubicBezTo>
                    <a:cubicBezTo>
                      <a:pt x="1574" y="972"/>
                      <a:pt x="1579" y="956"/>
                      <a:pt x="1584" y="939"/>
                    </a:cubicBezTo>
                    <a:cubicBezTo>
                      <a:pt x="1609" y="844"/>
                      <a:pt x="1623" y="724"/>
                      <a:pt x="1623" y="593"/>
                    </a:cubicBezTo>
                    <a:cubicBezTo>
                      <a:pt x="1623" y="464"/>
                      <a:pt x="1609" y="344"/>
                      <a:pt x="1584" y="250"/>
                    </a:cubicBezTo>
                    <a:close/>
                    <a:moveTo>
                      <a:pt x="226" y="491"/>
                    </a:moveTo>
                    <a:cubicBezTo>
                      <a:pt x="237" y="491"/>
                      <a:pt x="245" y="482"/>
                      <a:pt x="245" y="471"/>
                    </a:cubicBezTo>
                    <a:cubicBezTo>
                      <a:pt x="245" y="358"/>
                      <a:pt x="245" y="358"/>
                      <a:pt x="245" y="358"/>
                    </a:cubicBezTo>
                    <a:cubicBezTo>
                      <a:pt x="245" y="347"/>
                      <a:pt x="237" y="339"/>
                      <a:pt x="226" y="339"/>
                    </a:cubicBezTo>
                    <a:cubicBezTo>
                      <a:pt x="215" y="339"/>
                      <a:pt x="206" y="347"/>
                      <a:pt x="206" y="358"/>
                    </a:cubicBezTo>
                    <a:cubicBezTo>
                      <a:pt x="206" y="471"/>
                      <a:pt x="206" y="471"/>
                      <a:pt x="206" y="471"/>
                    </a:cubicBezTo>
                    <a:cubicBezTo>
                      <a:pt x="206" y="482"/>
                      <a:pt x="215" y="491"/>
                      <a:pt x="226" y="491"/>
                    </a:cubicBezTo>
                    <a:close/>
                    <a:moveTo>
                      <a:pt x="370" y="275"/>
                    </a:moveTo>
                    <a:cubicBezTo>
                      <a:pt x="380" y="275"/>
                      <a:pt x="389" y="266"/>
                      <a:pt x="389" y="255"/>
                    </a:cubicBezTo>
                    <a:cubicBezTo>
                      <a:pt x="389" y="142"/>
                      <a:pt x="389" y="142"/>
                      <a:pt x="389" y="142"/>
                    </a:cubicBezTo>
                    <a:cubicBezTo>
                      <a:pt x="389" y="131"/>
                      <a:pt x="380" y="123"/>
                      <a:pt x="370" y="123"/>
                    </a:cubicBezTo>
                    <a:cubicBezTo>
                      <a:pt x="359" y="123"/>
                      <a:pt x="350" y="131"/>
                      <a:pt x="350" y="142"/>
                    </a:cubicBezTo>
                    <a:cubicBezTo>
                      <a:pt x="350" y="255"/>
                      <a:pt x="350" y="255"/>
                      <a:pt x="350" y="255"/>
                    </a:cubicBezTo>
                    <a:cubicBezTo>
                      <a:pt x="350" y="266"/>
                      <a:pt x="359" y="275"/>
                      <a:pt x="370" y="275"/>
                    </a:cubicBezTo>
                    <a:close/>
                    <a:moveTo>
                      <a:pt x="79" y="153"/>
                    </a:moveTo>
                    <a:cubicBezTo>
                      <a:pt x="90" y="153"/>
                      <a:pt x="98" y="144"/>
                      <a:pt x="98" y="133"/>
                    </a:cubicBezTo>
                    <a:cubicBezTo>
                      <a:pt x="98" y="20"/>
                      <a:pt x="98" y="20"/>
                      <a:pt x="98" y="20"/>
                    </a:cubicBezTo>
                    <a:cubicBezTo>
                      <a:pt x="98" y="9"/>
                      <a:pt x="90" y="0"/>
                      <a:pt x="79" y="0"/>
                    </a:cubicBezTo>
                    <a:cubicBezTo>
                      <a:pt x="68" y="0"/>
                      <a:pt x="59" y="9"/>
                      <a:pt x="59" y="20"/>
                    </a:cubicBezTo>
                    <a:cubicBezTo>
                      <a:pt x="59" y="133"/>
                      <a:pt x="59" y="133"/>
                      <a:pt x="59" y="133"/>
                    </a:cubicBezTo>
                    <a:cubicBezTo>
                      <a:pt x="59" y="144"/>
                      <a:pt x="68" y="153"/>
                      <a:pt x="79" y="153"/>
                    </a:cubicBezTo>
                    <a:close/>
                    <a:moveTo>
                      <a:pt x="226" y="708"/>
                    </a:moveTo>
                    <a:cubicBezTo>
                      <a:pt x="182" y="708"/>
                      <a:pt x="147" y="744"/>
                      <a:pt x="147" y="787"/>
                    </a:cubicBezTo>
                    <a:cubicBezTo>
                      <a:pt x="147" y="831"/>
                      <a:pt x="182" y="866"/>
                      <a:pt x="226" y="866"/>
                    </a:cubicBezTo>
                    <a:cubicBezTo>
                      <a:pt x="269" y="866"/>
                      <a:pt x="305" y="831"/>
                      <a:pt x="305" y="787"/>
                    </a:cubicBezTo>
                    <a:cubicBezTo>
                      <a:pt x="305" y="744"/>
                      <a:pt x="269" y="708"/>
                      <a:pt x="226" y="708"/>
                    </a:cubicBezTo>
                    <a:close/>
                    <a:moveTo>
                      <a:pt x="226" y="827"/>
                    </a:moveTo>
                    <a:cubicBezTo>
                      <a:pt x="204" y="827"/>
                      <a:pt x="186" y="809"/>
                      <a:pt x="186" y="787"/>
                    </a:cubicBezTo>
                    <a:cubicBezTo>
                      <a:pt x="186" y="765"/>
                      <a:pt x="204" y="748"/>
                      <a:pt x="226" y="748"/>
                    </a:cubicBezTo>
                    <a:cubicBezTo>
                      <a:pt x="248" y="748"/>
                      <a:pt x="265" y="765"/>
                      <a:pt x="265" y="787"/>
                    </a:cubicBezTo>
                    <a:cubicBezTo>
                      <a:pt x="265" y="809"/>
                      <a:pt x="248" y="827"/>
                      <a:pt x="226" y="827"/>
                    </a:cubicBezTo>
                    <a:close/>
                    <a:moveTo>
                      <a:pt x="370" y="915"/>
                    </a:moveTo>
                    <a:cubicBezTo>
                      <a:pt x="326" y="915"/>
                      <a:pt x="291" y="950"/>
                      <a:pt x="291" y="994"/>
                    </a:cubicBezTo>
                    <a:cubicBezTo>
                      <a:pt x="291" y="1037"/>
                      <a:pt x="326" y="1073"/>
                      <a:pt x="370" y="1073"/>
                    </a:cubicBezTo>
                    <a:cubicBezTo>
                      <a:pt x="413" y="1073"/>
                      <a:pt x="449" y="1037"/>
                      <a:pt x="449" y="994"/>
                    </a:cubicBezTo>
                    <a:cubicBezTo>
                      <a:pt x="449" y="950"/>
                      <a:pt x="413" y="915"/>
                      <a:pt x="370" y="915"/>
                    </a:cubicBezTo>
                    <a:close/>
                    <a:moveTo>
                      <a:pt x="370" y="1033"/>
                    </a:moveTo>
                    <a:cubicBezTo>
                      <a:pt x="348" y="1033"/>
                      <a:pt x="330" y="1015"/>
                      <a:pt x="330" y="994"/>
                    </a:cubicBezTo>
                    <a:cubicBezTo>
                      <a:pt x="330" y="972"/>
                      <a:pt x="348" y="954"/>
                      <a:pt x="370" y="954"/>
                    </a:cubicBezTo>
                    <a:cubicBezTo>
                      <a:pt x="391" y="954"/>
                      <a:pt x="409" y="972"/>
                      <a:pt x="409" y="994"/>
                    </a:cubicBezTo>
                    <a:cubicBezTo>
                      <a:pt x="409" y="1015"/>
                      <a:pt x="391" y="1033"/>
                      <a:pt x="370" y="1033"/>
                    </a:cubicBezTo>
                    <a:close/>
                    <a:moveTo>
                      <a:pt x="79" y="1047"/>
                    </a:moveTo>
                    <a:cubicBezTo>
                      <a:pt x="35" y="1047"/>
                      <a:pt x="0" y="1082"/>
                      <a:pt x="0" y="1126"/>
                    </a:cubicBezTo>
                    <a:cubicBezTo>
                      <a:pt x="0" y="1169"/>
                      <a:pt x="35" y="1205"/>
                      <a:pt x="79" y="1205"/>
                    </a:cubicBezTo>
                    <a:cubicBezTo>
                      <a:pt x="122" y="1205"/>
                      <a:pt x="158" y="1169"/>
                      <a:pt x="158" y="1126"/>
                    </a:cubicBezTo>
                    <a:cubicBezTo>
                      <a:pt x="158" y="1082"/>
                      <a:pt x="122" y="1047"/>
                      <a:pt x="79" y="1047"/>
                    </a:cubicBezTo>
                    <a:close/>
                    <a:moveTo>
                      <a:pt x="79" y="1165"/>
                    </a:moveTo>
                    <a:cubicBezTo>
                      <a:pt x="57" y="1165"/>
                      <a:pt x="39" y="1147"/>
                      <a:pt x="39" y="1126"/>
                    </a:cubicBezTo>
                    <a:cubicBezTo>
                      <a:pt x="39" y="1104"/>
                      <a:pt x="57" y="1086"/>
                      <a:pt x="79" y="1086"/>
                    </a:cubicBezTo>
                    <a:cubicBezTo>
                      <a:pt x="101" y="1086"/>
                      <a:pt x="118" y="1104"/>
                      <a:pt x="118" y="1126"/>
                    </a:cubicBezTo>
                    <a:cubicBezTo>
                      <a:pt x="118" y="1147"/>
                      <a:pt x="101" y="1165"/>
                      <a:pt x="79" y="1165"/>
                    </a:cubicBezTo>
                    <a:close/>
                    <a:moveTo>
                      <a:pt x="617" y="550"/>
                    </a:moveTo>
                    <a:cubicBezTo>
                      <a:pt x="614" y="541"/>
                      <a:pt x="610" y="532"/>
                      <a:pt x="605" y="523"/>
                    </a:cubicBezTo>
                    <a:cubicBezTo>
                      <a:pt x="600" y="513"/>
                      <a:pt x="593" y="504"/>
                      <a:pt x="586" y="496"/>
                    </a:cubicBezTo>
                    <a:cubicBezTo>
                      <a:pt x="589" y="466"/>
                      <a:pt x="589" y="466"/>
                      <a:pt x="589" y="466"/>
                    </a:cubicBezTo>
                    <a:cubicBezTo>
                      <a:pt x="570" y="448"/>
                      <a:pt x="547" y="435"/>
                      <a:pt x="523" y="427"/>
                    </a:cubicBezTo>
                    <a:cubicBezTo>
                      <a:pt x="499" y="445"/>
                      <a:pt x="499" y="445"/>
                      <a:pt x="499" y="445"/>
                    </a:cubicBezTo>
                    <a:cubicBezTo>
                      <a:pt x="479" y="441"/>
                      <a:pt x="460" y="442"/>
                      <a:pt x="441" y="445"/>
                    </a:cubicBezTo>
                    <a:cubicBezTo>
                      <a:pt x="417" y="427"/>
                      <a:pt x="417" y="427"/>
                      <a:pt x="417" y="427"/>
                    </a:cubicBezTo>
                    <a:cubicBezTo>
                      <a:pt x="405" y="432"/>
                      <a:pt x="392" y="436"/>
                      <a:pt x="381" y="443"/>
                    </a:cubicBezTo>
                    <a:cubicBezTo>
                      <a:pt x="370" y="450"/>
                      <a:pt x="360" y="457"/>
                      <a:pt x="351" y="466"/>
                    </a:cubicBezTo>
                    <a:cubicBezTo>
                      <a:pt x="355" y="497"/>
                      <a:pt x="355" y="497"/>
                      <a:pt x="355" y="497"/>
                    </a:cubicBezTo>
                    <a:cubicBezTo>
                      <a:pt x="341" y="512"/>
                      <a:pt x="331" y="530"/>
                      <a:pt x="324" y="548"/>
                    </a:cubicBezTo>
                    <a:cubicBezTo>
                      <a:pt x="297" y="560"/>
                      <a:pt x="297" y="560"/>
                      <a:pt x="297" y="560"/>
                    </a:cubicBezTo>
                    <a:cubicBezTo>
                      <a:pt x="291" y="585"/>
                      <a:pt x="291" y="611"/>
                      <a:pt x="297" y="638"/>
                    </a:cubicBezTo>
                    <a:cubicBezTo>
                      <a:pt x="323" y="649"/>
                      <a:pt x="323" y="649"/>
                      <a:pt x="323" y="649"/>
                    </a:cubicBezTo>
                    <a:cubicBezTo>
                      <a:pt x="326" y="659"/>
                      <a:pt x="331" y="670"/>
                      <a:pt x="337" y="679"/>
                    </a:cubicBezTo>
                    <a:cubicBezTo>
                      <a:pt x="341" y="688"/>
                      <a:pt x="348" y="697"/>
                      <a:pt x="354" y="704"/>
                    </a:cubicBezTo>
                    <a:cubicBezTo>
                      <a:pt x="350" y="734"/>
                      <a:pt x="350" y="734"/>
                      <a:pt x="350" y="734"/>
                    </a:cubicBezTo>
                    <a:cubicBezTo>
                      <a:pt x="369" y="752"/>
                      <a:pt x="391" y="764"/>
                      <a:pt x="413" y="772"/>
                    </a:cubicBezTo>
                    <a:cubicBezTo>
                      <a:pt x="437" y="755"/>
                      <a:pt x="437" y="755"/>
                      <a:pt x="437" y="755"/>
                    </a:cubicBezTo>
                    <a:cubicBezTo>
                      <a:pt x="459" y="760"/>
                      <a:pt x="480" y="760"/>
                      <a:pt x="502" y="756"/>
                    </a:cubicBezTo>
                    <a:cubicBezTo>
                      <a:pt x="527" y="773"/>
                      <a:pt x="527" y="773"/>
                      <a:pt x="527" y="773"/>
                    </a:cubicBezTo>
                    <a:cubicBezTo>
                      <a:pt x="537" y="770"/>
                      <a:pt x="548" y="764"/>
                      <a:pt x="559" y="759"/>
                    </a:cubicBezTo>
                    <a:cubicBezTo>
                      <a:pt x="570" y="753"/>
                      <a:pt x="580" y="744"/>
                      <a:pt x="590" y="736"/>
                    </a:cubicBezTo>
                    <a:cubicBezTo>
                      <a:pt x="586" y="707"/>
                      <a:pt x="586" y="707"/>
                      <a:pt x="586" y="707"/>
                    </a:cubicBezTo>
                    <a:cubicBezTo>
                      <a:pt x="600" y="690"/>
                      <a:pt x="611" y="670"/>
                      <a:pt x="618" y="649"/>
                    </a:cubicBezTo>
                    <a:cubicBezTo>
                      <a:pt x="645" y="638"/>
                      <a:pt x="645" y="638"/>
                      <a:pt x="645" y="638"/>
                    </a:cubicBezTo>
                    <a:cubicBezTo>
                      <a:pt x="650" y="613"/>
                      <a:pt x="650" y="587"/>
                      <a:pt x="644" y="563"/>
                    </a:cubicBezTo>
                    <a:cubicBezTo>
                      <a:pt x="617" y="550"/>
                      <a:pt x="617" y="550"/>
                      <a:pt x="617" y="550"/>
                    </a:cubicBezTo>
                    <a:close/>
                    <a:moveTo>
                      <a:pt x="509" y="670"/>
                    </a:moveTo>
                    <a:cubicBezTo>
                      <a:pt x="471" y="692"/>
                      <a:pt x="424" y="678"/>
                      <a:pt x="402" y="640"/>
                    </a:cubicBezTo>
                    <a:cubicBezTo>
                      <a:pt x="380" y="603"/>
                      <a:pt x="392" y="553"/>
                      <a:pt x="430" y="532"/>
                    </a:cubicBezTo>
                    <a:cubicBezTo>
                      <a:pt x="440" y="526"/>
                      <a:pt x="450" y="523"/>
                      <a:pt x="460" y="522"/>
                    </a:cubicBezTo>
                    <a:cubicBezTo>
                      <a:pt x="490" y="518"/>
                      <a:pt x="522" y="532"/>
                      <a:pt x="538" y="561"/>
                    </a:cubicBezTo>
                    <a:cubicBezTo>
                      <a:pt x="559" y="600"/>
                      <a:pt x="547" y="648"/>
                      <a:pt x="509" y="67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grpSp>
      </p:grpSp>
      <p:grpSp>
        <p:nvGrpSpPr>
          <p:cNvPr id="29" name="Group 28">
            <a:extLst>
              <a:ext uri="{FF2B5EF4-FFF2-40B4-BE49-F238E27FC236}">
                <a16:creationId xmlns:a16="http://schemas.microsoft.com/office/drawing/2014/main" id="{46677FC3-9BDB-1695-1B3B-9D5C07D8C411}"/>
              </a:ext>
            </a:extLst>
          </p:cNvPr>
          <p:cNvGrpSpPr>
            <a:grpSpLocks noChangeAspect="1"/>
          </p:cNvGrpSpPr>
          <p:nvPr/>
        </p:nvGrpSpPr>
        <p:grpSpPr>
          <a:xfrm>
            <a:off x="5909107" y="1733974"/>
            <a:ext cx="667897" cy="667897"/>
            <a:chOff x="1109933" y="1822724"/>
            <a:chExt cx="1649421" cy="1649421"/>
          </a:xfrm>
        </p:grpSpPr>
        <p:sp>
          <p:nvSpPr>
            <p:cNvPr id="30" name="AutoShape 68">
              <a:extLst>
                <a:ext uri="{FF2B5EF4-FFF2-40B4-BE49-F238E27FC236}">
                  <a16:creationId xmlns:a16="http://schemas.microsoft.com/office/drawing/2014/main" id="{979031F0-0229-0B81-8664-42438B133953}"/>
                </a:ext>
              </a:extLst>
            </p:cNvPr>
            <p:cNvSpPr>
              <a:spLocks noChangeAspect="1" noChangeArrowheads="1" noTextEdit="1"/>
            </p:cNvSpPr>
            <p:nvPr/>
          </p:nvSpPr>
          <p:spPr bwMode="auto">
            <a:xfrm>
              <a:off x="1109933" y="1822724"/>
              <a:ext cx="1649421" cy="16494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31" name="Group 30">
              <a:extLst>
                <a:ext uri="{FF2B5EF4-FFF2-40B4-BE49-F238E27FC236}">
                  <a16:creationId xmlns:a16="http://schemas.microsoft.com/office/drawing/2014/main" id="{6BF7C201-E21C-BA41-27B8-39A8EADF0F78}"/>
                </a:ext>
              </a:extLst>
            </p:cNvPr>
            <p:cNvGrpSpPr/>
            <p:nvPr/>
          </p:nvGrpSpPr>
          <p:grpSpPr>
            <a:xfrm>
              <a:off x="1323199" y="2204914"/>
              <a:ext cx="1221983" cy="879309"/>
              <a:chOff x="1323199" y="2204914"/>
              <a:chExt cx="1221983" cy="879309"/>
            </a:xfrm>
          </p:grpSpPr>
          <p:sp>
            <p:nvSpPr>
              <p:cNvPr id="32" name="Freeform 70">
                <a:extLst>
                  <a:ext uri="{FF2B5EF4-FFF2-40B4-BE49-F238E27FC236}">
                    <a16:creationId xmlns:a16="http://schemas.microsoft.com/office/drawing/2014/main" id="{E6B7FA95-0367-53BE-4AA9-F475AC510C8C}"/>
                  </a:ext>
                </a:extLst>
              </p:cNvPr>
              <p:cNvSpPr>
                <a:spLocks noEditPoints="1"/>
              </p:cNvSpPr>
              <p:nvPr/>
            </p:nvSpPr>
            <p:spPr bwMode="auto">
              <a:xfrm>
                <a:off x="1323199" y="2204914"/>
                <a:ext cx="1221983" cy="879309"/>
              </a:xfrm>
              <a:custGeom>
                <a:avLst/>
                <a:gdLst>
                  <a:gd name="T0" fmla="*/ 503 w 1707"/>
                  <a:gd name="T1" fmla="*/ 599 h 1228"/>
                  <a:gd name="T2" fmla="*/ 449 w 1707"/>
                  <a:gd name="T3" fmla="*/ 585 h 1228"/>
                  <a:gd name="T4" fmla="*/ 471 w 1707"/>
                  <a:gd name="T5" fmla="*/ 660 h 1228"/>
                  <a:gd name="T6" fmla="*/ 360 w 1707"/>
                  <a:gd name="T7" fmla="*/ 428 h 1228"/>
                  <a:gd name="T8" fmla="*/ 387 w 1707"/>
                  <a:gd name="T9" fmla="*/ 394 h 1228"/>
                  <a:gd name="T10" fmla="*/ 395 w 1707"/>
                  <a:gd name="T11" fmla="*/ 344 h 1228"/>
                  <a:gd name="T12" fmla="*/ 1445 w 1707"/>
                  <a:gd name="T13" fmla="*/ 0 h 1228"/>
                  <a:gd name="T14" fmla="*/ 429 w 1707"/>
                  <a:gd name="T15" fmla="*/ 161 h 1228"/>
                  <a:gd name="T16" fmla="*/ 440 w 1707"/>
                  <a:gd name="T17" fmla="*/ 196 h 1228"/>
                  <a:gd name="T18" fmla="*/ 449 w 1707"/>
                  <a:gd name="T19" fmla="*/ 174 h 1228"/>
                  <a:gd name="T20" fmla="*/ 457 w 1707"/>
                  <a:gd name="T21" fmla="*/ 158 h 1228"/>
                  <a:gd name="T22" fmla="*/ 465 w 1707"/>
                  <a:gd name="T23" fmla="*/ 143 h 1228"/>
                  <a:gd name="T24" fmla="*/ 473 w 1707"/>
                  <a:gd name="T25" fmla="*/ 129 h 1228"/>
                  <a:gd name="T26" fmla="*/ 575 w 1707"/>
                  <a:gd name="T27" fmla="*/ 37 h 1228"/>
                  <a:gd name="T28" fmla="*/ 589 w 1707"/>
                  <a:gd name="T29" fmla="*/ 34 h 1228"/>
                  <a:gd name="T30" fmla="*/ 1454 w 1707"/>
                  <a:gd name="T31" fmla="*/ 35 h 1228"/>
                  <a:gd name="T32" fmla="*/ 1466 w 1707"/>
                  <a:gd name="T33" fmla="*/ 37 h 1228"/>
                  <a:gd name="T34" fmla="*/ 1478 w 1707"/>
                  <a:gd name="T35" fmla="*/ 40 h 1228"/>
                  <a:gd name="T36" fmla="*/ 1488 w 1707"/>
                  <a:gd name="T37" fmla="*/ 46 h 1228"/>
                  <a:gd name="T38" fmla="*/ 1499 w 1707"/>
                  <a:gd name="T39" fmla="*/ 52 h 1228"/>
                  <a:gd name="T40" fmla="*/ 1513 w 1707"/>
                  <a:gd name="T41" fmla="*/ 62 h 1228"/>
                  <a:gd name="T42" fmla="*/ 1596 w 1707"/>
                  <a:gd name="T43" fmla="*/ 187 h 1228"/>
                  <a:gd name="T44" fmla="*/ 1607 w 1707"/>
                  <a:gd name="T45" fmla="*/ 216 h 1228"/>
                  <a:gd name="T46" fmla="*/ 1608 w 1707"/>
                  <a:gd name="T47" fmla="*/ 1011 h 1228"/>
                  <a:gd name="T48" fmla="*/ 1600 w 1707"/>
                  <a:gd name="T49" fmla="*/ 1031 h 1228"/>
                  <a:gd name="T50" fmla="*/ 1514 w 1707"/>
                  <a:gd name="T51" fmla="*/ 1164 h 1228"/>
                  <a:gd name="T52" fmla="*/ 1504 w 1707"/>
                  <a:gd name="T53" fmla="*/ 1173 h 1228"/>
                  <a:gd name="T54" fmla="*/ 1491 w 1707"/>
                  <a:gd name="T55" fmla="*/ 1181 h 1228"/>
                  <a:gd name="T56" fmla="*/ 1479 w 1707"/>
                  <a:gd name="T57" fmla="*/ 1187 h 1228"/>
                  <a:gd name="T58" fmla="*/ 1468 w 1707"/>
                  <a:gd name="T59" fmla="*/ 1190 h 1228"/>
                  <a:gd name="T60" fmla="*/ 1456 w 1707"/>
                  <a:gd name="T61" fmla="*/ 1193 h 1228"/>
                  <a:gd name="T62" fmla="*/ 1443 w 1707"/>
                  <a:gd name="T63" fmla="*/ 1194 h 1228"/>
                  <a:gd name="T64" fmla="*/ 1434 w 1707"/>
                  <a:gd name="T65" fmla="*/ 1193 h 1228"/>
                  <a:gd name="T66" fmla="*/ 599 w 1707"/>
                  <a:gd name="T67" fmla="*/ 1194 h 1228"/>
                  <a:gd name="T68" fmla="*/ 587 w 1707"/>
                  <a:gd name="T69" fmla="*/ 1193 h 1228"/>
                  <a:gd name="T70" fmla="*/ 574 w 1707"/>
                  <a:gd name="T71" fmla="*/ 1191 h 1228"/>
                  <a:gd name="T72" fmla="*/ 563 w 1707"/>
                  <a:gd name="T73" fmla="*/ 1188 h 1228"/>
                  <a:gd name="T74" fmla="*/ 552 w 1707"/>
                  <a:gd name="T75" fmla="*/ 1182 h 1228"/>
                  <a:gd name="T76" fmla="*/ 541 w 1707"/>
                  <a:gd name="T77" fmla="*/ 1176 h 1228"/>
                  <a:gd name="T78" fmla="*/ 528 w 1707"/>
                  <a:gd name="T79" fmla="*/ 1166 h 1228"/>
                  <a:gd name="T80" fmla="*/ 596 w 1707"/>
                  <a:gd name="T81" fmla="*/ 1228 h 1228"/>
                  <a:gd name="T82" fmla="*/ 1707 w 1707"/>
                  <a:gd name="T83" fmla="*/ 614 h 1228"/>
                  <a:gd name="T84" fmla="*/ 451 w 1707"/>
                  <a:gd name="T85" fmla="*/ 423 h 1228"/>
                  <a:gd name="T86" fmla="*/ 535 w 1707"/>
                  <a:gd name="T87" fmla="*/ 409 h 1228"/>
                  <a:gd name="T88" fmla="*/ 639 w 1707"/>
                  <a:gd name="T89" fmla="*/ 522 h 1228"/>
                  <a:gd name="T90" fmla="*/ 684 w 1707"/>
                  <a:gd name="T91" fmla="*/ 664 h 1228"/>
                  <a:gd name="T92" fmla="*/ 631 w 1707"/>
                  <a:gd name="T93" fmla="*/ 772 h 1228"/>
                  <a:gd name="T94" fmla="*/ 577 w 1707"/>
                  <a:gd name="T95" fmla="*/ 813 h 1228"/>
                  <a:gd name="T96" fmla="*/ 471 w 1707"/>
                  <a:gd name="T97" fmla="*/ 817 h 1228"/>
                  <a:gd name="T98" fmla="*/ 488 w 1707"/>
                  <a:gd name="T99" fmla="*/ 1013 h 1228"/>
                  <a:gd name="T100" fmla="*/ 808 w 1707"/>
                  <a:gd name="T101" fmla="*/ 614 h 1228"/>
                  <a:gd name="T102" fmla="*/ 362 w 1707"/>
                  <a:gd name="T103" fmla="*/ 894 h 1228"/>
                  <a:gd name="T104" fmla="*/ 345 w 1707"/>
                  <a:gd name="T105" fmla="*/ 800 h 1228"/>
                  <a:gd name="T106" fmla="*/ 226 w 1707"/>
                  <a:gd name="T107" fmla="*/ 1169 h 1228"/>
                  <a:gd name="T108" fmla="*/ 79 w 1707"/>
                  <a:gd name="T109" fmla="*/ 793 h 1228"/>
                  <a:gd name="T110" fmla="*/ 98 w 1707"/>
                  <a:gd name="T111" fmla="*/ 926 h 1228"/>
                  <a:gd name="T112" fmla="*/ 0 w 1707"/>
                  <a:gd name="T113" fmla="*/ 370 h 1228"/>
                  <a:gd name="T114" fmla="*/ 79 w 1707"/>
                  <a:gd name="T115" fmla="*/ 410 h 1228"/>
                  <a:gd name="T116" fmla="*/ 79 w 1707"/>
                  <a:gd name="T117" fmla="*/ 410 h 1228"/>
                  <a:gd name="T118" fmla="*/ 305 w 1707"/>
                  <a:gd name="T119" fmla="*/ 146 h 1228"/>
                  <a:gd name="T120" fmla="*/ 226 w 1707"/>
                  <a:gd name="T121" fmla="*/ 107 h 1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707" h="1228">
                    <a:moveTo>
                      <a:pt x="471" y="660"/>
                    </a:moveTo>
                    <a:cubicBezTo>
                      <a:pt x="477" y="660"/>
                      <a:pt x="483" y="658"/>
                      <a:pt x="489" y="655"/>
                    </a:cubicBezTo>
                    <a:cubicBezTo>
                      <a:pt x="489" y="655"/>
                      <a:pt x="489" y="655"/>
                      <a:pt x="489" y="655"/>
                    </a:cubicBezTo>
                    <a:cubicBezTo>
                      <a:pt x="508" y="644"/>
                      <a:pt x="514" y="619"/>
                      <a:pt x="503" y="599"/>
                    </a:cubicBezTo>
                    <a:cubicBezTo>
                      <a:pt x="496" y="587"/>
                      <a:pt x="483" y="580"/>
                      <a:pt x="469" y="580"/>
                    </a:cubicBezTo>
                    <a:cubicBezTo>
                      <a:pt x="467" y="580"/>
                      <a:pt x="466" y="580"/>
                      <a:pt x="464" y="580"/>
                    </a:cubicBezTo>
                    <a:cubicBezTo>
                      <a:pt x="463" y="580"/>
                      <a:pt x="463" y="580"/>
                      <a:pt x="463" y="580"/>
                    </a:cubicBezTo>
                    <a:cubicBezTo>
                      <a:pt x="461" y="580"/>
                      <a:pt x="456" y="581"/>
                      <a:pt x="449" y="585"/>
                    </a:cubicBezTo>
                    <a:cubicBezTo>
                      <a:pt x="441" y="590"/>
                      <a:pt x="435" y="598"/>
                      <a:pt x="432" y="608"/>
                    </a:cubicBezTo>
                    <a:cubicBezTo>
                      <a:pt x="429" y="619"/>
                      <a:pt x="431" y="630"/>
                      <a:pt x="436" y="639"/>
                    </a:cubicBezTo>
                    <a:cubicBezTo>
                      <a:pt x="437" y="640"/>
                      <a:pt x="437" y="640"/>
                      <a:pt x="437" y="640"/>
                    </a:cubicBezTo>
                    <a:cubicBezTo>
                      <a:pt x="444" y="652"/>
                      <a:pt x="457" y="660"/>
                      <a:pt x="471" y="660"/>
                    </a:cubicBezTo>
                    <a:close/>
                    <a:moveTo>
                      <a:pt x="362" y="333"/>
                    </a:moveTo>
                    <a:cubicBezTo>
                      <a:pt x="355" y="367"/>
                      <a:pt x="349" y="403"/>
                      <a:pt x="344" y="439"/>
                    </a:cubicBezTo>
                    <a:cubicBezTo>
                      <a:pt x="349" y="435"/>
                      <a:pt x="354" y="432"/>
                      <a:pt x="359" y="429"/>
                    </a:cubicBezTo>
                    <a:cubicBezTo>
                      <a:pt x="360" y="428"/>
                      <a:pt x="360" y="428"/>
                      <a:pt x="360" y="428"/>
                    </a:cubicBezTo>
                    <a:cubicBezTo>
                      <a:pt x="362" y="427"/>
                      <a:pt x="362" y="427"/>
                      <a:pt x="362" y="427"/>
                    </a:cubicBezTo>
                    <a:cubicBezTo>
                      <a:pt x="369" y="423"/>
                      <a:pt x="376" y="420"/>
                      <a:pt x="383" y="417"/>
                    </a:cubicBezTo>
                    <a:cubicBezTo>
                      <a:pt x="384" y="410"/>
                      <a:pt x="385" y="403"/>
                      <a:pt x="387" y="397"/>
                    </a:cubicBezTo>
                    <a:cubicBezTo>
                      <a:pt x="387" y="394"/>
                      <a:pt x="387" y="394"/>
                      <a:pt x="387" y="394"/>
                    </a:cubicBezTo>
                    <a:cubicBezTo>
                      <a:pt x="387" y="386"/>
                      <a:pt x="389" y="379"/>
                      <a:pt x="391" y="371"/>
                    </a:cubicBezTo>
                    <a:cubicBezTo>
                      <a:pt x="391" y="370"/>
                      <a:pt x="391" y="370"/>
                      <a:pt x="391" y="369"/>
                    </a:cubicBezTo>
                    <a:cubicBezTo>
                      <a:pt x="393" y="361"/>
                      <a:pt x="394" y="354"/>
                      <a:pt x="395" y="345"/>
                    </a:cubicBezTo>
                    <a:cubicBezTo>
                      <a:pt x="395" y="345"/>
                      <a:pt x="395" y="345"/>
                      <a:pt x="395" y="344"/>
                    </a:cubicBezTo>
                    <a:cubicBezTo>
                      <a:pt x="397" y="338"/>
                      <a:pt x="398" y="331"/>
                      <a:pt x="400" y="325"/>
                    </a:cubicBezTo>
                    <a:cubicBezTo>
                      <a:pt x="391" y="330"/>
                      <a:pt x="381" y="334"/>
                      <a:pt x="370" y="334"/>
                    </a:cubicBezTo>
                    <a:cubicBezTo>
                      <a:pt x="367" y="334"/>
                      <a:pt x="364" y="333"/>
                      <a:pt x="362" y="333"/>
                    </a:cubicBezTo>
                    <a:close/>
                    <a:moveTo>
                      <a:pt x="1445" y="0"/>
                    </a:moveTo>
                    <a:cubicBezTo>
                      <a:pt x="583" y="0"/>
                      <a:pt x="583" y="0"/>
                      <a:pt x="583" y="0"/>
                    </a:cubicBezTo>
                    <a:cubicBezTo>
                      <a:pt x="580" y="0"/>
                      <a:pt x="577" y="1"/>
                      <a:pt x="575" y="2"/>
                    </a:cubicBezTo>
                    <a:cubicBezTo>
                      <a:pt x="519" y="11"/>
                      <a:pt x="468" y="61"/>
                      <a:pt x="426" y="143"/>
                    </a:cubicBezTo>
                    <a:cubicBezTo>
                      <a:pt x="428" y="149"/>
                      <a:pt x="429" y="155"/>
                      <a:pt x="429" y="161"/>
                    </a:cubicBezTo>
                    <a:cubicBezTo>
                      <a:pt x="429" y="226"/>
                      <a:pt x="429" y="226"/>
                      <a:pt x="429" y="226"/>
                    </a:cubicBezTo>
                    <a:cubicBezTo>
                      <a:pt x="431" y="220"/>
                      <a:pt x="433" y="214"/>
                      <a:pt x="435" y="208"/>
                    </a:cubicBezTo>
                    <a:cubicBezTo>
                      <a:pt x="437" y="204"/>
                      <a:pt x="438" y="202"/>
                      <a:pt x="439" y="198"/>
                    </a:cubicBezTo>
                    <a:cubicBezTo>
                      <a:pt x="439" y="197"/>
                      <a:pt x="439" y="197"/>
                      <a:pt x="440" y="196"/>
                    </a:cubicBezTo>
                    <a:cubicBezTo>
                      <a:pt x="441" y="194"/>
                      <a:pt x="442" y="191"/>
                      <a:pt x="443" y="189"/>
                    </a:cubicBezTo>
                    <a:cubicBezTo>
                      <a:pt x="444" y="187"/>
                      <a:pt x="445" y="186"/>
                      <a:pt x="445" y="185"/>
                    </a:cubicBezTo>
                    <a:cubicBezTo>
                      <a:pt x="446" y="183"/>
                      <a:pt x="446" y="181"/>
                      <a:pt x="447" y="180"/>
                    </a:cubicBezTo>
                    <a:cubicBezTo>
                      <a:pt x="447" y="178"/>
                      <a:pt x="448" y="177"/>
                      <a:pt x="449" y="174"/>
                    </a:cubicBezTo>
                    <a:cubicBezTo>
                      <a:pt x="450" y="173"/>
                      <a:pt x="451" y="172"/>
                      <a:pt x="451" y="171"/>
                    </a:cubicBezTo>
                    <a:cubicBezTo>
                      <a:pt x="452" y="169"/>
                      <a:pt x="453" y="168"/>
                      <a:pt x="454" y="166"/>
                    </a:cubicBezTo>
                    <a:cubicBezTo>
                      <a:pt x="455" y="165"/>
                      <a:pt x="455" y="164"/>
                      <a:pt x="455" y="162"/>
                    </a:cubicBezTo>
                    <a:cubicBezTo>
                      <a:pt x="456" y="161"/>
                      <a:pt x="457" y="160"/>
                      <a:pt x="457" y="158"/>
                    </a:cubicBezTo>
                    <a:cubicBezTo>
                      <a:pt x="458" y="157"/>
                      <a:pt x="459" y="155"/>
                      <a:pt x="459" y="154"/>
                    </a:cubicBezTo>
                    <a:cubicBezTo>
                      <a:pt x="460" y="152"/>
                      <a:pt x="461" y="151"/>
                      <a:pt x="462" y="150"/>
                    </a:cubicBezTo>
                    <a:cubicBezTo>
                      <a:pt x="463" y="149"/>
                      <a:pt x="463" y="147"/>
                      <a:pt x="463" y="146"/>
                    </a:cubicBezTo>
                    <a:cubicBezTo>
                      <a:pt x="464" y="145"/>
                      <a:pt x="465" y="143"/>
                      <a:pt x="465" y="143"/>
                    </a:cubicBezTo>
                    <a:cubicBezTo>
                      <a:pt x="466" y="141"/>
                      <a:pt x="467" y="140"/>
                      <a:pt x="468" y="138"/>
                    </a:cubicBezTo>
                    <a:cubicBezTo>
                      <a:pt x="469" y="137"/>
                      <a:pt x="469" y="136"/>
                      <a:pt x="470" y="135"/>
                    </a:cubicBezTo>
                    <a:cubicBezTo>
                      <a:pt x="471" y="134"/>
                      <a:pt x="472" y="133"/>
                      <a:pt x="472" y="131"/>
                    </a:cubicBezTo>
                    <a:cubicBezTo>
                      <a:pt x="472" y="130"/>
                      <a:pt x="473" y="129"/>
                      <a:pt x="473" y="129"/>
                    </a:cubicBezTo>
                    <a:cubicBezTo>
                      <a:pt x="474" y="127"/>
                      <a:pt x="476" y="125"/>
                      <a:pt x="477" y="124"/>
                    </a:cubicBezTo>
                    <a:cubicBezTo>
                      <a:pt x="477" y="123"/>
                      <a:pt x="477" y="123"/>
                      <a:pt x="478" y="122"/>
                    </a:cubicBezTo>
                    <a:cubicBezTo>
                      <a:pt x="479" y="120"/>
                      <a:pt x="480" y="118"/>
                      <a:pt x="481" y="116"/>
                    </a:cubicBezTo>
                    <a:cubicBezTo>
                      <a:pt x="510" y="72"/>
                      <a:pt x="542" y="45"/>
                      <a:pt x="575" y="37"/>
                    </a:cubicBezTo>
                    <a:cubicBezTo>
                      <a:pt x="576" y="37"/>
                      <a:pt x="578" y="37"/>
                      <a:pt x="579" y="36"/>
                    </a:cubicBezTo>
                    <a:cubicBezTo>
                      <a:pt x="580" y="36"/>
                      <a:pt x="580" y="36"/>
                      <a:pt x="581" y="36"/>
                    </a:cubicBezTo>
                    <a:cubicBezTo>
                      <a:pt x="582" y="36"/>
                      <a:pt x="583" y="35"/>
                      <a:pt x="585" y="35"/>
                    </a:cubicBezTo>
                    <a:cubicBezTo>
                      <a:pt x="586" y="34"/>
                      <a:pt x="587" y="34"/>
                      <a:pt x="589" y="34"/>
                    </a:cubicBezTo>
                    <a:cubicBezTo>
                      <a:pt x="595" y="34"/>
                      <a:pt x="595" y="34"/>
                      <a:pt x="595" y="34"/>
                    </a:cubicBezTo>
                    <a:cubicBezTo>
                      <a:pt x="1437" y="34"/>
                      <a:pt x="1445" y="34"/>
                      <a:pt x="1445" y="34"/>
                    </a:cubicBezTo>
                    <a:cubicBezTo>
                      <a:pt x="1451" y="34"/>
                      <a:pt x="1451" y="34"/>
                      <a:pt x="1451" y="34"/>
                    </a:cubicBezTo>
                    <a:cubicBezTo>
                      <a:pt x="1452" y="35"/>
                      <a:pt x="1453" y="35"/>
                      <a:pt x="1454" y="35"/>
                    </a:cubicBezTo>
                    <a:cubicBezTo>
                      <a:pt x="1456" y="35"/>
                      <a:pt x="1456" y="35"/>
                      <a:pt x="1456" y="35"/>
                    </a:cubicBezTo>
                    <a:cubicBezTo>
                      <a:pt x="1457" y="35"/>
                      <a:pt x="1459" y="36"/>
                      <a:pt x="1460" y="36"/>
                    </a:cubicBezTo>
                    <a:cubicBezTo>
                      <a:pt x="1461" y="36"/>
                      <a:pt x="1462" y="36"/>
                      <a:pt x="1462" y="36"/>
                    </a:cubicBezTo>
                    <a:cubicBezTo>
                      <a:pt x="1463" y="37"/>
                      <a:pt x="1464" y="37"/>
                      <a:pt x="1466" y="37"/>
                    </a:cubicBezTo>
                    <a:cubicBezTo>
                      <a:pt x="1467" y="37"/>
                      <a:pt x="1467" y="37"/>
                      <a:pt x="1468" y="37"/>
                    </a:cubicBezTo>
                    <a:cubicBezTo>
                      <a:pt x="1469" y="37"/>
                      <a:pt x="1471" y="38"/>
                      <a:pt x="1471" y="38"/>
                    </a:cubicBezTo>
                    <a:cubicBezTo>
                      <a:pt x="1472" y="38"/>
                      <a:pt x="1473" y="39"/>
                      <a:pt x="1473" y="39"/>
                    </a:cubicBezTo>
                    <a:cubicBezTo>
                      <a:pt x="1475" y="39"/>
                      <a:pt x="1476" y="40"/>
                      <a:pt x="1478" y="40"/>
                    </a:cubicBezTo>
                    <a:cubicBezTo>
                      <a:pt x="1478" y="41"/>
                      <a:pt x="1479" y="41"/>
                      <a:pt x="1479" y="41"/>
                    </a:cubicBezTo>
                    <a:cubicBezTo>
                      <a:pt x="1480" y="42"/>
                      <a:pt x="1481" y="42"/>
                      <a:pt x="1483" y="43"/>
                    </a:cubicBezTo>
                    <a:cubicBezTo>
                      <a:pt x="1484" y="43"/>
                      <a:pt x="1484" y="44"/>
                      <a:pt x="1485" y="44"/>
                    </a:cubicBezTo>
                    <a:cubicBezTo>
                      <a:pt x="1486" y="45"/>
                      <a:pt x="1488" y="45"/>
                      <a:pt x="1488" y="46"/>
                    </a:cubicBezTo>
                    <a:cubicBezTo>
                      <a:pt x="1489" y="46"/>
                      <a:pt x="1490" y="46"/>
                      <a:pt x="1491" y="46"/>
                    </a:cubicBezTo>
                    <a:cubicBezTo>
                      <a:pt x="1492" y="47"/>
                      <a:pt x="1493" y="48"/>
                      <a:pt x="1494" y="48"/>
                    </a:cubicBezTo>
                    <a:cubicBezTo>
                      <a:pt x="1495" y="49"/>
                      <a:pt x="1496" y="50"/>
                      <a:pt x="1496" y="50"/>
                    </a:cubicBezTo>
                    <a:cubicBezTo>
                      <a:pt x="1497" y="51"/>
                      <a:pt x="1498" y="51"/>
                      <a:pt x="1499" y="52"/>
                    </a:cubicBezTo>
                    <a:cubicBezTo>
                      <a:pt x="1500" y="53"/>
                      <a:pt x="1502" y="54"/>
                      <a:pt x="1504" y="55"/>
                    </a:cubicBezTo>
                    <a:cubicBezTo>
                      <a:pt x="1504" y="55"/>
                      <a:pt x="1504" y="55"/>
                      <a:pt x="1504" y="55"/>
                    </a:cubicBezTo>
                    <a:cubicBezTo>
                      <a:pt x="1506" y="56"/>
                      <a:pt x="1508" y="58"/>
                      <a:pt x="1510" y="60"/>
                    </a:cubicBezTo>
                    <a:cubicBezTo>
                      <a:pt x="1511" y="60"/>
                      <a:pt x="1512" y="61"/>
                      <a:pt x="1513" y="62"/>
                    </a:cubicBezTo>
                    <a:cubicBezTo>
                      <a:pt x="1513" y="63"/>
                      <a:pt x="1513" y="63"/>
                      <a:pt x="1514" y="63"/>
                    </a:cubicBezTo>
                    <a:cubicBezTo>
                      <a:pt x="1543" y="89"/>
                      <a:pt x="1570" y="128"/>
                      <a:pt x="1592" y="179"/>
                    </a:cubicBezTo>
                    <a:cubicBezTo>
                      <a:pt x="1593" y="180"/>
                      <a:pt x="1593" y="181"/>
                      <a:pt x="1594" y="182"/>
                    </a:cubicBezTo>
                    <a:cubicBezTo>
                      <a:pt x="1595" y="184"/>
                      <a:pt x="1596" y="186"/>
                      <a:pt x="1596" y="187"/>
                    </a:cubicBezTo>
                    <a:cubicBezTo>
                      <a:pt x="1598" y="190"/>
                      <a:pt x="1599" y="194"/>
                      <a:pt x="1600" y="197"/>
                    </a:cubicBezTo>
                    <a:cubicBezTo>
                      <a:pt x="1601" y="200"/>
                      <a:pt x="1602" y="203"/>
                      <a:pt x="1604" y="205"/>
                    </a:cubicBezTo>
                    <a:cubicBezTo>
                      <a:pt x="1604" y="206"/>
                      <a:pt x="1604" y="206"/>
                      <a:pt x="1604" y="206"/>
                    </a:cubicBezTo>
                    <a:cubicBezTo>
                      <a:pt x="1606" y="210"/>
                      <a:pt x="1607" y="213"/>
                      <a:pt x="1607" y="216"/>
                    </a:cubicBezTo>
                    <a:cubicBezTo>
                      <a:pt x="1608" y="217"/>
                      <a:pt x="1608" y="217"/>
                      <a:pt x="1608" y="217"/>
                    </a:cubicBezTo>
                    <a:cubicBezTo>
                      <a:pt x="1646" y="318"/>
                      <a:pt x="1669" y="453"/>
                      <a:pt x="1671" y="600"/>
                    </a:cubicBezTo>
                    <a:cubicBezTo>
                      <a:pt x="1671" y="628"/>
                      <a:pt x="1671" y="628"/>
                      <a:pt x="1671" y="628"/>
                    </a:cubicBezTo>
                    <a:cubicBezTo>
                      <a:pt x="1669" y="775"/>
                      <a:pt x="1646" y="909"/>
                      <a:pt x="1608" y="1011"/>
                    </a:cubicBezTo>
                    <a:cubicBezTo>
                      <a:pt x="1608" y="1011"/>
                      <a:pt x="1608" y="1011"/>
                      <a:pt x="1607" y="1012"/>
                    </a:cubicBezTo>
                    <a:cubicBezTo>
                      <a:pt x="1607" y="1014"/>
                      <a:pt x="1606" y="1018"/>
                      <a:pt x="1604" y="1022"/>
                    </a:cubicBezTo>
                    <a:cubicBezTo>
                      <a:pt x="1604" y="1022"/>
                      <a:pt x="1604" y="1022"/>
                      <a:pt x="1603" y="1023"/>
                    </a:cubicBezTo>
                    <a:cubicBezTo>
                      <a:pt x="1602" y="1026"/>
                      <a:pt x="1601" y="1028"/>
                      <a:pt x="1600" y="1031"/>
                    </a:cubicBezTo>
                    <a:cubicBezTo>
                      <a:pt x="1599" y="1034"/>
                      <a:pt x="1598" y="1038"/>
                      <a:pt x="1596" y="1040"/>
                    </a:cubicBezTo>
                    <a:cubicBezTo>
                      <a:pt x="1596" y="1042"/>
                      <a:pt x="1595" y="1044"/>
                      <a:pt x="1594" y="1046"/>
                    </a:cubicBezTo>
                    <a:cubicBezTo>
                      <a:pt x="1593" y="1047"/>
                      <a:pt x="1593" y="1048"/>
                      <a:pt x="1592" y="1049"/>
                    </a:cubicBezTo>
                    <a:cubicBezTo>
                      <a:pt x="1570" y="1100"/>
                      <a:pt x="1543" y="1139"/>
                      <a:pt x="1514" y="1164"/>
                    </a:cubicBezTo>
                    <a:cubicBezTo>
                      <a:pt x="1513" y="1165"/>
                      <a:pt x="1513" y="1165"/>
                      <a:pt x="1513" y="1166"/>
                    </a:cubicBezTo>
                    <a:cubicBezTo>
                      <a:pt x="1512" y="1167"/>
                      <a:pt x="1511" y="1168"/>
                      <a:pt x="1510" y="1168"/>
                    </a:cubicBezTo>
                    <a:cubicBezTo>
                      <a:pt x="1508" y="1170"/>
                      <a:pt x="1506" y="1172"/>
                      <a:pt x="1504" y="1172"/>
                    </a:cubicBezTo>
                    <a:cubicBezTo>
                      <a:pt x="1504" y="1173"/>
                      <a:pt x="1504" y="1173"/>
                      <a:pt x="1504" y="1173"/>
                    </a:cubicBezTo>
                    <a:cubicBezTo>
                      <a:pt x="1502" y="1174"/>
                      <a:pt x="1500" y="1175"/>
                      <a:pt x="1499" y="1176"/>
                    </a:cubicBezTo>
                    <a:cubicBezTo>
                      <a:pt x="1498" y="1177"/>
                      <a:pt x="1497" y="1177"/>
                      <a:pt x="1496" y="1178"/>
                    </a:cubicBezTo>
                    <a:cubicBezTo>
                      <a:pt x="1496" y="1178"/>
                      <a:pt x="1495" y="1179"/>
                      <a:pt x="1494" y="1180"/>
                    </a:cubicBezTo>
                    <a:cubicBezTo>
                      <a:pt x="1493" y="1180"/>
                      <a:pt x="1492" y="1181"/>
                      <a:pt x="1491" y="1181"/>
                    </a:cubicBezTo>
                    <a:cubicBezTo>
                      <a:pt x="1490" y="1181"/>
                      <a:pt x="1489" y="1182"/>
                      <a:pt x="1488" y="1182"/>
                    </a:cubicBezTo>
                    <a:cubicBezTo>
                      <a:pt x="1488" y="1183"/>
                      <a:pt x="1486" y="1183"/>
                      <a:pt x="1485" y="1184"/>
                    </a:cubicBezTo>
                    <a:cubicBezTo>
                      <a:pt x="1484" y="1184"/>
                      <a:pt x="1484" y="1185"/>
                      <a:pt x="1483" y="1185"/>
                    </a:cubicBezTo>
                    <a:cubicBezTo>
                      <a:pt x="1481" y="1186"/>
                      <a:pt x="1480" y="1186"/>
                      <a:pt x="1479" y="1187"/>
                    </a:cubicBezTo>
                    <a:cubicBezTo>
                      <a:pt x="1479" y="1187"/>
                      <a:pt x="1478" y="1187"/>
                      <a:pt x="1478" y="1188"/>
                    </a:cubicBezTo>
                    <a:cubicBezTo>
                      <a:pt x="1476" y="1188"/>
                      <a:pt x="1475" y="1189"/>
                      <a:pt x="1473" y="1189"/>
                    </a:cubicBezTo>
                    <a:cubicBezTo>
                      <a:pt x="1473" y="1189"/>
                      <a:pt x="1472" y="1190"/>
                      <a:pt x="1471" y="1190"/>
                    </a:cubicBezTo>
                    <a:cubicBezTo>
                      <a:pt x="1471" y="1190"/>
                      <a:pt x="1469" y="1190"/>
                      <a:pt x="1468" y="1190"/>
                    </a:cubicBezTo>
                    <a:cubicBezTo>
                      <a:pt x="1467" y="1190"/>
                      <a:pt x="1467" y="1191"/>
                      <a:pt x="1466" y="1191"/>
                    </a:cubicBezTo>
                    <a:cubicBezTo>
                      <a:pt x="1464" y="1191"/>
                      <a:pt x="1463" y="1191"/>
                      <a:pt x="1462" y="1192"/>
                    </a:cubicBezTo>
                    <a:cubicBezTo>
                      <a:pt x="1462" y="1192"/>
                      <a:pt x="1461" y="1192"/>
                      <a:pt x="1460" y="1192"/>
                    </a:cubicBezTo>
                    <a:cubicBezTo>
                      <a:pt x="1459" y="1192"/>
                      <a:pt x="1457" y="1193"/>
                      <a:pt x="1456" y="1193"/>
                    </a:cubicBezTo>
                    <a:cubicBezTo>
                      <a:pt x="1454" y="1193"/>
                      <a:pt x="1454" y="1193"/>
                      <a:pt x="1454" y="1193"/>
                    </a:cubicBezTo>
                    <a:cubicBezTo>
                      <a:pt x="1453" y="1193"/>
                      <a:pt x="1452" y="1193"/>
                      <a:pt x="1451" y="1194"/>
                    </a:cubicBezTo>
                    <a:cubicBezTo>
                      <a:pt x="1445" y="1194"/>
                      <a:pt x="1445" y="1194"/>
                      <a:pt x="1445" y="1194"/>
                    </a:cubicBezTo>
                    <a:cubicBezTo>
                      <a:pt x="1444" y="1194"/>
                      <a:pt x="1444" y="1194"/>
                      <a:pt x="1443" y="1194"/>
                    </a:cubicBezTo>
                    <a:cubicBezTo>
                      <a:pt x="1442" y="1194"/>
                      <a:pt x="1442" y="1194"/>
                      <a:pt x="1442" y="1194"/>
                    </a:cubicBezTo>
                    <a:cubicBezTo>
                      <a:pt x="1441" y="1194"/>
                      <a:pt x="1441" y="1194"/>
                      <a:pt x="1441" y="1194"/>
                    </a:cubicBezTo>
                    <a:cubicBezTo>
                      <a:pt x="1437" y="1194"/>
                      <a:pt x="1437" y="1194"/>
                      <a:pt x="1437" y="1194"/>
                    </a:cubicBezTo>
                    <a:cubicBezTo>
                      <a:pt x="1434" y="1193"/>
                      <a:pt x="1434" y="1193"/>
                      <a:pt x="1434" y="1193"/>
                    </a:cubicBezTo>
                    <a:cubicBezTo>
                      <a:pt x="607" y="1193"/>
                      <a:pt x="607" y="1193"/>
                      <a:pt x="607" y="1193"/>
                    </a:cubicBezTo>
                    <a:cubicBezTo>
                      <a:pt x="604" y="1194"/>
                      <a:pt x="604" y="1194"/>
                      <a:pt x="604" y="1194"/>
                    </a:cubicBezTo>
                    <a:cubicBezTo>
                      <a:pt x="600" y="1194"/>
                      <a:pt x="600" y="1194"/>
                      <a:pt x="600" y="1194"/>
                    </a:cubicBezTo>
                    <a:cubicBezTo>
                      <a:pt x="599" y="1194"/>
                      <a:pt x="599" y="1194"/>
                      <a:pt x="599" y="1194"/>
                    </a:cubicBezTo>
                    <a:cubicBezTo>
                      <a:pt x="599" y="1194"/>
                      <a:pt x="599" y="1194"/>
                      <a:pt x="598" y="1194"/>
                    </a:cubicBezTo>
                    <a:cubicBezTo>
                      <a:pt x="597" y="1194"/>
                      <a:pt x="597" y="1194"/>
                      <a:pt x="596" y="1194"/>
                    </a:cubicBezTo>
                    <a:cubicBezTo>
                      <a:pt x="590" y="1194"/>
                      <a:pt x="590" y="1194"/>
                      <a:pt x="590" y="1194"/>
                    </a:cubicBezTo>
                    <a:cubicBezTo>
                      <a:pt x="589" y="1193"/>
                      <a:pt x="588" y="1193"/>
                      <a:pt x="587" y="1193"/>
                    </a:cubicBezTo>
                    <a:cubicBezTo>
                      <a:pt x="584" y="1193"/>
                      <a:pt x="584" y="1193"/>
                      <a:pt x="584" y="1193"/>
                    </a:cubicBezTo>
                    <a:cubicBezTo>
                      <a:pt x="583" y="1193"/>
                      <a:pt x="582" y="1192"/>
                      <a:pt x="581" y="1192"/>
                    </a:cubicBezTo>
                    <a:cubicBezTo>
                      <a:pt x="580" y="1192"/>
                      <a:pt x="579" y="1192"/>
                      <a:pt x="579" y="1192"/>
                    </a:cubicBezTo>
                    <a:cubicBezTo>
                      <a:pt x="577" y="1191"/>
                      <a:pt x="576" y="1191"/>
                      <a:pt x="574" y="1191"/>
                    </a:cubicBezTo>
                    <a:cubicBezTo>
                      <a:pt x="574" y="1191"/>
                      <a:pt x="574" y="1190"/>
                      <a:pt x="573" y="1190"/>
                    </a:cubicBezTo>
                    <a:cubicBezTo>
                      <a:pt x="572" y="1190"/>
                      <a:pt x="570" y="1190"/>
                      <a:pt x="569" y="1190"/>
                    </a:cubicBezTo>
                    <a:cubicBezTo>
                      <a:pt x="568" y="1190"/>
                      <a:pt x="567" y="1189"/>
                      <a:pt x="567" y="1189"/>
                    </a:cubicBezTo>
                    <a:cubicBezTo>
                      <a:pt x="566" y="1189"/>
                      <a:pt x="565" y="1188"/>
                      <a:pt x="563" y="1188"/>
                    </a:cubicBezTo>
                    <a:cubicBezTo>
                      <a:pt x="563" y="1187"/>
                      <a:pt x="562" y="1187"/>
                      <a:pt x="561" y="1187"/>
                    </a:cubicBezTo>
                    <a:cubicBezTo>
                      <a:pt x="560" y="1186"/>
                      <a:pt x="559" y="1186"/>
                      <a:pt x="557" y="1185"/>
                    </a:cubicBezTo>
                    <a:cubicBezTo>
                      <a:pt x="557" y="1185"/>
                      <a:pt x="557" y="1184"/>
                      <a:pt x="556" y="1184"/>
                    </a:cubicBezTo>
                    <a:cubicBezTo>
                      <a:pt x="555" y="1183"/>
                      <a:pt x="553" y="1183"/>
                      <a:pt x="552" y="1182"/>
                    </a:cubicBezTo>
                    <a:cubicBezTo>
                      <a:pt x="551" y="1182"/>
                      <a:pt x="550" y="1181"/>
                      <a:pt x="549" y="1181"/>
                    </a:cubicBezTo>
                    <a:cubicBezTo>
                      <a:pt x="549" y="1181"/>
                      <a:pt x="548" y="1180"/>
                      <a:pt x="547" y="1180"/>
                    </a:cubicBezTo>
                    <a:cubicBezTo>
                      <a:pt x="546" y="1179"/>
                      <a:pt x="545" y="1178"/>
                      <a:pt x="544" y="1178"/>
                    </a:cubicBezTo>
                    <a:cubicBezTo>
                      <a:pt x="543" y="1177"/>
                      <a:pt x="542" y="1177"/>
                      <a:pt x="541" y="1176"/>
                    </a:cubicBezTo>
                    <a:cubicBezTo>
                      <a:pt x="540" y="1175"/>
                      <a:pt x="539" y="1174"/>
                      <a:pt x="537" y="1173"/>
                    </a:cubicBezTo>
                    <a:cubicBezTo>
                      <a:pt x="537" y="1173"/>
                      <a:pt x="537" y="1172"/>
                      <a:pt x="536" y="1172"/>
                    </a:cubicBezTo>
                    <a:cubicBezTo>
                      <a:pt x="534" y="1172"/>
                      <a:pt x="532" y="1170"/>
                      <a:pt x="531" y="1168"/>
                    </a:cubicBezTo>
                    <a:cubicBezTo>
                      <a:pt x="530" y="1168"/>
                      <a:pt x="529" y="1167"/>
                      <a:pt x="528" y="1166"/>
                    </a:cubicBezTo>
                    <a:cubicBezTo>
                      <a:pt x="528" y="1165"/>
                      <a:pt x="527" y="1165"/>
                      <a:pt x="526" y="1164"/>
                    </a:cubicBezTo>
                    <a:cubicBezTo>
                      <a:pt x="504" y="1145"/>
                      <a:pt x="483" y="1118"/>
                      <a:pt x="465" y="1083"/>
                    </a:cubicBezTo>
                    <a:cubicBezTo>
                      <a:pt x="458" y="1093"/>
                      <a:pt x="449" y="1102"/>
                      <a:pt x="439" y="1109"/>
                    </a:cubicBezTo>
                    <a:cubicBezTo>
                      <a:pt x="482" y="1184"/>
                      <a:pt x="537" y="1228"/>
                      <a:pt x="596" y="1228"/>
                    </a:cubicBezTo>
                    <a:cubicBezTo>
                      <a:pt x="600" y="1228"/>
                      <a:pt x="606" y="1228"/>
                      <a:pt x="610" y="1227"/>
                    </a:cubicBezTo>
                    <a:cubicBezTo>
                      <a:pt x="1430" y="1227"/>
                      <a:pt x="1430" y="1227"/>
                      <a:pt x="1430" y="1227"/>
                    </a:cubicBezTo>
                    <a:cubicBezTo>
                      <a:pt x="1435" y="1228"/>
                      <a:pt x="1440" y="1228"/>
                      <a:pt x="1445" y="1228"/>
                    </a:cubicBezTo>
                    <a:cubicBezTo>
                      <a:pt x="1591" y="1228"/>
                      <a:pt x="1707" y="959"/>
                      <a:pt x="1707" y="614"/>
                    </a:cubicBezTo>
                    <a:cubicBezTo>
                      <a:pt x="1707" y="269"/>
                      <a:pt x="1591" y="0"/>
                      <a:pt x="1445" y="0"/>
                    </a:cubicBezTo>
                    <a:close/>
                    <a:moveTo>
                      <a:pt x="444" y="319"/>
                    </a:moveTo>
                    <a:cubicBezTo>
                      <a:pt x="437" y="346"/>
                      <a:pt x="432" y="375"/>
                      <a:pt x="427" y="405"/>
                    </a:cubicBezTo>
                    <a:cubicBezTo>
                      <a:pt x="451" y="423"/>
                      <a:pt x="451" y="423"/>
                      <a:pt x="451" y="423"/>
                    </a:cubicBezTo>
                    <a:cubicBezTo>
                      <a:pt x="458" y="422"/>
                      <a:pt x="465" y="422"/>
                      <a:pt x="471" y="422"/>
                    </a:cubicBezTo>
                    <a:cubicBezTo>
                      <a:pt x="477" y="422"/>
                      <a:pt x="483" y="422"/>
                      <a:pt x="489" y="423"/>
                    </a:cubicBezTo>
                    <a:cubicBezTo>
                      <a:pt x="516" y="403"/>
                      <a:pt x="516" y="403"/>
                      <a:pt x="516" y="403"/>
                    </a:cubicBezTo>
                    <a:cubicBezTo>
                      <a:pt x="535" y="409"/>
                      <a:pt x="535" y="409"/>
                      <a:pt x="535" y="409"/>
                    </a:cubicBezTo>
                    <a:cubicBezTo>
                      <a:pt x="564" y="418"/>
                      <a:pt x="593" y="435"/>
                      <a:pt x="616" y="456"/>
                    </a:cubicBezTo>
                    <a:cubicBezTo>
                      <a:pt x="630" y="470"/>
                      <a:pt x="630" y="470"/>
                      <a:pt x="630" y="470"/>
                    </a:cubicBezTo>
                    <a:cubicBezTo>
                      <a:pt x="627" y="502"/>
                      <a:pt x="627" y="502"/>
                      <a:pt x="627" y="502"/>
                    </a:cubicBezTo>
                    <a:cubicBezTo>
                      <a:pt x="631" y="509"/>
                      <a:pt x="635" y="515"/>
                      <a:pt x="639" y="522"/>
                    </a:cubicBezTo>
                    <a:cubicBezTo>
                      <a:pt x="643" y="528"/>
                      <a:pt x="646" y="534"/>
                      <a:pt x="648" y="540"/>
                    </a:cubicBezTo>
                    <a:cubicBezTo>
                      <a:pt x="679" y="555"/>
                      <a:pt x="679" y="555"/>
                      <a:pt x="679" y="555"/>
                    </a:cubicBezTo>
                    <a:cubicBezTo>
                      <a:pt x="683" y="573"/>
                      <a:pt x="683" y="573"/>
                      <a:pt x="683" y="573"/>
                    </a:cubicBezTo>
                    <a:cubicBezTo>
                      <a:pt x="689" y="602"/>
                      <a:pt x="690" y="633"/>
                      <a:pt x="684" y="664"/>
                    </a:cubicBezTo>
                    <a:cubicBezTo>
                      <a:pt x="680" y="684"/>
                      <a:pt x="680" y="684"/>
                      <a:pt x="680" y="684"/>
                    </a:cubicBezTo>
                    <a:cubicBezTo>
                      <a:pt x="649" y="698"/>
                      <a:pt x="649" y="698"/>
                      <a:pt x="649" y="698"/>
                    </a:cubicBezTo>
                    <a:cubicBezTo>
                      <a:pt x="643" y="712"/>
                      <a:pt x="636" y="725"/>
                      <a:pt x="627" y="737"/>
                    </a:cubicBezTo>
                    <a:cubicBezTo>
                      <a:pt x="631" y="772"/>
                      <a:pt x="631" y="772"/>
                      <a:pt x="631" y="772"/>
                    </a:cubicBezTo>
                    <a:cubicBezTo>
                      <a:pt x="615" y="786"/>
                      <a:pt x="615" y="786"/>
                      <a:pt x="615" y="786"/>
                    </a:cubicBezTo>
                    <a:cubicBezTo>
                      <a:pt x="604" y="794"/>
                      <a:pt x="593" y="804"/>
                      <a:pt x="579" y="812"/>
                    </a:cubicBezTo>
                    <a:cubicBezTo>
                      <a:pt x="578" y="812"/>
                      <a:pt x="578" y="812"/>
                      <a:pt x="578" y="812"/>
                    </a:cubicBezTo>
                    <a:cubicBezTo>
                      <a:pt x="577" y="813"/>
                      <a:pt x="577" y="813"/>
                      <a:pt x="577" y="813"/>
                    </a:cubicBezTo>
                    <a:cubicBezTo>
                      <a:pt x="563" y="820"/>
                      <a:pt x="551" y="826"/>
                      <a:pt x="540" y="829"/>
                    </a:cubicBezTo>
                    <a:cubicBezTo>
                      <a:pt x="521" y="836"/>
                      <a:pt x="521" y="836"/>
                      <a:pt x="521" y="836"/>
                    </a:cubicBezTo>
                    <a:cubicBezTo>
                      <a:pt x="492" y="816"/>
                      <a:pt x="492" y="816"/>
                      <a:pt x="492" y="816"/>
                    </a:cubicBezTo>
                    <a:cubicBezTo>
                      <a:pt x="485" y="817"/>
                      <a:pt x="478" y="817"/>
                      <a:pt x="471" y="817"/>
                    </a:cubicBezTo>
                    <a:cubicBezTo>
                      <a:pt x="463" y="817"/>
                      <a:pt x="455" y="817"/>
                      <a:pt x="447" y="816"/>
                    </a:cubicBezTo>
                    <a:cubicBezTo>
                      <a:pt x="428" y="829"/>
                      <a:pt x="428" y="829"/>
                      <a:pt x="428" y="829"/>
                    </a:cubicBezTo>
                    <a:cubicBezTo>
                      <a:pt x="433" y="862"/>
                      <a:pt x="439" y="894"/>
                      <a:pt x="447" y="923"/>
                    </a:cubicBezTo>
                    <a:cubicBezTo>
                      <a:pt x="472" y="945"/>
                      <a:pt x="488" y="977"/>
                      <a:pt x="488" y="1013"/>
                    </a:cubicBezTo>
                    <a:cubicBezTo>
                      <a:pt x="488" y="1021"/>
                      <a:pt x="487" y="1029"/>
                      <a:pt x="486" y="1036"/>
                    </a:cubicBezTo>
                    <a:cubicBezTo>
                      <a:pt x="518" y="1107"/>
                      <a:pt x="559" y="1151"/>
                      <a:pt x="604" y="1154"/>
                    </a:cubicBezTo>
                    <a:cubicBezTo>
                      <a:pt x="615" y="1154"/>
                      <a:pt x="615" y="1154"/>
                      <a:pt x="615" y="1154"/>
                    </a:cubicBezTo>
                    <a:cubicBezTo>
                      <a:pt x="721" y="1146"/>
                      <a:pt x="808" y="907"/>
                      <a:pt x="808" y="614"/>
                    </a:cubicBezTo>
                    <a:cubicBezTo>
                      <a:pt x="808" y="317"/>
                      <a:pt x="718" y="76"/>
                      <a:pt x="609" y="76"/>
                    </a:cubicBezTo>
                    <a:cubicBezTo>
                      <a:pt x="562" y="76"/>
                      <a:pt x="519" y="121"/>
                      <a:pt x="485" y="196"/>
                    </a:cubicBezTo>
                    <a:moveTo>
                      <a:pt x="345" y="800"/>
                    </a:moveTo>
                    <a:cubicBezTo>
                      <a:pt x="350" y="833"/>
                      <a:pt x="355" y="864"/>
                      <a:pt x="362" y="894"/>
                    </a:cubicBezTo>
                    <a:cubicBezTo>
                      <a:pt x="364" y="894"/>
                      <a:pt x="367" y="894"/>
                      <a:pt x="370" y="894"/>
                    </a:cubicBezTo>
                    <a:cubicBezTo>
                      <a:pt x="380" y="894"/>
                      <a:pt x="390" y="896"/>
                      <a:pt x="400" y="898"/>
                    </a:cubicBezTo>
                    <a:cubicBezTo>
                      <a:pt x="394" y="874"/>
                      <a:pt x="389" y="849"/>
                      <a:pt x="385" y="823"/>
                    </a:cubicBezTo>
                    <a:cubicBezTo>
                      <a:pt x="371" y="816"/>
                      <a:pt x="358" y="809"/>
                      <a:pt x="345" y="800"/>
                    </a:cubicBezTo>
                    <a:close/>
                    <a:moveTo>
                      <a:pt x="226" y="1016"/>
                    </a:moveTo>
                    <a:cubicBezTo>
                      <a:pt x="215" y="1016"/>
                      <a:pt x="206" y="1025"/>
                      <a:pt x="206" y="1036"/>
                    </a:cubicBezTo>
                    <a:cubicBezTo>
                      <a:pt x="206" y="1149"/>
                      <a:pt x="206" y="1149"/>
                      <a:pt x="206" y="1149"/>
                    </a:cubicBezTo>
                    <a:cubicBezTo>
                      <a:pt x="206" y="1160"/>
                      <a:pt x="215" y="1169"/>
                      <a:pt x="226" y="1169"/>
                    </a:cubicBezTo>
                    <a:cubicBezTo>
                      <a:pt x="237" y="1169"/>
                      <a:pt x="245" y="1160"/>
                      <a:pt x="245" y="1149"/>
                    </a:cubicBezTo>
                    <a:cubicBezTo>
                      <a:pt x="245" y="1036"/>
                      <a:pt x="245" y="1036"/>
                      <a:pt x="245" y="1036"/>
                    </a:cubicBezTo>
                    <a:cubicBezTo>
                      <a:pt x="245" y="1025"/>
                      <a:pt x="237" y="1016"/>
                      <a:pt x="226" y="1016"/>
                    </a:cubicBezTo>
                    <a:close/>
                    <a:moveTo>
                      <a:pt x="79" y="793"/>
                    </a:moveTo>
                    <a:cubicBezTo>
                      <a:pt x="68" y="793"/>
                      <a:pt x="59" y="801"/>
                      <a:pt x="59" y="812"/>
                    </a:cubicBezTo>
                    <a:cubicBezTo>
                      <a:pt x="59" y="926"/>
                      <a:pt x="59" y="926"/>
                      <a:pt x="59" y="926"/>
                    </a:cubicBezTo>
                    <a:cubicBezTo>
                      <a:pt x="59" y="936"/>
                      <a:pt x="68" y="945"/>
                      <a:pt x="79" y="945"/>
                    </a:cubicBezTo>
                    <a:cubicBezTo>
                      <a:pt x="90" y="945"/>
                      <a:pt x="98" y="936"/>
                      <a:pt x="98" y="926"/>
                    </a:cubicBezTo>
                    <a:cubicBezTo>
                      <a:pt x="98" y="812"/>
                      <a:pt x="98" y="812"/>
                      <a:pt x="98" y="812"/>
                    </a:cubicBezTo>
                    <a:cubicBezTo>
                      <a:pt x="98" y="801"/>
                      <a:pt x="90" y="793"/>
                      <a:pt x="79" y="793"/>
                    </a:cubicBezTo>
                    <a:close/>
                    <a:moveTo>
                      <a:pt x="79" y="291"/>
                    </a:moveTo>
                    <a:cubicBezTo>
                      <a:pt x="35" y="291"/>
                      <a:pt x="0" y="327"/>
                      <a:pt x="0" y="370"/>
                    </a:cubicBezTo>
                    <a:cubicBezTo>
                      <a:pt x="0" y="414"/>
                      <a:pt x="35" y="449"/>
                      <a:pt x="79" y="449"/>
                    </a:cubicBezTo>
                    <a:cubicBezTo>
                      <a:pt x="122" y="449"/>
                      <a:pt x="158" y="414"/>
                      <a:pt x="158" y="370"/>
                    </a:cubicBezTo>
                    <a:cubicBezTo>
                      <a:pt x="158" y="327"/>
                      <a:pt x="122" y="291"/>
                      <a:pt x="79" y="291"/>
                    </a:cubicBezTo>
                    <a:close/>
                    <a:moveTo>
                      <a:pt x="79" y="410"/>
                    </a:moveTo>
                    <a:cubicBezTo>
                      <a:pt x="57" y="410"/>
                      <a:pt x="39" y="392"/>
                      <a:pt x="39" y="370"/>
                    </a:cubicBezTo>
                    <a:cubicBezTo>
                      <a:pt x="39" y="349"/>
                      <a:pt x="57" y="331"/>
                      <a:pt x="79" y="331"/>
                    </a:cubicBezTo>
                    <a:cubicBezTo>
                      <a:pt x="101" y="331"/>
                      <a:pt x="118" y="349"/>
                      <a:pt x="118" y="370"/>
                    </a:cubicBezTo>
                    <a:cubicBezTo>
                      <a:pt x="118" y="392"/>
                      <a:pt x="101" y="410"/>
                      <a:pt x="79" y="410"/>
                    </a:cubicBezTo>
                    <a:close/>
                    <a:moveTo>
                      <a:pt x="226" y="67"/>
                    </a:moveTo>
                    <a:cubicBezTo>
                      <a:pt x="182" y="67"/>
                      <a:pt x="147" y="103"/>
                      <a:pt x="147" y="146"/>
                    </a:cubicBezTo>
                    <a:cubicBezTo>
                      <a:pt x="147" y="190"/>
                      <a:pt x="182" y="225"/>
                      <a:pt x="226" y="225"/>
                    </a:cubicBezTo>
                    <a:cubicBezTo>
                      <a:pt x="269" y="225"/>
                      <a:pt x="305" y="190"/>
                      <a:pt x="305" y="146"/>
                    </a:cubicBezTo>
                    <a:cubicBezTo>
                      <a:pt x="305" y="103"/>
                      <a:pt x="269" y="67"/>
                      <a:pt x="226" y="67"/>
                    </a:cubicBezTo>
                    <a:close/>
                    <a:moveTo>
                      <a:pt x="226" y="186"/>
                    </a:moveTo>
                    <a:cubicBezTo>
                      <a:pt x="204" y="186"/>
                      <a:pt x="186" y="168"/>
                      <a:pt x="186" y="146"/>
                    </a:cubicBezTo>
                    <a:cubicBezTo>
                      <a:pt x="186" y="125"/>
                      <a:pt x="204" y="107"/>
                      <a:pt x="226" y="107"/>
                    </a:cubicBezTo>
                    <a:cubicBezTo>
                      <a:pt x="248" y="107"/>
                      <a:pt x="265" y="125"/>
                      <a:pt x="265" y="146"/>
                    </a:cubicBezTo>
                    <a:cubicBezTo>
                      <a:pt x="265" y="168"/>
                      <a:pt x="248" y="186"/>
                      <a:pt x="226" y="186"/>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sp>
            <p:nvSpPr>
              <p:cNvPr id="35" name="Freeform 71">
                <a:extLst>
                  <a:ext uri="{FF2B5EF4-FFF2-40B4-BE49-F238E27FC236}">
                    <a16:creationId xmlns:a16="http://schemas.microsoft.com/office/drawing/2014/main" id="{425DDCF0-1110-9D00-A55C-6F1D2FACEAA1}"/>
                  </a:ext>
                </a:extLst>
              </p:cNvPr>
              <p:cNvSpPr>
                <a:spLocks noEditPoints="1"/>
              </p:cNvSpPr>
              <p:nvPr/>
            </p:nvSpPr>
            <p:spPr bwMode="auto">
              <a:xfrm>
                <a:off x="1323199" y="2218790"/>
                <a:ext cx="1161955" cy="862417"/>
              </a:xfrm>
              <a:custGeom>
                <a:avLst/>
                <a:gdLst>
                  <a:gd name="T0" fmla="*/ 983 w 1623"/>
                  <a:gd name="T1" fmla="*/ 54 h 1205"/>
                  <a:gd name="T2" fmla="*/ 985 w 1623"/>
                  <a:gd name="T3" fmla="*/ 1134 h 1205"/>
                  <a:gd name="T4" fmla="*/ 1356 w 1623"/>
                  <a:gd name="T5" fmla="*/ 594 h 1205"/>
                  <a:gd name="T6" fmla="*/ 922 w 1623"/>
                  <a:gd name="T7" fmla="*/ 54 h 1205"/>
                  <a:gd name="T8" fmla="*/ 868 w 1623"/>
                  <a:gd name="T9" fmla="*/ 594 h 1205"/>
                  <a:gd name="T10" fmla="*/ 924 w 1623"/>
                  <a:gd name="T11" fmla="*/ 1134 h 1205"/>
                  <a:gd name="T12" fmla="*/ 922 w 1623"/>
                  <a:gd name="T13" fmla="*/ 54 h 1205"/>
                  <a:gd name="T14" fmla="*/ 1567 w 1623"/>
                  <a:gd name="T15" fmla="*/ 201 h 1205"/>
                  <a:gd name="T16" fmla="*/ 1260 w 1623"/>
                  <a:gd name="T17" fmla="*/ 54 h 1205"/>
                  <a:gd name="T18" fmla="*/ 1262 w 1623"/>
                  <a:gd name="T19" fmla="*/ 1133 h 1205"/>
                  <a:gd name="T20" fmla="*/ 1442 w 1623"/>
                  <a:gd name="T21" fmla="*/ 1134 h 1205"/>
                  <a:gd name="T22" fmla="*/ 1567 w 1623"/>
                  <a:gd name="T23" fmla="*/ 987 h 1205"/>
                  <a:gd name="T24" fmla="*/ 1623 w 1623"/>
                  <a:gd name="T25" fmla="*/ 593 h 1205"/>
                  <a:gd name="T26" fmla="*/ 226 w 1623"/>
                  <a:gd name="T27" fmla="*/ 491 h 1205"/>
                  <a:gd name="T28" fmla="*/ 245 w 1623"/>
                  <a:gd name="T29" fmla="*/ 358 h 1205"/>
                  <a:gd name="T30" fmla="*/ 206 w 1623"/>
                  <a:gd name="T31" fmla="*/ 358 h 1205"/>
                  <a:gd name="T32" fmla="*/ 226 w 1623"/>
                  <a:gd name="T33" fmla="*/ 491 h 1205"/>
                  <a:gd name="T34" fmla="*/ 389 w 1623"/>
                  <a:gd name="T35" fmla="*/ 255 h 1205"/>
                  <a:gd name="T36" fmla="*/ 370 w 1623"/>
                  <a:gd name="T37" fmla="*/ 123 h 1205"/>
                  <a:gd name="T38" fmla="*/ 350 w 1623"/>
                  <a:gd name="T39" fmla="*/ 255 h 1205"/>
                  <a:gd name="T40" fmla="*/ 79 w 1623"/>
                  <a:gd name="T41" fmla="*/ 153 h 1205"/>
                  <a:gd name="T42" fmla="*/ 98 w 1623"/>
                  <a:gd name="T43" fmla="*/ 20 h 1205"/>
                  <a:gd name="T44" fmla="*/ 59 w 1623"/>
                  <a:gd name="T45" fmla="*/ 20 h 1205"/>
                  <a:gd name="T46" fmla="*/ 79 w 1623"/>
                  <a:gd name="T47" fmla="*/ 153 h 1205"/>
                  <a:gd name="T48" fmla="*/ 147 w 1623"/>
                  <a:gd name="T49" fmla="*/ 787 h 1205"/>
                  <a:gd name="T50" fmla="*/ 305 w 1623"/>
                  <a:gd name="T51" fmla="*/ 787 h 1205"/>
                  <a:gd name="T52" fmla="*/ 226 w 1623"/>
                  <a:gd name="T53" fmla="*/ 827 h 1205"/>
                  <a:gd name="T54" fmla="*/ 226 w 1623"/>
                  <a:gd name="T55" fmla="*/ 748 h 1205"/>
                  <a:gd name="T56" fmla="*/ 226 w 1623"/>
                  <a:gd name="T57" fmla="*/ 827 h 1205"/>
                  <a:gd name="T58" fmla="*/ 291 w 1623"/>
                  <a:gd name="T59" fmla="*/ 994 h 1205"/>
                  <a:gd name="T60" fmla="*/ 449 w 1623"/>
                  <a:gd name="T61" fmla="*/ 994 h 1205"/>
                  <a:gd name="T62" fmla="*/ 370 w 1623"/>
                  <a:gd name="T63" fmla="*/ 1033 h 1205"/>
                  <a:gd name="T64" fmla="*/ 370 w 1623"/>
                  <a:gd name="T65" fmla="*/ 954 h 1205"/>
                  <a:gd name="T66" fmla="*/ 370 w 1623"/>
                  <a:gd name="T67" fmla="*/ 1033 h 1205"/>
                  <a:gd name="T68" fmla="*/ 0 w 1623"/>
                  <a:gd name="T69" fmla="*/ 1126 h 1205"/>
                  <a:gd name="T70" fmla="*/ 158 w 1623"/>
                  <a:gd name="T71" fmla="*/ 1126 h 1205"/>
                  <a:gd name="T72" fmla="*/ 79 w 1623"/>
                  <a:gd name="T73" fmla="*/ 1165 h 1205"/>
                  <a:gd name="T74" fmla="*/ 79 w 1623"/>
                  <a:gd name="T75" fmla="*/ 1086 h 1205"/>
                  <a:gd name="T76" fmla="*/ 79 w 1623"/>
                  <a:gd name="T77" fmla="*/ 1165 h 1205"/>
                  <a:gd name="T78" fmla="*/ 605 w 1623"/>
                  <a:gd name="T79" fmla="*/ 523 h 1205"/>
                  <a:gd name="T80" fmla="*/ 589 w 1623"/>
                  <a:gd name="T81" fmla="*/ 466 h 1205"/>
                  <a:gd name="T82" fmla="*/ 499 w 1623"/>
                  <a:gd name="T83" fmla="*/ 445 h 1205"/>
                  <a:gd name="T84" fmla="*/ 417 w 1623"/>
                  <a:gd name="T85" fmla="*/ 427 h 1205"/>
                  <a:gd name="T86" fmla="*/ 351 w 1623"/>
                  <a:gd name="T87" fmla="*/ 466 h 1205"/>
                  <a:gd name="T88" fmla="*/ 324 w 1623"/>
                  <a:gd name="T89" fmla="*/ 548 h 1205"/>
                  <a:gd name="T90" fmla="*/ 297 w 1623"/>
                  <a:gd name="T91" fmla="*/ 638 h 1205"/>
                  <a:gd name="T92" fmla="*/ 337 w 1623"/>
                  <a:gd name="T93" fmla="*/ 679 h 1205"/>
                  <a:gd name="T94" fmla="*/ 350 w 1623"/>
                  <a:gd name="T95" fmla="*/ 734 h 1205"/>
                  <a:gd name="T96" fmla="*/ 437 w 1623"/>
                  <a:gd name="T97" fmla="*/ 755 h 1205"/>
                  <a:gd name="T98" fmla="*/ 527 w 1623"/>
                  <a:gd name="T99" fmla="*/ 773 h 1205"/>
                  <a:gd name="T100" fmla="*/ 590 w 1623"/>
                  <a:gd name="T101" fmla="*/ 736 h 1205"/>
                  <a:gd name="T102" fmla="*/ 618 w 1623"/>
                  <a:gd name="T103" fmla="*/ 649 h 1205"/>
                  <a:gd name="T104" fmla="*/ 644 w 1623"/>
                  <a:gd name="T105" fmla="*/ 563 h 1205"/>
                  <a:gd name="T106" fmla="*/ 509 w 1623"/>
                  <a:gd name="T107" fmla="*/ 670 h 1205"/>
                  <a:gd name="T108" fmla="*/ 430 w 1623"/>
                  <a:gd name="T109" fmla="*/ 532 h 1205"/>
                  <a:gd name="T110" fmla="*/ 538 w 1623"/>
                  <a:gd name="T111" fmla="*/ 561 h 1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623" h="1205">
                    <a:moveTo>
                      <a:pt x="1197" y="54"/>
                    </a:moveTo>
                    <a:cubicBezTo>
                      <a:pt x="983" y="54"/>
                      <a:pt x="983" y="54"/>
                      <a:pt x="983" y="54"/>
                    </a:cubicBezTo>
                    <a:cubicBezTo>
                      <a:pt x="1078" y="93"/>
                      <a:pt x="1141" y="320"/>
                      <a:pt x="1141" y="594"/>
                    </a:cubicBezTo>
                    <a:cubicBezTo>
                      <a:pt x="1141" y="867"/>
                      <a:pt x="1079" y="1093"/>
                      <a:pt x="985" y="1134"/>
                    </a:cubicBezTo>
                    <a:cubicBezTo>
                      <a:pt x="1199" y="1134"/>
                      <a:pt x="1199" y="1134"/>
                      <a:pt x="1199" y="1134"/>
                    </a:cubicBezTo>
                    <a:cubicBezTo>
                      <a:pt x="1294" y="1093"/>
                      <a:pt x="1356" y="867"/>
                      <a:pt x="1356" y="594"/>
                    </a:cubicBezTo>
                    <a:cubicBezTo>
                      <a:pt x="1356" y="320"/>
                      <a:pt x="1293" y="93"/>
                      <a:pt x="1197" y="54"/>
                    </a:cubicBezTo>
                    <a:close/>
                    <a:moveTo>
                      <a:pt x="922" y="54"/>
                    </a:moveTo>
                    <a:cubicBezTo>
                      <a:pt x="714" y="54"/>
                      <a:pt x="714" y="54"/>
                      <a:pt x="714" y="54"/>
                    </a:cubicBezTo>
                    <a:cubicBezTo>
                      <a:pt x="806" y="93"/>
                      <a:pt x="868" y="320"/>
                      <a:pt x="868" y="594"/>
                    </a:cubicBezTo>
                    <a:cubicBezTo>
                      <a:pt x="868" y="867"/>
                      <a:pt x="807" y="1093"/>
                      <a:pt x="716" y="1134"/>
                    </a:cubicBezTo>
                    <a:cubicBezTo>
                      <a:pt x="924" y="1134"/>
                      <a:pt x="924" y="1134"/>
                      <a:pt x="924" y="1134"/>
                    </a:cubicBezTo>
                    <a:cubicBezTo>
                      <a:pt x="1016" y="1093"/>
                      <a:pt x="1077" y="867"/>
                      <a:pt x="1077" y="594"/>
                    </a:cubicBezTo>
                    <a:cubicBezTo>
                      <a:pt x="1077" y="320"/>
                      <a:pt x="1015" y="93"/>
                      <a:pt x="922" y="54"/>
                    </a:cubicBezTo>
                    <a:close/>
                    <a:moveTo>
                      <a:pt x="1584" y="250"/>
                    </a:moveTo>
                    <a:cubicBezTo>
                      <a:pt x="1579" y="233"/>
                      <a:pt x="1574" y="216"/>
                      <a:pt x="1567" y="201"/>
                    </a:cubicBezTo>
                    <a:cubicBezTo>
                      <a:pt x="1532" y="110"/>
                      <a:pt x="1485" y="54"/>
                      <a:pt x="1445" y="54"/>
                    </a:cubicBezTo>
                    <a:cubicBezTo>
                      <a:pt x="1260" y="54"/>
                      <a:pt x="1260" y="54"/>
                      <a:pt x="1260" y="54"/>
                    </a:cubicBezTo>
                    <a:cubicBezTo>
                      <a:pt x="1352" y="93"/>
                      <a:pt x="1414" y="320"/>
                      <a:pt x="1414" y="593"/>
                    </a:cubicBezTo>
                    <a:cubicBezTo>
                      <a:pt x="1414" y="866"/>
                      <a:pt x="1353" y="1092"/>
                      <a:pt x="1262" y="1133"/>
                    </a:cubicBezTo>
                    <a:cubicBezTo>
                      <a:pt x="1439" y="1133"/>
                      <a:pt x="1439" y="1133"/>
                      <a:pt x="1439" y="1133"/>
                    </a:cubicBezTo>
                    <a:cubicBezTo>
                      <a:pt x="1442" y="1134"/>
                      <a:pt x="1442" y="1134"/>
                      <a:pt x="1442" y="1134"/>
                    </a:cubicBezTo>
                    <a:cubicBezTo>
                      <a:pt x="1445" y="1134"/>
                      <a:pt x="1445" y="1134"/>
                      <a:pt x="1445" y="1134"/>
                    </a:cubicBezTo>
                    <a:cubicBezTo>
                      <a:pt x="1485" y="1134"/>
                      <a:pt x="1532" y="1078"/>
                      <a:pt x="1567" y="987"/>
                    </a:cubicBezTo>
                    <a:cubicBezTo>
                      <a:pt x="1574" y="972"/>
                      <a:pt x="1579" y="956"/>
                      <a:pt x="1584" y="939"/>
                    </a:cubicBezTo>
                    <a:cubicBezTo>
                      <a:pt x="1609" y="844"/>
                      <a:pt x="1623" y="724"/>
                      <a:pt x="1623" y="593"/>
                    </a:cubicBezTo>
                    <a:cubicBezTo>
                      <a:pt x="1623" y="464"/>
                      <a:pt x="1609" y="344"/>
                      <a:pt x="1584" y="250"/>
                    </a:cubicBezTo>
                    <a:close/>
                    <a:moveTo>
                      <a:pt x="226" y="491"/>
                    </a:moveTo>
                    <a:cubicBezTo>
                      <a:pt x="237" y="491"/>
                      <a:pt x="245" y="482"/>
                      <a:pt x="245" y="471"/>
                    </a:cubicBezTo>
                    <a:cubicBezTo>
                      <a:pt x="245" y="358"/>
                      <a:pt x="245" y="358"/>
                      <a:pt x="245" y="358"/>
                    </a:cubicBezTo>
                    <a:cubicBezTo>
                      <a:pt x="245" y="347"/>
                      <a:pt x="237" y="339"/>
                      <a:pt x="226" y="339"/>
                    </a:cubicBezTo>
                    <a:cubicBezTo>
                      <a:pt x="215" y="339"/>
                      <a:pt x="206" y="347"/>
                      <a:pt x="206" y="358"/>
                    </a:cubicBezTo>
                    <a:cubicBezTo>
                      <a:pt x="206" y="471"/>
                      <a:pt x="206" y="471"/>
                      <a:pt x="206" y="471"/>
                    </a:cubicBezTo>
                    <a:cubicBezTo>
                      <a:pt x="206" y="482"/>
                      <a:pt x="215" y="491"/>
                      <a:pt x="226" y="491"/>
                    </a:cubicBezTo>
                    <a:close/>
                    <a:moveTo>
                      <a:pt x="370" y="275"/>
                    </a:moveTo>
                    <a:cubicBezTo>
                      <a:pt x="380" y="275"/>
                      <a:pt x="389" y="266"/>
                      <a:pt x="389" y="255"/>
                    </a:cubicBezTo>
                    <a:cubicBezTo>
                      <a:pt x="389" y="142"/>
                      <a:pt x="389" y="142"/>
                      <a:pt x="389" y="142"/>
                    </a:cubicBezTo>
                    <a:cubicBezTo>
                      <a:pt x="389" y="131"/>
                      <a:pt x="380" y="123"/>
                      <a:pt x="370" y="123"/>
                    </a:cubicBezTo>
                    <a:cubicBezTo>
                      <a:pt x="359" y="123"/>
                      <a:pt x="350" y="131"/>
                      <a:pt x="350" y="142"/>
                    </a:cubicBezTo>
                    <a:cubicBezTo>
                      <a:pt x="350" y="255"/>
                      <a:pt x="350" y="255"/>
                      <a:pt x="350" y="255"/>
                    </a:cubicBezTo>
                    <a:cubicBezTo>
                      <a:pt x="350" y="266"/>
                      <a:pt x="359" y="275"/>
                      <a:pt x="370" y="275"/>
                    </a:cubicBezTo>
                    <a:close/>
                    <a:moveTo>
                      <a:pt x="79" y="153"/>
                    </a:moveTo>
                    <a:cubicBezTo>
                      <a:pt x="90" y="153"/>
                      <a:pt x="98" y="144"/>
                      <a:pt x="98" y="133"/>
                    </a:cubicBezTo>
                    <a:cubicBezTo>
                      <a:pt x="98" y="20"/>
                      <a:pt x="98" y="20"/>
                      <a:pt x="98" y="20"/>
                    </a:cubicBezTo>
                    <a:cubicBezTo>
                      <a:pt x="98" y="9"/>
                      <a:pt x="90" y="0"/>
                      <a:pt x="79" y="0"/>
                    </a:cubicBezTo>
                    <a:cubicBezTo>
                      <a:pt x="68" y="0"/>
                      <a:pt x="59" y="9"/>
                      <a:pt x="59" y="20"/>
                    </a:cubicBezTo>
                    <a:cubicBezTo>
                      <a:pt x="59" y="133"/>
                      <a:pt x="59" y="133"/>
                      <a:pt x="59" y="133"/>
                    </a:cubicBezTo>
                    <a:cubicBezTo>
                      <a:pt x="59" y="144"/>
                      <a:pt x="68" y="153"/>
                      <a:pt x="79" y="153"/>
                    </a:cubicBezTo>
                    <a:close/>
                    <a:moveTo>
                      <a:pt x="226" y="708"/>
                    </a:moveTo>
                    <a:cubicBezTo>
                      <a:pt x="182" y="708"/>
                      <a:pt x="147" y="744"/>
                      <a:pt x="147" y="787"/>
                    </a:cubicBezTo>
                    <a:cubicBezTo>
                      <a:pt x="147" y="831"/>
                      <a:pt x="182" y="866"/>
                      <a:pt x="226" y="866"/>
                    </a:cubicBezTo>
                    <a:cubicBezTo>
                      <a:pt x="269" y="866"/>
                      <a:pt x="305" y="831"/>
                      <a:pt x="305" y="787"/>
                    </a:cubicBezTo>
                    <a:cubicBezTo>
                      <a:pt x="305" y="744"/>
                      <a:pt x="269" y="708"/>
                      <a:pt x="226" y="708"/>
                    </a:cubicBezTo>
                    <a:close/>
                    <a:moveTo>
                      <a:pt x="226" y="827"/>
                    </a:moveTo>
                    <a:cubicBezTo>
                      <a:pt x="204" y="827"/>
                      <a:pt x="186" y="809"/>
                      <a:pt x="186" y="787"/>
                    </a:cubicBezTo>
                    <a:cubicBezTo>
                      <a:pt x="186" y="765"/>
                      <a:pt x="204" y="748"/>
                      <a:pt x="226" y="748"/>
                    </a:cubicBezTo>
                    <a:cubicBezTo>
                      <a:pt x="248" y="748"/>
                      <a:pt x="265" y="765"/>
                      <a:pt x="265" y="787"/>
                    </a:cubicBezTo>
                    <a:cubicBezTo>
                      <a:pt x="265" y="809"/>
                      <a:pt x="248" y="827"/>
                      <a:pt x="226" y="827"/>
                    </a:cubicBezTo>
                    <a:close/>
                    <a:moveTo>
                      <a:pt x="370" y="915"/>
                    </a:moveTo>
                    <a:cubicBezTo>
                      <a:pt x="326" y="915"/>
                      <a:pt x="291" y="950"/>
                      <a:pt x="291" y="994"/>
                    </a:cubicBezTo>
                    <a:cubicBezTo>
                      <a:pt x="291" y="1037"/>
                      <a:pt x="326" y="1073"/>
                      <a:pt x="370" y="1073"/>
                    </a:cubicBezTo>
                    <a:cubicBezTo>
                      <a:pt x="413" y="1073"/>
                      <a:pt x="449" y="1037"/>
                      <a:pt x="449" y="994"/>
                    </a:cubicBezTo>
                    <a:cubicBezTo>
                      <a:pt x="449" y="950"/>
                      <a:pt x="413" y="915"/>
                      <a:pt x="370" y="915"/>
                    </a:cubicBezTo>
                    <a:close/>
                    <a:moveTo>
                      <a:pt x="370" y="1033"/>
                    </a:moveTo>
                    <a:cubicBezTo>
                      <a:pt x="348" y="1033"/>
                      <a:pt x="330" y="1015"/>
                      <a:pt x="330" y="994"/>
                    </a:cubicBezTo>
                    <a:cubicBezTo>
                      <a:pt x="330" y="972"/>
                      <a:pt x="348" y="954"/>
                      <a:pt x="370" y="954"/>
                    </a:cubicBezTo>
                    <a:cubicBezTo>
                      <a:pt x="391" y="954"/>
                      <a:pt x="409" y="972"/>
                      <a:pt x="409" y="994"/>
                    </a:cubicBezTo>
                    <a:cubicBezTo>
                      <a:pt x="409" y="1015"/>
                      <a:pt x="391" y="1033"/>
                      <a:pt x="370" y="1033"/>
                    </a:cubicBezTo>
                    <a:close/>
                    <a:moveTo>
                      <a:pt x="79" y="1047"/>
                    </a:moveTo>
                    <a:cubicBezTo>
                      <a:pt x="35" y="1047"/>
                      <a:pt x="0" y="1082"/>
                      <a:pt x="0" y="1126"/>
                    </a:cubicBezTo>
                    <a:cubicBezTo>
                      <a:pt x="0" y="1169"/>
                      <a:pt x="35" y="1205"/>
                      <a:pt x="79" y="1205"/>
                    </a:cubicBezTo>
                    <a:cubicBezTo>
                      <a:pt x="122" y="1205"/>
                      <a:pt x="158" y="1169"/>
                      <a:pt x="158" y="1126"/>
                    </a:cubicBezTo>
                    <a:cubicBezTo>
                      <a:pt x="158" y="1082"/>
                      <a:pt x="122" y="1047"/>
                      <a:pt x="79" y="1047"/>
                    </a:cubicBezTo>
                    <a:close/>
                    <a:moveTo>
                      <a:pt x="79" y="1165"/>
                    </a:moveTo>
                    <a:cubicBezTo>
                      <a:pt x="57" y="1165"/>
                      <a:pt x="39" y="1147"/>
                      <a:pt x="39" y="1126"/>
                    </a:cubicBezTo>
                    <a:cubicBezTo>
                      <a:pt x="39" y="1104"/>
                      <a:pt x="57" y="1086"/>
                      <a:pt x="79" y="1086"/>
                    </a:cubicBezTo>
                    <a:cubicBezTo>
                      <a:pt x="101" y="1086"/>
                      <a:pt x="118" y="1104"/>
                      <a:pt x="118" y="1126"/>
                    </a:cubicBezTo>
                    <a:cubicBezTo>
                      <a:pt x="118" y="1147"/>
                      <a:pt x="101" y="1165"/>
                      <a:pt x="79" y="1165"/>
                    </a:cubicBezTo>
                    <a:close/>
                    <a:moveTo>
                      <a:pt x="617" y="550"/>
                    </a:moveTo>
                    <a:cubicBezTo>
                      <a:pt x="614" y="541"/>
                      <a:pt x="610" y="532"/>
                      <a:pt x="605" y="523"/>
                    </a:cubicBezTo>
                    <a:cubicBezTo>
                      <a:pt x="600" y="513"/>
                      <a:pt x="593" y="504"/>
                      <a:pt x="586" y="496"/>
                    </a:cubicBezTo>
                    <a:cubicBezTo>
                      <a:pt x="589" y="466"/>
                      <a:pt x="589" y="466"/>
                      <a:pt x="589" y="466"/>
                    </a:cubicBezTo>
                    <a:cubicBezTo>
                      <a:pt x="570" y="448"/>
                      <a:pt x="547" y="435"/>
                      <a:pt x="523" y="427"/>
                    </a:cubicBezTo>
                    <a:cubicBezTo>
                      <a:pt x="499" y="445"/>
                      <a:pt x="499" y="445"/>
                      <a:pt x="499" y="445"/>
                    </a:cubicBezTo>
                    <a:cubicBezTo>
                      <a:pt x="479" y="441"/>
                      <a:pt x="460" y="442"/>
                      <a:pt x="441" y="445"/>
                    </a:cubicBezTo>
                    <a:cubicBezTo>
                      <a:pt x="417" y="427"/>
                      <a:pt x="417" y="427"/>
                      <a:pt x="417" y="427"/>
                    </a:cubicBezTo>
                    <a:cubicBezTo>
                      <a:pt x="405" y="432"/>
                      <a:pt x="392" y="436"/>
                      <a:pt x="381" y="443"/>
                    </a:cubicBezTo>
                    <a:cubicBezTo>
                      <a:pt x="370" y="450"/>
                      <a:pt x="360" y="457"/>
                      <a:pt x="351" y="466"/>
                    </a:cubicBezTo>
                    <a:cubicBezTo>
                      <a:pt x="355" y="497"/>
                      <a:pt x="355" y="497"/>
                      <a:pt x="355" y="497"/>
                    </a:cubicBezTo>
                    <a:cubicBezTo>
                      <a:pt x="341" y="512"/>
                      <a:pt x="331" y="530"/>
                      <a:pt x="324" y="548"/>
                    </a:cubicBezTo>
                    <a:cubicBezTo>
                      <a:pt x="297" y="560"/>
                      <a:pt x="297" y="560"/>
                      <a:pt x="297" y="560"/>
                    </a:cubicBezTo>
                    <a:cubicBezTo>
                      <a:pt x="291" y="585"/>
                      <a:pt x="291" y="611"/>
                      <a:pt x="297" y="638"/>
                    </a:cubicBezTo>
                    <a:cubicBezTo>
                      <a:pt x="323" y="649"/>
                      <a:pt x="323" y="649"/>
                      <a:pt x="323" y="649"/>
                    </a:cubicBezTo>
                    <a:cubicBezTo>
                      <a:pt x="326" y="659"/>
                      <a:pt x="331" y="670"/>
                      <a:pt x="337" y="679"/>
                    </a:cubicBezTo>
                    <a:cubicBezTo>
                      <a:pt x="341" y="688"/>
                      <a:pt x="348" y="697"/>
                      <a:pt x="354" y="704"/>
                    </a:cubicBezTo>
                    <a:cubicBezTo>
                      <a:pt x="350" y="734"/>
                      <a:pt x="350" y="734"/>
                      <a:pt x="350" y="734"/>
                    </a:cubicBezTo>
                    <a:cubicBezTo>
                      <a:pt x="369" y="752"/>
                      <a:pt x="391" y="764"/>
                      <a:pt x="413" y="772"/>
                    </a:cubicBezTo>
                    <a:cubicBezTo>
                      <a:pt x="437" y="755"/>
                      <a:pt x="437" y="755"/>
                      <a:pt x="437" y="755"/>
                    </a:cubicBezTo>
                    <a:cubicBezTo>
                      <a:pt x="459" y="760"/>
                      <a:pt x="480" y="760"/>
                      <a:pt x="502" y="756"/>
                    </a:cubicBezTo>
                    <a:cubicBezTo>
                      <a:pt x="527" y="773"/>
                      <a:pt x="527" y="773"/>
                      <a:pt x="527" y="773"/>
                    </a:cubicBezTo>
                    <a:cubicBezTo>
                      <a:pt x="537" y="770"/>
                      <a:pt x="548" y="764"/>
                      <a:pt x="559" y="759"/>
                    </a:cubicBezTo>
                    <a:cubicBezTo>
                      <a:pt x="570" y="753"/>
                      <a:pt x="580" y="744"/>
                      <a:pt x="590" y="736"/>
                    </a:cubicBezTo>
                    <a:cubicBezTo>
                      <a:pt x="586" y="707"/>
                      <a:pt x="586" y="707"/>
                      <a:pt x="586" y="707"/>
                    </a:cubicBezTo>
                    <a:cubicBezTo>
                      <a:pt x="600" y="690"/>
                      <a:pt x="611" y="670"/>
                      <a:pt x="618" y="649"/>
                    </a:cubicBezTo>
                    <a:cubicBezTo>
                      <a:pt x="645" y="638"/>
                      <a:pt x="645" y="638"/>
                      <a:pt x="645" y="638"/>
                    </a:cubicBezTo>
                    <a:cubicBezTo>
                      <a:pt x="650" y="613"/>
                      <a:pt x="650" y="587"/>
                      <a:pt x="644" y="563"/>
                    </a:cubicBezTo>
                    <a:cubicBezTo>
                      <a:pt x="617" y="550"/>
                      <a:pt x="617" y="550"/>
                      <a:pt x="617" y="550"/>
                    </a:cubicBezTo>
                    <a:close/>
                    <a:moveTo>
                      <a:pt x="509" y="670"/>
                    </a:moveTo>
                    <a:cubicBezTo>
                      <a:pt x="471" y="692"/>
                      <a:pt x="424" y="678"/>
                      <a:pt x="402" y="640"/>
                    </a:cubicBezTo>
                    <a:cubicBezTo>
                      <a:pt x="380" y="603"/>
                      <a:pt x="392" y="553"/>
                      <a:pt x="430" y="532"/>
                    </a:cubicBezTo>
                    <a:cubicBezTo>
                      <a:pt x="440" y="526"/>
                      <a:pt x="450" y="523"/>
                      <a:pt x="460" y="522"/>
                    </a:cubicBezTo>
                    <a:cubicBezTo>
                      <a:pt x="490" y="518"/>
                      <a:pt x="522" y="532"/>
                      <a:pt x="538" y="561"/>
                    </a:cubicBezTo>
                    <a:cubicBezTo>
                      <a:pt x="559" y="600"/>
                      <a:pt x="547" y="648"/>
                      <a:pt x="509" y="67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grpSp>
      </p:grpSp>
      <p:grpSp>
        <p:nvGrpSpPr>
          <p:cNvPr id="39" name="Group 38">
            <a:extLst>
              <a:ext uri="{FF2B5EF4-FFF2-40B4-BE49-F238E27FC236}">
                <a16:creationId xmlns:a16="http://schemas.microsoft.com/office/drawing/2014/main" id="{F4487E65-B1A9-B077-EB48-4ECDF06F85A4}"/>
              </a:ext>
            </a:extLst>
          </p:cNvPr>
          <p:cNvGrpSpPr/>
          <p:nvPr/>
        </p:nvGrpSpPr>
        <p:grpSpPr>
          <a:xfrm>
            <a:off x="5280309" y="4035404"/>
            <a:ext cx="292651" cy="252367"/>
            <a:chOff x="5937564" y="3833745"/>
            <a:chExt cx="306171" cy="306910"/>
          </a:xfrm>
        </p:grpSpPr>
        <p:sp>
          <p:nvSpPr>
            <p:cNvPr id="44" name="Freeform 94">
              <a:extLst>
                <a:ext uri="{FF2B5EF4-FFF2-40B4-BE49-F238E27FC236}">
                  <a16:creationId xmlns:a16="http://schemas.microsoft.com/office/drawing/2014/main" id="{E83F5C6C-F222-D581-A4FD-2FFAEEFA9625}"/>
                </a:ext>
              </a:extLst>
            </p:cNvPr>
            <p:cNvSpPr>
              <a:spLocks/>
            </p:cNvSpPr>
            <p:nvPr/>
          </p:nvSpPr>
          <p:spPr bwMode="gray">
            <a:xfrm>
              <a:off x="593756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rgbClr val="008C4F"/>
            </a:solidFill>
            <a:ln>
              <a:solidFill>
                <a:srgbClr val="008C4F"/>
              </a:solidFill>
            </a:ln>
          </p:spPr>
          <p:txBody>
            <a:bodyPr vert="horz" wrap="square" lIns="88641" tIns="44321" rIns="88641" bIns="44321" numCol="1" anchor="t" anchorCtr="0" compatLnSpc="1">
              <a:prstTxWarp prst="textNoShape">
                <a:avLst/>
              </a:prstTxWarp>
            </a:bodyPr>
            <a:lstStyle/>
            <a:p>
              <a:endParaRPr lang="en-US">
                <a:solidFill>
                  <a:srgbClr val="6E6F73"/>
                </a:solidFill>
              </a:endParaRPr>
            </a:p>
          </p:txBody>
        </p:sp>
        <p:sp>
          <p:nvSpPr>
            <p:cNvPr id="45" name="Freeform 95">
              <a:extLst>
                <a:ext uri="{FF2B5EF4-FFF2-40B4-BE49-F238E27FC236}">
                  <a16:creationId xmlns:a16="http://schemas.microsoft.com/office/drawing/2014/main" id="{BB73A0BE-CC07-2E0B-6C6E-A9DF3E97E7E8}"/>
                </a:ext>
              </a:extLst>
            </p:cNvPr>
            <p:cNvSpPr>
              <a:spLocks/>
            </p:cNvSpPr>
            <p:nvPr/>
          </p:nvSpPr>
          <p:spPr bwMode="gray">
            <a:xfrm>
              <a:off x="605399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endParaRPr lang="en-US">
                <a:solidFill>
                  <a:srgbClr val="6E6F73"/>
                </a:solidFill>
              </a:endParaRPr>
            </a:p>
          </p:txBody>
        </p:sp>
      </p:grpSp>
      <p:pic>
        <p:nvPicPr>
          <p:cNvPr id="43" name="Picture 42">
            <a:extLst>
              <a:ext uri="{FF2B5EF4-FFF2-40B4-BE49-F238E27FC236}">
                <a16:creationId xmlns:a16="http://schemas.microsoft.com/office/drawing/2014/main" id="{EE5E69A0-4632-5570-1FD8-30EE3B9DAC3F}"/>
              </a:ext>
            </a:extLst>
          </p:cNvPr>
          <p:cNvPicPr>
            <a:picLocks noChangeAspect="1"/>
          </p:cNvPicPr>
          <p:nvPr/>
        </p:nvPicPr>
        <p:blipFill>
          <a:blip r:embed="rId2"/>
          <a:stretch>
            <a:fillRect/>
          </a:stretch>
        </p:blipFill>
        <p:spPr>
          <a:xfrm>
            <a:off x="381609" y="2849224"/>
            <a:ext cx="4847038" cy="2824028"/>
          </a:xfrm>
          <a:prstGeom prst="rect">
            <a:avLst/>
          </a:prstGeom>
        </p:spPr>
      </p:pic>
      <p:pic>
        <p:nvPicPr>
          <p:cNvPr id="47" name="Picture 46">
            <a:extLst>
              <a:ext uri="{FF2B5EF4-FFF2-40B4-BE49-F238E27FC236}">
                <a16:creationId xmlns:a16="http://schemas.microsoft.com/office/drawing/2014/main" id="{A185CAE5-C440-F0E3-032C-FCB8640CDF1B}"/>
              </a:ext>
            </a:extLst>
          </p:cNvPr>
          <p:cNvPicPr>
            <a:picLocks noChangeAspect="1"/>
          </p:cNvPicPr>
          <p:nvPr/>
        </p:nvPicPr>
        <p:blipFill>
          <a:blip r:embed="rId3"/>
          <a:stretch>
            <a:fillRect/>
          </a:stretch>
        </p:blipFill>
        <p:spPr>
          <a:xfrm>
            <a:off x="6141262" y="2476760"/>
            <a:ext cx="4640047" cy="3541088"/>
          </a:xfrm>
          <a:prstGeom prst="rect">
            <a:avLst/>
          </a:prstGeom>
        </p:spPr>
      </p:pic>
    </p:spTree>
    <p:extLst>
      <p:ext uri="{BB962C8B-B14F-4D97-AF65-F5344CB8AC3E}">
        <p14:creationId xmlns:p14="http://schemas.microsoft.com/office/powerpoint/2010/main" val="14708633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1" name="Group 40">
            <a:extLst>
              <a:ext uri="{FF2B5EF4-FFF2-40B4-BE49-F238E27FC236}">
                <a16:creationId xmlns:a16="http://schemas.microsoft.com/office/drawing/2014/main" id="{CEB11FA5-ACD5-2F6B-6865-C8577A1CC5AE}"/>
              </a:ext>
            </a:extLst>
          </p:cNvPr>
          <p:cNvGrpSpPr/>
          <p:nvPr/>
        </p:nvGrpSpPr>
        <p:grpSpPr>
          <a:xfrm>
            <a:off x="629999" y="1213657"/>
            <a:ext cx="10795421" cy="4924924"/>
            <a:chOff x="767929" y="1556558"/>
            <a:chExt cx="10795421" cy="1285527"/>
          </a:xfrm>
        </p:grpSpPr>
        <p:sp>
          <p:nvSpPr>
            <p:cNvPr id="42" name="TextBox 41">
              <a:extLst>
                <a:ext uri="{FF2B5EF4-FFF2-40B4-BE49-F238E27FC236}">
                  <a16:creationId xmlns:a16="http://schemas.microsoft.com/office/drawing/2014/main" id="{F1CAAC30-4F2F-1657-C596-FD58BAB0BA2F}"/>
                </a:ext>
              </a:extLst>
            </p:cNvPr>
            <p:cNvSpPr txBox="1"/>
            <p:nvPr/>
          </p:nvSpPr>
          <p:spPr>
            <a:xfrm>
              <a:off x="3290894" y="1556558"/>
              <a:ext cx="8272456" cy="1285527"/>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chemeClr val="accent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14300" indent="0">
                <a:buNone/>
              </a:pPr>
              <a:r>
                <a:rPr lang="en-US" sz="1200" dirty="0">
                  <a:solidFill>
                    <a:srgbClr val="0000FF"/>
                  </a:solidFill>
                  <a:latin typeface="Consolas" panose="020B0609020204030204" pitchFamily="49" charset="0"/>
                </a:rPr>
                <a:t>with</a:t>
              </a:r>
              <a:r>
                <a:rPr lang="en-US" sz="1200" dirty="0">
                  <a:solidFill>
                    <a:srgbClr val="000000"/>
                  </a:solidFill>
                  <a:latin typeface="Consolas" panose="020B0609020204030204" pitchFamily="49" charset="0"/>
                </a:rPr>
                <a:t> </a:t>
              </a:r>
              <a:r>
                <a:rPr lang="en-US" sz="1200" dirty="0" err="1">
                  <a:solidFill>
                    <a:srgbClr val="000000"/>
                  </a:solidFill>
                  <a:latin typeface="Consolas" panose="020B0609020204030204" pitchFamily="49" charset="0"/>
                </a:rPr>
                <a:t>cte</a:t>
              </a:r>
              <a:r>
                <a:rPr lang="en-US" sz="1200" dirty="0">
                  <a:solidFill>
                    <a:srgbClr val="000000"/>
                  </a:solidFill>
                  <a:latin typeface="Consolas" panose="020B0609020204030204" pitchFamily="49" charset="0"/>
                </a:rPr>
                <a:t> </a:t>
              </a:r>
              <a:r>
                <a:rPr lang="en-US" sz="1200" dirty="0">
                  <a:solidFill>
                    <a:srgbClr val="0000FF"/>
                  </a:solidFill>
                  <a:latin typeface="Consolas" panose="020B0609020204030204" pitchFamily="49" charset="0"/>
                </a:rPr>
                <a:t>as</a:t>
              </a:r>
              <a:r>
                <a:rPr lang="en-US" sz="1200" dirty="0">
                  <a:solidFill>
                    <a:srgbClr val="808080"/>
                  </a:solidFill>
                  <a:latin typeface="Consolas" panose="020B0609020204030204" pitchFamily="49" charset="0"/>
                </a:rPr>
                <a:t>(</a:t>
              </a:r>
              <a:endParaRPr lang="en-US" sz="1200" dirty="0">
                <a:solidFill>
                  <a:srgbClr val="000000"/>
                </a:solidFill>
                <a:latin typeface="Consolas" panose="020B0609020204030204" pitchFamily="49" charset="0"/>
              </a:endParaRPr>
            </a:p>
            <a:p>
              <a:pPr marL="114300" indent="0">
                <a:buNone/>
              </a:pPr>
              <a:r>
                <a:rPr lang="en-US" sz="1200" dirty="0">
                  <a:solidFill>
                    <a:srgbClr val="0000FF"/>
                  </a:solidFill>
                  <a:latin typeface="Consolas" panose="020B0609020204030204" pitchFamily="49" charset="0"/>
                </a:rPr>
                <a:t>select</a:t>
              </a:r>
              <a:r>
                <a:rPr lang="en-US" sz="1200" dirty="0">
                  <a:solidFill>
                    <a:srgbClr val="000000"/>
                  </a:solidFill>
                  <a:latin typeface="Consolas" panose="020B0609020204030204" pitchFamily="49" charset="0"/>
                </a:rPr>
                <a:t> </a:t>
              </a:r>
              <a:r>
                <a:rPr lang="en-US" sz="1200" dirty="0" err="1">
                  <a:solidFill>
                    <a:srgbClr val="000000"/>
                  </a:solidFill>
                  <a:latin typeface="Consolas" panose="020B0609020204030204" pitchFamily="49" charset="0"/>
                </a:rPr>
                <a:t>p</a:t>
              </a:r>
              <a:r>
                <a:rPr lang="en-US" sz="1200" dirty="0" err="1">
                  <a:solidFill>
                    <a:srgbClr val="808080"/>
                  </a:solidFill>
                  <a:latin typeface="Consolas" panose="020B0609020204030204" pitchFamily="49" charset="0"/>
                </a:rPr>
                <a:t>.</a:t>
              </a:r>
              <a:r>
                <a:rPr lang="en-US" sz="1200" dirty="0" err="1">
                  <a:solidFill>
                    <a:srgbClr val="000000"/>
                  </a:solidFill>
                  <a:latin typeface="Consolas" panose="020B0609020204030204" pitchFamily="49" charset="0"/>
                </a:rPr>
                <a:t>product_id</a:t>
              </a:r>
              <a:r>
                <a:rPr lang="en-US" sz="1200" dirty="0">
                  <a:solidFill>
                    <a:srgbClr val="808080"/>
                  </a:solidFill>
                  <a:latin typeface="Consolas" panose="020B0609020204030204" pitchFamily="49" charset="0"/>
                </a:rPr>
                <a:t>,</a:t>
              </a:r>
              <a:r>
                <a:rPr lang="en-US" sz="1200" dirty="0">
                  <a:solidFill>
                    <a:srgbClr val="000000"/>
                  </a:solidFill>
                  <a:latin typeface="Consolas" panose="020B0609020204030204" pitchFamily="49" charset="0"/>
                </a:rPr>
                <a:t> </a:t>
              </a:r>
              <a:r>
                <a:rPr lang="en-US" sz="1200" dirty="0" err="1">
                  <a:solidFill>
                    <a:srgbClr val="000000"/>
                  </a:solidFill>
                  <a:latin typeface="Consolas" panose="020B0609020204030204" pitchFamily="49" charset="0"/>
                </a:rPr>
                <a:t>p</a:t>
              </a:r>
              <a:r>
                <a:rPr lang="en-US" sz="1200" dirty="0" err="1">
                  <a:solidFill>
                    <a:srgbClr val="808080"/>
                  </a:solidFill>
                  <a:latin typeface="Consolas" panose="020B0609020204030204" pitchFamily="49" charset="0"/>
                </a:rPr>
                <a:t>.</a:t>
              </a:r>
              <a:r>
                <a:rPr lang="en-US" sz="1200" dirty="0" err="1">
                  <a:solidFill>
                    <a:srgbClr val="000000"/>
                  </a:solidFill>
                  <a:latin typeface="Consolas" panose="020B0609020204030204" pitchFamily="49" charset="0"/>
                </a:rPr>
                <a:t>product_category_name</a:t>
              </a:r>
              <a:r>
                <a:rPr lang="en-US" sz="1200" dirty="0">
                  <a:solidFill>
                    <a:srgbClr val="808080"/>
                  </a:solidFill>
                  <a:latin typeface="Consolas" panose="020B0609020204030204" pitchFamily="49" charset="0"/>
                </a:rPr>
                <a:t>,</a:t>
              </a:r>
              <a:endParaRPr lang="en-US" sz="1200" dirty="0">
                <a:solidFill>
                  <a:srgbClr val="000000"/>
                </a:solidFill>
                <a:latin typeface="Consolas" panose="020B0609020204030204" pitchFamily="49" charset="0"/>
              </a:endParaRPr>
            </a:p>
            <a:p>
              <a:pPr marL="114300" indent="0">
                <a:buNone/>
              </a:pPr>
              <a:r>
                <a:rPr lang="en-US" sz="1200" dirty="0" err="1">
                  <a:solidFill>
                    <a:srgbClr val="FF00FF"/>
                  </a:solidFill>
                  <a:latin typeface="Consolas" panose="020B0609020204030204" pitchFamily="49" charset="0"/>
                </a:rPr>
                <a:t>isnull</a:t>
              </a:r>
              <a:r>
                <a:rPr lang="en-US" sz="1200" dirty="0">
                  <a:solidFill>
                    <a:srgbClr val="808080"/>
                  </a:solidFill>
                  <a:latin typeface="Consolas" panose="020B0609020204030204" pitchFamily="49" charset="0"/>
                </a:rPr>
                <a:t>(</a:t>
              </a:r>
              <a:r>
                <a:rPr lang="en-US" sz="1200" dirty="0">
                  <a:solidFill>
                    <a:srgbClr val="000000"/>
                  </a:solidFill>
                  <a:latin typeface="Consolas" panose="020B0609020204030204" pitchFamily="49" charset="0"/>
                </a:rPr>
                <a:t>p</a:t>
              </a:r>
              <a:r>
                <a:rPr lang="en-US" sz="1200" dirty="0">
                  <a:solidFill>
                    <a:srgbClr val="808080"/>
                  </a:solidFill>
                  <a:latin typeface="Consolas" panose="020B0609020204030204" pitchFamily="49" charset="0"/>
                </a:rPr>
                <a:t>.</a:t>
              </a:r>
              <a:r>
                <a:rPr lang="en-US" sz="1200" dirty="0">
                  <a:solidFill>
                    <a:srgbClr val="000000"/>
                  </a:solidFill>
                  <a:latin typeface="Consolas" panose="020B0609020204030204" pitchFamily="49" charset="0"/>
                </a:rPr>
                <a:t>product_name_lenght</a:t>
              </a:r>
              <a:r>
                <a:rPr lang="en-US" sz="1200" dirty="0">
                  <a:solidFill>
                    <a:srgbClr val="808080"/>
                  </a:solidFill>
                  <a:latin typeface="Consolas" panose="020B0609020204030204" pitchFamily="49" charset="0"/>
                </a:rPr>
                <a:t>,</a:t>
              </a:r>
              <a:r>
                <a:rPr lang="en-US" sz="1200" dirty="0">
                  <a:solidFill>
                    <a:srgbClr val="000000"/>
                  </a:solidFill>
                  <a:latin typeface="Consolas" panose="020B0609020204030204" pitchFamily="49" charset="0"/>
                </a:rPr>
                <a:t>0</a:t>
              </a:r>
              <a:r>
                <a:rPr lang="en-US" sz="1200" dirty="0">
                  <a:solidFill>
                    <a:srgbClr val="808080"/>
                  </a:solidFill>
                  <a:latin typeface="Consolas" panose="020B0609020204030204" pitchFamily="49" charset="0"/>
                </a:rPr>
                <a:t>)</a:t>
              </a:r>
              <a:r>
                <a:rPr lang="en-US" sz="1200" dirty="0">
                  <a:solidFill>
                    <a:srgbClr val="000000"/>
                  </a:solidFill>
                  <a:latin typeface="Consolas" panose="020B0609020204030204" pitchFamily="49" charset="0"/>
                </a:rPr>
                <a:t> </a:t>
              </a:r>
              <a:r>
                <a:rPr lang="en-US" sz="1200" dirty="0" err="1">
                  <a:solidFill>
                    <a:srgbClr val="000000"/>
                  </a:solidFill>
                  <a:latin typeface="Consolas" panose="020B0609020204030204" pitchFamily="49" charset="0"/>
                </a:rPr>
                <a:t>product_name_length</a:t>
              </a:r>
              <a:r>
                <a:rPr lang="en-US" sz="1200" dirty="0">
                  <a:solidFill>
                    <a:srgbClr val="808080"/>
                  </a:solidFill>
                  <a:latin typeface="Consolas" panose="020B0609020204030204" pitchFamily="49" charset="0"/>
                </a:rPr>
                <a:t>,</a:t>
              </a:r>
              <a:endParaRPr lang="en-US" sz="1200" dirty="0">
                <a:solidFill>
                  <a:srgbClr val="000000"/>
                </a:solidFill>
                <a:latin typeface="Consolas" panose="020B0609020204030204" pitchFamily="49" charset="0"/>
              </a:endParaRPr>
            </a:p>
            <a:p>
              <a:pPr marL="114300" indent="0">
                <a:buNone/>
              </a:pPr>
              <a:r>
                <a:rPr lang="en-US" sz="1200" dirty="0" err="1">
                  <a:solidFill>
                    <a:srgbClr val="FF00FF"/>
                  </a:solidFill>
                  <a:latin typeface="Consolas" panose="020B0609020204030204" pitchFamily="49" charset="0"/>
                </a:rPr>
                <a:t>isnull</a:t>
              </a:r>
              <a:r>
                <a:rPr lang="en-US" sz="1200" dirty="0">
                  <a:solidFill>
                    <a:srgbClr val="808080"/>
                  </a:solidFill>
                  <a:latin typeface="Consolas" panose="020B0609020204030204" pitchFamily="49" charset="0"/>
                </a:rPr>
                <a:t>(</a:t>
              </a:r>
              <a:r>
                <a:rPr lang="en-US" sz="1200" dirty="0">
                  <a:solidFill>
                    <a:srgbClr val="000000"/>
                  </a:solidFill>
                  <a:latin typeface="Consolas" panose="020B0609020204030204" pitchFamily="49" charset="0"/>
                </a:rPr>
                <a:t>p</a:t>
              </a:r>
              <a:r>
                <a:rPr lang="en-US" sz="1200" dirty="0">
                  <a:solidFill>
                    <a:srgbClr val="808080"/>
                  </a:solidFill>
                  <a:latin typeface="Consolas" panose="020B0609020204030204" pitchFamily="49" charset="0"/>
                </a:rPr>
                <a:t>.</a:t>
              </a:r>
              <a:r>
                <a:rPr lang="en-US" sz="1200" dirty="0">
                  <a:solidFill>
                    <a:srgbClr val="000000"/>
                  </a:solidFill>
                  <a:latin typeface="Consolas" panose="020B0609020204030204" pitchFamily="49" charset="0"/>
                </a:rPr>
                <a:t>product_description_lenght</a:t>
              </a:r>
              <a:r>
                <a:rPr lang="en-US" sz="1200" dirty="0">
                  <a:solidFill>
                    <a:srgbClr val="808080"/>
                  </a:solidFill>
                  <a:latin typeface="Consolas" panose="020B0609020204030204" pitchFamily="49" charset="0"/>
                </a:rPr>
                <a:t>,</a:t>
              </a:r>
              <a:r>
                <a:rPr lang="en-US" sz="1200" dirty="0">
                  <a:solidFill>
                    <a:srgbClr val="000000"/>
                  </a:solidFill>
                  <a:latin typeface="Consolas" panose="020B0609020204030204" pitchFamily="49" charset="0"/>
                </a:rPr>
                <a:t>0</a:t>
              </a:r>
              <a:r>
                <a:rPr lang="en-US" sz="1200" dirty="0">
                  <a:solidFill>
                    <a:srgbClr val="808080"/>
                  </a:solidFill>
                  <a:latin typeface="Consolas" panose="020B0609020204030204" pitchFamily="49" charset="0"/>
                </a:rPr>
                <a:t>)</a:t>
              </a:r>
              <a:r>
                <a:rPr lang="en-US" sz="1200" dirty="0">
                  <a:solidFill>
                    <a:srgbClr val="000000"/>
                  </a:solidFill>
                  <a:latin typeface="Consolas" panose="020B0609020204030204" pitchFamily="49" charset="0"/>
                </a:rPr>
                <a:t> </a:t>
              </a:r>
              <a:r>
                <a:rPr lang="en-US" sz="1200" dirty="0" err="1">
                  <a:solidFill>
                    <a:srgbClr val="000000"/>
                  </a:solidFill>
                  <a:latin typeface="Consolas" panose="020B0609020204030204" pitchFamily="49" charset="0"/>
                </a:rPr>
                <a:t>product_description_length</a:t>
              </a:r>
              <a:r>
                <a:rPr lang="en-US" sz="1200" dirty="0">
                  <a:solidFill>
                    <a:srgbClr val="808080"/>
                  </a:solidFill>
                  <a:latin typeface="Consolas" panose="020B0609020204030204" pitchFamily="49" charset="0"/>
                </a:rPr>
                <a:t>,</a:t>
              </a:r>
              <a:endParaRPr lang="en-US" sz="1200" dirty="0">
                <a:solidFill>
                  <a:srgbClr val="000000"/>
                </a:solidFill>
                <a:latin typeface="Consolas" panose="020B0609020204030204" pitchFamily="49" charset="0"/>
              </a:endParaRPr>
            </a:p>
            <a:p>
              <a:pPr marL="114300" indent="0">
                <a:buNone/>
              </a:pPr>
              <a:r>
                <a:rPr lang="en-US" sz="1200" dirty="0" err="1">
                  <a:solidFill>
                    <a:srgbClr val="FF00FF"/>
                  </a:solidFill>
                  <a:latin typeface="Consolas" panose="020B0609020204030204" pitchFamily="49" charset="0"/>
                </a:rPr>
                <a:t>isnull</a:t>
              </a:r>
              <a:r>
                <a:rPr lang="en-US" sz="1200" dirty="0">
                  <a:solidFill>
                    <a:srgbClr val="808080"/>
                  </a:solidFill>
                  <a:latin typeface="Consolas" panose="020B0609020204030204" pitchFamily="49" charset="0"/>
                </a:rPr>
                <a:t>(</a:t>
              </a:r>
              <a:r>
                <a:rPr lang="en-US" sz="1200" dirty="0">
                  <a:solidFill>
                    <a:srgbClr val="000000"/>
                  </a:solidFill>
                  <a:latin typeface="Consolas" panose="020B0609020204030204" pitchFamily="49" charset="0"/>
                </a:rPr>
                <a:t>p</a:t>
              </a:r>
              <a:r>
                <a:rPr lang="en-US" sz="1200" dirty="0">
                  <a:solidFill>
                    <a:srgbClr val="808080"/>
                  </a:solidFill>
                  <a:latin typeface="Consolas" panose="020B0609020204030204" pitchFamily="49" charset="0"/>
                </a:rPr>
                <a:t>.</a:t>
              </a:r>
              <a:r>
                <a:rPr lang="en-US" sz="1200" dirty="0">
                  <a:solidFill>
                    <a:srgbClr val="000000"/>
                  </a:solidFill>
                  <a:latin typeface="Consolas" panose="020B0609020204030204" pitchFamily="49" charset="0"/>
                </a:rPr>
                <a:t>product_photos_qty</a:t>
              </a:r>
              <a:r>
                <a:rPr lang="en-US" sz="1200" dirty="0">
                  <a:solidFill>
                    <a:srgbClr val="808080"/>
                  </a:solidFill>
                  <a:latin typeface="Consolas" panose="020B0609020204030204" pitchFamily="49" charset="0"/>
                </a:rPr>
                <a:t>,</a:t>
              </a:r>
              <a:r>
                <a:rPr lang="en-US" sz="1200" dirty="0">
                  <a:solidFill>
                    <a:srgbClr val="000000"/>
                  </a:solidFill>
                  <a:latin typeface="Consolas" panose="020B0609020204030204" pitchFamily="49" charset="0"/>
                </a:rPr>
                <a:t>0</a:t>
              </a:r>
              <a:r>
                <a:rPr lang="en-US" sz="1200" dirty="0">
                  <a:solidFill>
                    <a:srgbClr val="808080"/>
                  </a:solidFill>
                  <a:latin typeface="Consolas" panose="020B0609020204030204" pitchFamily="49" charset="0"/>
                </a:rPr>
                <a:t>)</a:t>
              </a:r>
              <a:r>
                <a:rPr lang="en-US" sz="1200" dirty="0">
                  <a:solidFill>
                    <a:srgbClr val="000000"/>
                  </a:solidFill>
                  <a:latin typeface="Consolas" panose="020B0609020204030204" pitchFamily="49" charset="0"/>
                </a:rPr>
                <a:t> </a:t>
              </a:r>
              <a:r>
                <a:rPr lang="en-US" sz="1200" dirty="0" err="1">
                  <a:solidFill>
                    <a:srgbClr val="000000"/>
                  </a:solidFill>
                  <a:latin typeface="Consolas" panose="020B0609020204030204" pitchFamily="49" charset="0"/>
                </a:rPr>
                <a:t>product_photos_qty</a:t>
              </a:r>
              <a:r>
                <a:rPr lang="en-US" sz="1200" dirty="0">
                  <a:solidFill>
                    <a:srgbClr val="808080"/>
                  </a:solidFill>
                  <a:latin typeface="Consolas" panose="020B0609020204030204" pitchFamily="49" charset="0"/>
                </a:rPr>
                <a:t>,</a:t>
              </a:r>
              <a:endParaRPr lang="en-US" sz="1200" dirty="0">
                <a:solidFill>
                  <a:srgbClr val="000000"/>
                </a:solidFill>
                <a:latin typeface="Consolas" panose="020B0609020204030204" pitchFamily="49" charset="0"/>
              </a:endParaRPr>
            </a:p>
            <a:p>
              <a:pPr marL="114300" indent="0">
                <a:buNone/>
              </a:pPr>
              <a:r>
                <a:rPr lang="en-US" sz="1200" dirty="0" err="1">
                  <a:solidFill>
                    <a:srgbClr val="FF00FF"/>
                  </a:solidFill>
                  <a:latin typeface="Consolas" panose="020B0609020204030204" pitchFamily="49" charset="0"/>
                </a:rPr>
                <a:t>isnull</a:t>
              </a:r>
              <a:r>
                <a:rPr lang="en-US" sz="1200" dirty="0">
                  <a:solidFill>
                    <a:srgbClr val="808080"/>
                  </a:solidFill>
                  <a:latin typeface="Consolas" panose="020B0609020204030204" pitchFamily="49" charset="0"/>
                </a:rPr>
                <a:t>(</a:t>
              </a:r>
              <a:r>
                <a:rPr lang="en-US" sz="1200" dirty="0">
                  <a:solidFill>
                    <a:srgbClr val="000000"/>
                  </a:solidFill>
                  <a:latin typeface="Consolas" panose="020B0609020204030204" pitchFamily="49" charset="0"/>
                </a:rPr>
                <a:t>p</a:t>
              </a:r>
              <a:r>
                <a:rPr lang="en-US" sz="1200" dirty="0">
                  <a:solidFill>
                    <a:srgbClr val="808080"/>
                  </a:solidFill>
                  <a:latin typeface="Consolas" panose="020B0609020204030204" pitchFamily="49" charset="0"/>
                </a:rPr>
                <a:t>.</a:t>
              </a:r>
              <a:r>
                <a:rPr lang="en-US" sz="1200" dirty="0">
                  <a:solidFill>
                    <a:srgbClr val="000000"/>
                  </a:solidFill>
                  <a:latin typeface="Consolas" panose="020B0609020204030204" pitchFamily="49" charset="0"/>
                </a:rPr>
                <a:t>product_weight_g</a:t>
              </a:r>
              <a:r>
                <a:rPr lang="en-US" sz="1200" dirty="0">
                  <a:solidFill>
                    <a:srgbClr val="808080"/>
                  </a:solidFill>
                  <a:latin typeface="Consolas" panose="020B0609020204030204" pitchFamily="49" charset="0"/>
                </a:rPr>
                <a:t>,</a:t>
              </a:r>
              <a:r>
                <a:rPr lang="en-US" sz="1200" dirty="0">
                  <a:solidFill>
                    <a:srgbClr val="000000"/>
                  </a:solidFill>
                  <a:latin typeface="Consolas" panose="020B0609020204030204" pitchFamily="49" charset="0"/>
                </a:rPr>
                <a:t>0</a:t>
              </a:r>
              <a:r>
                <a:rPr lang="en-US" sz="1200" dirty="0">
                  <a:solidFill>
                    <a:srgbClr val="808080"/>
                  </a:solidFill>
                  <a:latin typeface="Consolas" panose="020B0609020204030204" pitchFamily="49" charset="0"/>
                </a:rPr>
                <a:t>)</a:t>
              </a:r>
              <a:r>
                <a:rPr lang="en-US" sz="1200" dirty="0">
                  <a:solidFill>
                    <a:srgbClr val="000000"/>
                  </a:solidFill>
                  <a:latin typeface="Consolas" panose="020B0609020204030204" pitchFamily="49" charset="0"/>
                </a:rPr>
                <a:t> </a:t>
              </a:r>
              <a:r>
                <a:rPr lang="en-US" sz="1200" dirty="0" err="1">
                  <a:solidFill>
                    <a:srgbClr val="000000"/>
                  </a:solidFill>
                  <a:latin typeface="Consolas" panose="020B0609020204030204" pitchFamily="49" charset="0"/>
                </a:rPr>
                <a:t>product_weight_g</a:t>
              </a:r>
              <a:r>
                <a:rPr lang="en-US" sz="1200" dirty="0">
                  <a:solidFill>
                    <a:srgbClr val="808080"/>
                  </a:solidFill>
                  <a:latin typeface="Consolas" panose="020B0609020204030204" pitchFamily="49" charset="0"/>
                </a:rPr>
                <a:t>,</a:t>
              </a:r>
              <a:endParaRPr lang="en-US" sz="1200" dirty="0">
                <a:solidFill>
                  <a:srgbClr val="000000"/>
                </a:solidFill>
                <a:latin typeface="Consolas" panose="020B0609020204030204" pitchFamily="49" charset="0"/>
              </a:endParaRPr>
            </a:p>
            <a:p>
              <a:pPr marL="114300" indent="0">
                <a:buNone/>
              </a:pPr>
              <a:r>
                <a:rPr lang="en-US" sz="1200" dirty="0" err="1">
                  <a:solidFill>
                    <a:srgbClr val="FF00FF"/>
                  </a:solidFill>
                  <a:latin typeface="Consolas" panose="020B0609020204030204" pitchFamily="49" charset="0"/>
                </a:rPr>
                <a:t>isnull</a:t>
              </a:r>
              <a:r>
                <a:rPr lang="en-US" sz="1200" dirty="0">
                  <a:solidFill>
                    <a:srgbClr val="808080"/>
                  </a:solidFill>
                  <a:latin typeface="Consolas" panose="020B0609020204030204" pitchFamily="49" charset="0"/>
                </a:rPr>
                <a:t>(</a:t>
              </a:r>
              <a:r>
                <a:rPr lang="en-US" sz="1200" dirty="0">
                  <a:solidFill>
                    <a:srgbClr val="000000"/>
                  </a:solidFill>
                  <a:latin typeface="Consolas" panose="020B0609020204030204" pitchFamily="49" charset="0"/>
                </a:rPr>
                <a:t>p</a:t>
              </a:r>
              <a:r>
                <a:rPr lang="en-US" sz="1200" dirty="0">
                  <a:solidFill>
                    <a:srgbClr val="808080"/>
                  </a:solidFill>
                  <a:latin typeface="Consolas" panose="020B0609020204030204" pitchFamily="49" charset="0"/>
                </a:rPr>
                <a:t>.</a:t>
              </a:r>
              <a:r>
                <a:rPr lang="en-US" sz="1200" dirty="0">
                  <a:solidFill>
                    <a:srgbClr val="000000"/>
                  </a:solidFill>
                  <a:latin typeface="Consolas" panose="020B0609020204030204" pitchFamily="49" charset="0"/>
                </a:rPr>
                <a:t>product_length_cm</a:t>
              </a:r>
              <a:r>
                <a:rPr lang="en-US" sz="1200" dirty="0">
                  <a:solidFill>
                    <a:srgbClr val="808080"/>
                  </a:solidFill>
                  <a:latin typeface="Consolas" panose="020B0609020204030204" pitchFamily="49" charset="0"/>
                </a:rPr>
                <a:t>,</a:t>
              </a:r>
              <a:r>
                <a:rPr lang="en-US" sz="1200" dirty="0">
                  <a:solidFill>
                    <a:srgbClr val="000000"/>
                  </a:solidFill>
                  <a:latin typeface="Consolas" panose="020B0609020204030204" pitchFamily="49" charset="0"/>
                </a:rPr>
                <a:t>0</a:t>
              </a:r>
              <a:r>
                <a:rPr lang="en-US" sz="1200" dirty="0">
                  <a:solidFill>
                    <a:srgbClr val="808080"/>
                  </a:solidFill>
                  <a:latin typeface="Consolas" panose="020B0609020204030204" pitchFamily="49" charset="0"/>
                </a:rPr>
                <a:t>)</a:t>
              </a:r>
              <a:r>
                <a:rPr lang="en-US" sz="1200" dirty="0">
                  <a:solidFill>
                    <a:srgbClr val="000000"/>
                  </a:solidFill>
                  <a:latin typeface="Consolas" panose="020B0609020204030204" pitchFamily="49" charset="0"/>
                </a:rPr>
                <a:t> </a:t>
              </a:r>
              <a:r>
                <a:rPr lang="en-US" sz="1200" dirty="0" err="1">
                  <a:solidFill>
                    <a:srgbClr val="000000"/>
                  </a:solidFill>
                  <a:latin typeface="Consolas" panose="020B0609020204030204" pitchFamily="49" charset="0"/>
                </a:rPr>
                <a:t>product_length_cm</a:t>
              </a:r>
              <a:r>
                <a:rPr lang="en-US" sz="1200" dirty="0">
                  <a:solidFill>
                    <a:srgbClr val="808080"/>
                  </a:solidFill>
                  <a:latin typeface="Consolas" panose="020B0609020204030204" pitchFamily="49" charset="0"/>
                </a:rPr>
                <a:t>,</a:t>
              </a:r>
              <a:endParaRPr lang="en-US" sz="1200" dirty="0">
                <a:solidFill>
                  <a:srgbClr val="000000"/>
                </a:solidFill>
                <a:latin typeface="Consolas" panose="020B0609020204030204" pitchFamily="49" charset="0"/>
              </a:endParaRPr>
            </a:p>
            <a:p>
              <a:pPr marL="114300" indent="0">
                <a:buNone/>
              </a:pPr>
              <a:r>
                <a:rPr lang="en-US" sz="1200" dirty="0" err="1">
                  <a:solidFill>
                    <a:srgbClr val="FF00FF"/>
                  </a:solidFill>
                  <a:latin typeface="Consolas" panose="020B0609020204030204" pitchFamily="49" charset="0"/>
                </a:rPr>
                <a:t>isnull</a:t>
              </a:r>
              <a:r>
                <a:rPr lang="en-US" sz="1200" dirty="0">
                  <a:solidFill>
                    <a:srgbClr val="808080"/>
                  </a:solidFill>
                  <a:latin typeface="Consolas" panose="020B0609020204030204" pitchFamily="49" charset="0"/>
                </a:rPr>
                <a:t>(</a:t>
              </a:r>
              <a:r>
                <a:rPr lang="en-US" sz="1200" dirty="0">
                  <a:solidFill>
                    <a:srgbClr val="000000"/>
                  </a:solidFill>
                  <a:latin typeface="Consolas" panose="020B0609020204030204" pitchFamily="49" charset="0"/>
                </a:rPr>
                <a:t>p</a:t>
              </a:r>
              <a:r>
                <a:rPr lang="en-US" sz="1200" dirty="0">
                  <a:solidFill>
                    <a:srgbClr val="808080"/>
                  </a:solidFill>
                  <a:latin typeface="Consolas" panose="020B0609020204030204" pitchFamily="49" charset="0"/>
                </a:rPr>
                <a:t>.</a:t>
              </a:r>
              <a:r>
                <a:rPr lang="en-US" sz="1200" dirty="0">
                  <a:solidFill>
                    <a:srgbClr val="000000"/>
                  </a:solidFill>
                  <a:latin typeface="Consolas" panose="020B0609020204030204" pitchFamily="49" charset="0"/>
                </a:rPr>
                <a:t>product_width_cm</a:t>
              </a:r>
              <a:r>
                <a:rPr lang="en-US" sz="1200" dirty="0">
                  <a:solidFill>
                    <a:srgbClr val="808080"/>
                  </a:solidFill>
                  <a:latin typeface="Consolas" panose="020B0609020204030204" pitchFamily="49" charset="0"/>
                </a:rPr>
                <a:t>,</a:t>
              </a:r>
              <a:r>
                <a:rPr lang="en-US" sz="1200" dirty="0">
                  <a:solidFill>
                    <a:srgbClr val="000000"/>
                  </a:solidFill>
                  <a:latin typeface="Consolas" panose="020B0609020204030204" pitchFamily="49" charset="0"/>
                </a:rPr>
                <a:t>0</a:t>
              </a:r>
              <a:r>
                <a:rPr lang="en-US" sz="1200" dirty="0">
                  <a:solidFill>
                    <a:srgbClr val="808080"/>
                  </a:solidFill>
                  <a:latin typeface="Consolas" panose="020B0609020204030204" pitchFamily="49" charset="0"/>
                </a:rPr>
                <a:t>)</a:t>
              </a:r>
              <a:r>
                <a:rPr lang="en-US" sz="1200" dirty="0">
                  <a:solidFill>
                    <a:srgbClr val="000000"/>
                  </a:solidFill>
                  <a:latin typeface="Consolas" panose="020B0609020204030204" pitchFamily="49" charset="0"/>
                </a:rPr>
                <a:t> </a:t>
              </a:r>
              <a:r>
                <a:rPr lang="en-US" sz="1200" dirty="0" err="1">
                  <a:solidFill>
                    <a:srgbClr val="000000"/>
                  </a:solidFill>
                  <a:latin typeface="Consolas" panose="020B0609020204030204" pitchFamily="49" charset="0"/>
                </a:rPr>
                <a:t>product_width_c</a:t>
              </a:r>
              <a:r>
                <a:rPr lang="en-US" sz="1200" dirty="0">
                  <a:solidFill>
                    <a:srgbClr val="808080"/>
                  </a:solidFill>
                  <a:latin typeface="Consolas" panose="020B0609020204030204" pitchFamily="49" charset="0"/>
                </a:rPr>
                <a:t>,</a:t>
              </a:r>
              <a:endParaRPr lang="en-US" sz="1200" dirty="0">
                <a:solidFill>
                  <a:srgbClr val="000000"/>
                </a:solidFill>
                <a:latin typeface="Consolas" panose="020B0609020204030204" pitchFamily="49" charset="0"/>
              </a:endParaRPr>
            </a:p>
            <a:p>
              <a:pPr marL="114300" indent="0">
                <a:buNone/>
              </a:pPr>
              <a:r>
                <a:rPr lang="en-US" sz="1200" dirty="0" err="1">
                  <a:solidFill>
                    <a:srgbClr val="FF00FF"/>
                  </a:solidFill>
                  <a:latin typeface="Consolas" panose="020B0609020204030204" pitchFamily="49" charset="0"/>
                </a:rPr>
                <a:t>isnull</a:t>
              </a:r>
              <a:r>
                <a:rPr lang="en-US" sz="1200" dirty="0">
                  <a:solidFill>
                    <a:srgbClr val="808080"/>
                  </a:solidFill>
                  <a:latin typeface="Consolas" panose="020B0609020204030204" pitchFamily="49" charset="0"/>
                </a:rPr>
                <a:t>(</a:t>
              </a:r>
              <a:r>
                <a:rPr lang="en-US" sz="1200" dirty="0" err="1">
                  <a:solidFill>
                    <a:srgbClr val="000000"/>
                  </a:solidFill>
                  <a:latin typeface="Consolas" panose="020B0609020204030204" pitchFamily="49" charset="0"/>
                </a:rPr>
                <a:t>pt</a:t>
              </a:r>
              <a:r>
                <a:rPr lang="en-US" sz="1200" dirty="0" err="1">
                  <a:solidFill>
                    <a:srgbClr val="808080"/>
                  </a:solidFill>
                  <a:latin typeface="Consolas" panose="020B0609020204030204" pitchFamily="49" charset="0"/>
                </a:rPr>
                <a:t>.</a:t>
              </a:r>
              <a:r>
                <a:rPr lang="en-US" sz="1200" dirty="0" err="1">
                  <a:solidFill>
                    <a:srgbClr val="000000"/>
                  </a:solidFill>
                  <a:latin typeface="Consolas" panose="020B0609020204030204" pitchFamily="49" charset="0"/>
                </a:rPr>
                <a:t>product_category_name_english</a:t>
              </a:r>
              <a:r>
                <a:rPr lang="en-US" sz="1200" dirty="0">
                  <a:solidFill>
                    <a:srgbClr val="808080"/>
                  </a:solidFill>
                  <a:latin typeface="Consolas" panose="020B0609020204030204" pitchFamily="49" charset="0"/>
                </a:rPr>
                <a:t>,</a:t>
              </a:r>
              <a:r>
                <a:rPr lang="en-US" sz="1200" dirty="0">
                  <a:solidFill>
                    <a:srgbClr val="000000"/>
                  </a:solidFill>
                  <a:latin typeface="Consolas" panose="020B0609020204030204" pitchFamily="49" charset="0"/>
                </a:rPr>
                <a:t> </a:t>
              </a:r>
              <a:r>
                <a:rPr lang="en-US" sz="1200" dirty="0">
                  <a:solidFill>
                    <a:srgbClr val="FF0000"/>
                  </a:solidFill>
                  <a:latin typeface="Consolas" panose="020B0609020204030204" pitchFamily="49" charset="0"/>
                </a:rPr>
                <a:t>'Not determined'</a:t>
              </a:r>
              <a:r>
                <a:rPr lang="en-US" sz="1200" dirty="0">
                  <a:solidFill>
                    <a:srgbClr val="808080"/>
                  </a:solidFill>
                  <a:latin typeface="Consolas" panose="020B0609020204030204" pitchFamily="49" charset="0"/>
                </a:rPr>
                <a:t>)</a:t>
              </a:r>
              <a:r>
                <a:rPr lang="en-US" sz="1200" dirty="0">
                  <a:solidFill>
                    <a:srgbClr val="000000"/>
                  </a:solidFill>
                  <a:latin typeface="Consolas" panose="020B0609020204030204" pitchFamily="49" charset="0"/>
                </a:rPr>
                <a:t> </a:t>
              </a:r>
              <a:r>
                <a:rPr lang="en-US" sz="1200" dirty="0" err="1">
                  <a:solidFill>
                    <a:srgbClr val="000000"/>
                  </a:solidFill>
                  <a:latin typeface="Consolas" panose="020B0609020204030204" pitchFamily="49" charset="0"/>
                </a:rPr>
                <a:t>product_category_name_english</a:t>
              </a:r>
              <a:endParaRPr lang="en-US" sz="1200" dirty="0">
                <a:solidFill>
                  <a:srgbClr val="000000"/>
                </a:solidFill>
                <a:latin typeface="Consolas" panose="020B0609020204030204" pitchFamily="49" charset="0"/>
              </a:endParaRPr>
            </a:p>
            <a:p>
              <a:pPr marL="114300" indent="0">
                <a:buNone/>
              </a:pPr>
              <a:r>
                <a:rPr lang="en-US" sz="1200" dirty="0">
                  <a:solidFill>
                    <a:srgbClr val="0000FF"/>
                  </a:solidFill>
                  <a:latin typeface="Consolas" panose="020B0609020204030204" pitchFamily="49" charset="0"/>
                </a:rPr>
                <a:t>from</a:t>
              </a:r>
              <a:r>
                <a:rPr lang="en-US" sz="1200" dirty="0">
                  <a:solidFill>
                    <a:srgbClr val="000000"/>
                  </a:solidFill>
                  <a:latin typeface="Consolas" panose="020B0609020204030204" pitchFamily="49" charset="0"/>
                </a:rPr>
                <a:t> products p</a:t>
              </a:r>
            </a:p>
            <a:p>
              <a:pPr marL="114300" indent="0">
                <a:buNone/>
              </a:pPr>
              <a:r>
                <a:rPr lang="en-US" sz="1200" dirty="0">
                  <a:solidFill>
                    <a:srgbClr val="808080"/>
                  </a:solidFill>
                  <a:latin typeface="Consolas" panose="020B0609020204030204" pitchFamily="49" charset="0"/>
                </a:rPr>
                <a:t>left</a:t>
              </a:r>
              <a:r>
                <a:rPr lang="en-US" sz="1200" dirty="0">
                  <a:solidFill>
                    <a:srgbClr val="000000"/>
                  </a:solidFill>
                  <a:latin typeface="Consolas" panose="020B0609020204030204" pitchFamily="49" charset="0"/>
                </a:rPr>
                <a:t> </a:t>
              </a:r>
              <a:r>
                <a:rPr lang="en-US" sz="1200" dirty="0">
                  <a:solidFill>
                    <a:srgbClr val="808080"/>
                  </a:solidFill>
                  <a:latin typeface="Consolas" panose="020B0609020204030204" pitchFamily="49" charset="0"/>
                </a:rPr>
                <a:t>join</a:t>
              </a:r>
              <a:r>
                <a:rPr lang="en-US" sz="1200" dirty="0">
                  <a:solidFill>
                    <a:srgbClr val="000000"/>
                  </a:solidFill>
                  <a:latin typeface="Consolas" panose="020B0609020204030204" pitchFamily="49" charset="0"/>
                </a:rPr>
                <a:t> </a:t>
              </a:r>
              <a:r>
                <a:rPr lang="en-US" sz="1200" dirty="0" err="1">
                  <a:solidFill>
                    <a:srgbClr val="000000"/>
                  </a:solidFill>
                  <a:latin typeface="Consolas" panose="020B0609020204030204" pitchFamily="49" charset="0"/>
                </a:rPr>
                <a:t>product_category_name_translation</a:t>
              </a:r>
              <a:r>
                <a:rPr lang="en-US" sz="1200" dirty="0">
                  <a:solidFill>
                    <a:srgbClr val="000000"/>
                  </a:solidFill>
                  <a:latin typeface="Consolas" panose="020B0609020204030204" pitchFamily="49" charset="0"/>
                </a:rPr>
                <a:t> </a:t>
              </a:r>
              <a:r>
                <a:rPr lang="en-US" sz="1200" dirty="0" err="1">
                  <a:solidFill>
                    <a:srgbClr val="000000"/>
                  </a:solidFill>
                  <a:latin typeface="Consolas" panose="020B0609020204030204" pitchFamily="49" charset="0"/>
                </a:rPr>
                <a:t>pt</a:t>
              </a:r>
              <a:r>
                <a:rPr lang="en-US" sz="1200" dirty="0">
                  <a:solidFill>
                    <a:srgbClr val="000000"/>
                  </a:solidFill>
                  <a:latin typeface="Consolas" panose="020B0609020204030204" pitchFamily="49" charset="0"/>
                </a:rPr>
                <a:t> </a:t>
              </a:r>
              <a:r>
                <a:rPr lang="en-US" sz="1200" dirty="0">
                  <a:solidFill>
                    <a:srgbClr val="0000FF"/>
                  </a:solidFill>
                  <a:latin typeface="Consolas" panose="020B0609020204030204" pitchFamily="49" charset="0"/>
                </a:rPr>
                <a:t>on</a:t>
              </a:r>
              <a:r>
                <a:rPr lang="en-US" sz="1200" dirty="0">
                  <a:solidFill>
                    <a:srgbClr val="000000"/>
                  </a:solidFill>
                  <a:latin typeface="Consolas" panose="020B0609020204030204" pitchFamily="49" charset="0"/>
                </a:rPr>
                <a:t> </a:t>
              </a:r>
              <a:r>
                <a:rPr lang="en-US" sz="1200" dirty="0" err="1">
                  <a:solidFill>
                    <a:srgbClr val="000000"/>
                  </a:solidFill>
                  <a:latin typeface="Consolas" panose="020B0609020204030204" pitchFamily="49" charset="0"/>
                </a:rPr>
                <a:t>p</a:t>
              </a:r>
              <a:r>
                <a:rPr lang="en-US" sz="1200" dirty="0" err="1">
                  <a:solidFill>
                    <a:srgbClr val="808080"/>
                  </a:solidFill>
                  <a:latin typeface="Consolas" panose="020B0609020204030204" pitchFamily="49" charset="0"/>
                </a:rPr>
                <a:t>.</a:t>
              </a:r>
              <a:r>
                <a:rPr lang="en-US" sz="1200" dirty="0" err="1">
                  <a:solidFill>
                    <a:srgbClr val="000000"/>
                  </a:solidFill>
                  <a:latin typeface="Consolas" panose="020B0609020204030204" pitchFamily="49" charset="0"/>
                </a:rPr>
                <a:t>product_category_name</a:t>
              </a:r>
              <a:r>
                <a:rPr lang="en-US" sz="1200" dirty="0">
                  <a:solidFill>
                    <a:srgbClr val="000000"/>
                  </a:solidFill>
                  <a:latin typeface="Consolas" panose="020B0609020204030204" pitchFamily="49" charset="0"/>
                </a:rPr>
                <a:t> </a:t>
              </a:r>
              <a:r>
                <a:rPr lang="en-US" sz="1200" dirty="0">
                  <a:solidFill>
                    <a:srgbClr val="808080"/>
                  </a:solidFill>
                  <a:latin typeface="Consolas" panose="020B0609020204030204" pitchFamily="49" charset="0"/>
                </a:rPr>
                <a:t>=</a:t>
              </a:r>
              <a:r>
                <a:rPr lang="en-US" sz="1200" dirty="0">
                  <a:solidFill>
                    <a:srgbClr val="000000"/>
                  </a:solidFill>
                  <a:latin typeface="Consolas" panose="020B0609020204030204" pitchFamily="49" charset="0"/>
                </a:rPr>
                <a:t> </a:t>
              </a:r>
              <a:r>
                <a:rPr lang="en-US" sz="1200" dirty="0" err="1">
                  <a:solidFill>
                    <a:srgbClr val="000000"/>
                  </a:solidFill>
                  <a:latin typeface="Consolas" panose="020B0609020204030204" pitchFamily="49" charset="0"/>
                </a:rPr>
                <a:t>pt</a:t>
              </a:r>
              <a:r>
                <a:rPr lang="en-US" sz="1200" dirty="0" err="1">
                  <a:solidFill>
                    <a:srgbClr val="808080"/>
                  </a:solidFill>
                  <a:latin typeface="Consolas" panose="020B0609020204030204" pitchFamily="49" charset="0"/>
                </a:rPr>
                <a:t>.</a:t>
              </a:r>
              <a:r>
                <a:rPr lang="en-US" sz="1200" dirty="0" err="1">
                  <a:solidFill>
                    <a:srgbClr val="000000"/>
                  </a:solidFill>
                  <a:latin typeface="Consolas" panose="020B0609020204030204" pitchFamily="49" charset="0"/>
                </a:rPr>
                <a:t>product_category_name</a:t>
              </a:r>
              <a:endParaRPr lang="en-US" sz="1200" dirty="0">
                <a:solidFill>
                  <a:srgbClr val="000000"/>
                </a:solidFill>
                <a:latin typeface="Consolas" panose="020B0609020204030204" pitchFamily="49" charset="0"/>
              </a:endParaRPr>
            </a:p>
            <a:p>
              <a:pPr marL="114300" indent="0">
                <a:buNone/>
              </a:pPr>
              <a:r>
                <a:rPr lang="en-US" sz="1200" dirty="0">
                  <a:solidFill>
                    <a:srgbClr val="808080"/>
                  </a:solidFill>
                  <a:latin typeface="Consolas" panose="020B0609020204030204" pitchFamily="49" charset="0"/>
                </a:rPr>
                <a:t>)</a:t>
              </a:r>
              <a:endParaRPr lang="en-US" sz="1200" dirty="0">
                <a:solidFill>
                  <a:srgbClr val="000000"/>
                </a:solidFill>
                <a:latin typeface="Consolas" panose="020B0609020204030204" pitchFamily="49" charset="0"/>
              </a:endParaRPr>
            </a:p>
            <a:p>
              <a:pPr marL="114300" indent="0">
                <a:buNone/>
              </a:pPr>
              <a:r>
                <a:rPr lang="en-US" sz="1200" dirty="0">
                  <a:solidFill>
                    <a:srgbClr val="0000FF"/>
                  </a:solidFill>
                  <a:latin typeface="Consolas" panose="020B0609020204030204" pitchFamily="49" charset="0"/>
                </a:rPr>
                <a:t>select</a:t>
              </a:r>
              <a:r>
                <a:rPr lang="en-US" sz="1200" dirty="0">
                  <a:solidFill>
                    <a:srgbClr val="000000"/>
                  </a:solidFill>
                  <a:latin typeface="Consolas" panose="020B0609020204030204" pitchFamily="49" charset="0"/>
                </a:rPr>
                <a:t> </a:t>
              </a:r>
              <a:r>
                <a:rPr lang="en-US" sz="1200" dirty="0">
                  <a:solidFill>
                    <a:srgbClr val="808080"/>
                  </a:solidFill>
                  <a:latin typeface="Consolas" panose="020B0609020204030204" pitchFamily="49" charset="0"/>
                </a:rPr>
                <a:t>*</a:t>
              </a:r>
              <a:endParaRPr lang="en-US" sz="1200" dirty="0">
                <a:solidFill>
                  <a:srgbClr val="000000"/>
                </a:solidFill>
                <a:latin typeface="Consolas" panose="020B0609020204030204" pitchFamily="49" charset="0"/>
              </a:endParaRPr>
            </a:p>
            <a:p>
              <a:pPr marL="114300" indent="0">
                <a:buNone/>
              </a:pPr>
              <a:r>
                <a:rPr lang="en-US" sz="1200" dirty="0">
                  <a:solidFill>
                    <a:srgbClr val="0000FF"/>
                  </a:solidFill>
                  <a:latin typeface="Consolas" panose="020B0609020204030204" pitchFamily="49" charset="0"/>
                </a:rPr>
                <a:t>into</a:t>
              </a:r>
              <a:r>
                <a:rPr lang="en-US" sz="1200" dirty="0">
                  <a:solidFill>
                    <a:srgbClr val="000000"/>
                  </a:solidFill>
                  <a:latin typeface="Consolas" panose="020B0609020204030204" pitchFamily="49" charset="0"/>
                </a:rPr>
                <a:t> </a:t>
              </a:r>
              <a:r>
                <a:rPr lang="en-US" sz="1200" dirty="0" err="1">
                  <a:solidFill>
                    <a:srgbClr val="000000"/>
                  </a:solidFill>
                  <a:latin typeface="Consolas" panose="020B0609020204030204" pitchFamily="49" charset="0"/>
                </a:rPr>
                <a:t>product_cleansed</a:t>
              </a:r>
              <a:endParaRPr lang="en-US" sz="1200" dirty="0">
                <a:solidFill>
                  <a:srgbClr val="000000"/>
                </a:solidFill>
                <a:latin typeface="Consolas" panose="020B0609020204030204" pitchFamily="49" charset="0"/>
              </a:endParaRPr>
            </a:p>
            <a:p>
              <a:pPr marL="114300" indent="0">
                <a:buNone/>
              </a:pPr>
              <a:r>
                <a:rPr lang="en-US" sz="1200" dirty="0">
                  <a:solidFill>
                    <a:srgbClr val="0000FF"/>
                  </a:solidFill>
                  <a:latin typeface="Consolas" panose="020B0609020204030204" pitchFamily="49" charset="0"/>
                </a:rPr>
                <a:t>from</a:t>
              </a:r>
              <a:r>
                <a:rPr lang="en-US" sz="1200" dirty="0">
                  <a:solidFill>
                    <a:srgbClr val="000000"/>
                  </a:solidFill>
                  <a:latin typeface="Consolas" panose="020B0609020204030204" pitchFamily="49" charset="0"/>
                </a:rPr>
                <a:t> </a:t>
              </a:r>
              <a:r>
                <a:rPr lang="en-US" sz="1200" dirty="0" err="1">
                  <a:solidFill>
                    <a:srgbClr val="000000"/>
                  </a:solidFill>
                  <a:latin typeface="Consolas" panose="020B0609020204030204" pitchFamily="49" charset="0"/>
                </a:rPr>
                <a:t>cte</a:t>
              </a:r>
              <a:endParaRPr lang="en-US" sz="2400" b="1" dirty="0"/>
            </a:p>
          </p:txBody>
        </p:sp>
        <p:sp>
          <p:nvSpPr>
            <p:cNvPr id="49" name="AutoShape 8">
              <a:extLst>
                <a:ext uri="{FF2B5EF4-FFF2-40B4-BE49-F238E27FC236}">
                  <a16:creationId xmlns:a16="http://schemas.microsoft.com/office/drawing/2014/main" id="{9C74C0EF-A43B-0438-C8E0-36339712FF33}"/>
                </a:ext>
              </a:extLst>
            </p:cNvPr>
            <p:cNvSpPr>
              <a:spLocks noChangeAspect="1" noChangeArrowheads="1" noTextEdit="1"/>
            </p:cNvSpPr>
            <p:nvPr/>
          </p:nvSpPr>
          <p:spPr bwMode="auto">
            <a:xfrm>
              <a:off x="767929" y="1940016"/>
              <a:ext cx="518129" cy="5186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TextBox 43">
              <a:extLst>
                <a:ext uri="{FF2B5EF4-FFF2-40B4-BE49-F238E27FC236}">
                  <a16:creationId xmlns:a16="http://schemas.microsoft.com/office/drawing/2014/main" id="{C1A2489B-8524-1F52-72AA-4AF854C4B44E}"/>
                </a:ext>
              </a:extLst>
            </p:cNvPr>
            <p:cNvSpPr txBox="1"/>
            <p:nvPr/>
          </p:nvSpPr>
          <p:spPr>
            <a:xfrm>
              <a:off x="1125470" y="2081491"/>
              <a:ext cx="1414588" cy="24101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sz="1800" dirty="0">
                  <a:solidFill>
                    <a:schemeClr val="accent6"/>
                  </a:solidFill>
                </a:rPr>
                <a:t>Cleansing product Table</a:t>
              </a:r>
              <a:endParaRPr lang="en-US" dirty="0">
                <a:solidFill>
                  <a:schemeClr val="accent6"/>
                </a:solidFill>
              </a:endParaRPr>
            </a:p>
          </p:txBody>
        </p:sp>
        <p:cxnSp>
          <p:nvCxnSpPr>
            <p:cNvPr id="45" name="Straight Connector 44">
              <a:extLst>
                <a:ext uri="{FF2B5EF4-FFF2-40B4-BE49-F238E27FC236}">
                  <a16:creationId xmlns:a16="http://schemas.microsoft.com/office/drawing/2014/main" id="{AD7A19D3-DD94-EEB1-21CE-6643857A728E}"/>
                </a:ext>
              </a:extLst>
            </p:cNvPr>
            <p:cNvCxnSpPr/>
            <p:nvPr/>
          </p:nvCxnSpPr>
          <p:spPr>
            <a:xfrm>
              <a:off x="3203809" y="1733140"/>
              <a:ext cx="0" cy="932362"/>
            </a:xfrm>
            <a:prstGeom prst="line">
              <a:avLst/>
            </a:prstGeom>
            <a:ln w="19050">
              <a:solidFill>
                <a:schemeClr val="accent6">
                  <a:alpha val="50000"/>
                </a:schemeClr>
              </a:solidFill>
            </a:ln>
          </p:spPr>
          <p:style>
            <a:lnRef idx="3">
              <a:schemeClr val="accent2"/>
            </a:lnRef>
            <a:fillRef idx="0">
              <a:schemeClr val="accent2"/>
            </a:fillRef>
            <a:effectRef idx="2">
              <a:schemeClr val="accent2"/>
            </a:effectRef>
            <a:fontRef idx="minor">
              <a:schemeClr val="tx1"/>
            </a:fontRef>
          </p:style>
        </p:cxnSp>
      </p:grpSp>
      <p:sp>
        <p:nvSpPr>
          <p:cNvPr id="60" name="TextBox 59">
            <a:extLst>
              <a:ext uri="{FF2B5EF4-FFF2-40B4-BE49-F238E27FC236}">
                <a16:creationId xmlns:a16="http://schemas.microsoft.com/office/drawing/2014/main" id="{FB1A4994-5311-A64F-E5CA-8D6D6D09951A}"/>
              </a:ext>
            </a:extLst>
          </p:cNvPr>
          <p:cNvSpPr txBox="1"/>
          <p:nvPr/>
        </p:nvSpPr>
        <p:spPr>
          <a:xfrm>
            <a:off x="3047134" y="117235"/>
            <a:ext cx="6094268" cy="36933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vi-VN" b="0" i="0">
                <a:solidFill>
                  <a:srgbClr val="575757"/>
                </a:solidFill>
                <a:effectLst/>
                <a:latin typeface="Times New Roman" panose="02020603050405020304" pitchFamily="18" charset="0"/>
              </a:rPr>
              <a:t> </a:t>
            </a:r>
            <a:endParaRPr lang="en-US">
              <a:solidFill>
                <a:srgbClr val="575757"/>
              </a:solidFill>
            </a:endParaRPr>
          </a:p>
        </p:txBody>
      </p:sp>
      <p:sp>
        <p:nvSpPr>
          <p:cNvPr id="63" name="Rectangle 62">
            <a:extLst>
              <a:ext uri="{FF2B5EF4-FFF2-40B4-BE49-F238E27FC236}">
                <a16:creationId xmlns:a16="http://schemas.microsoft.com/office/drawing/2014/main" id="{0F34C75F-3A2D-E2A7-20AE-0ECF6EAC5A04}"/>
              </a:ext>
            </a:extLst>
          </p:cNvPr>
          <p:cNvSpPr/>
          <p:nvPr/>
        </p:nvSpPr>
        <p:spPr>
          <a:xfrm flipV="1">
            <a:off x="0" y="0"/>
            <a:ext cx="12192000" cy="1287597"/>
          </a:xfrm>
          <a:prstGeom prst="rect">
            <a:avLst/>
          </a:prstGeom>
          <a:gradFill flip="none" rotWithShape="1">
            <a:gsLst>
              <a:gs pos="0">
                <a:srgbClr val="008C4F"/>
              </a:gs>
              <a:gs pos="100000">
                <a:srgbClr val="00693B"/>
              </a:gs>
            </a:gsLst>
            <a:lin ang="13500000" scaled="1"/>
            <a:tileRect/>
          </a:gradFill>
          <a:ln w="10795" cap="flat" cmpd="sng" algn="ctr">
            <a:noFill/>
            <a:prstDash val="solid"/>
          </a:ln>
          <a:effectLst/>
        </p:spPr>
        <p:txBody>
          <a:bodyPr lIns="91440" tIns="91440" rIns="91440" bIns="91440" rtlCol="0" anchor="ctr"/>
          <a:lstStyle/>
          <a:p>
            <a:pPr marL="0" marR="0" lvl="0" indent="0" algn="ctr" defTabSz="914400" eaLnBrk="1" fontAlgn="auto" latinLnBrk="0" hangingPunct="1">
              <a:lnSpc>
                <a:spcPct val="95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64" name="Title 1">
            <a:extLst>
              <a:ext uri="{FF2B5EF4-FFF2-40B4-BE49-F238E27FC236}">
                <a16:creationId xmlns:a16="http://schemas.microsoft.com/office/drawing/2014/main" id="{2E7D682E-8B3B-65A8-C167-61B05A0391D7}"/>
              </a:ext>
            </a:extLst>
          </p:cNvPr>
          <p:cNvSpPr txBox="1">
            <a:spLocks/>
          </p:cNvSpPr>
          <p:nvPr/>
        </p:nvSpPr>
        <p:spPr>
          <a:xfrm>
            <a:off x="482082" y="332033"/>
            <a:ext cx="10933200" cy="701690"/>
          </a:xfrm>
          <a:prstGeom prst="rect">
            <a:avLst/>
          </a:prstGeom>
          <a:noFill/>
          <a:ln>
            <a:noFill/>
          </a:ln>
        </p:spPr>
        <p:txBody>
          <a:bodyPr spcFirstLastPara="1" vert="horz" wrap="square" lIns="91425" tIns="45700" rIns="91425" bIns="45700" anchor="ctr" anchorCtr="0">
            <a:spAutoFit/>
          </a:bodyPr>
          <a:lstStyle>
            <a:defPPr marR="0" lvl="0" algn="l" rtl="0">
              <a:lnSpc>
                <a:spcPct val="100000"/>
              </a:lnSpc>
              <a:spcBef>
                <a:spcPts val="0"/>
              </a:spcBef>
              <a:spcAft>
                <a:spcPts val="0"/>
              </a:spcAft>
            </a:defPPr>
            <a:lvl1pPr marR="0" lvl="0" algn="l" rtl="0">
              <a:lnSpc>
                <a:spcPct val="90000"/>
              </a:lnSpc>
              <a:spcBef>
                <a:spcPts val="0"/>
              </a:spcBef>
              <a:spcAft>
                <a:spcPts val="0"/>
              </a:spcAft>
              <a:buClr>
                <a:schemeClr val="dk1"/>
              </a:buClr>
              <a:buSzPts val="1800"/>
              <a:buFont typeface="Calibri"/>
              <a:buNone/>
              <a:defRPr sz="44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r>
              <a:rPr lang="en-US" dirty="0">
                <a:solidFill>
                  <a:srgbClr val="D4DF33"/>
                </a:solidFill>
                <a:latin typeface="Calibri" panose="020F0502020204030204" pitchFamily="34" charset="0"/>
              </a:rPr>
              <a:t>4 – Third step: </a:t>
            </a:r>
            <a:r>
              <a:rPr lang="en-US" dirty="0">
                <a:solidFill>
                  <a:srgbClr val="FFFFFF"/>
                </a:solidFill>
                <a:latin typeface="Calibri" panose="020F0502020204030204" pitchFamily="34" charset="0"/>
              </a:rPr>
              <a:t>Process</a:t>
            </a:r>
          </a:p>
        </p:txBody>
      </p:sp>
    </p:spTree>
    <p:extLst>
      <p:ext uri="{BB962C8B-B14F-4D97-AF65-F5344CB8AC3E}">
        <p14:creationId xmlns:p14="http://schemas.microsoft.com/office/powerpoint/2010/main" val="38621687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1" name="Group 40">
            <a:extLst>
              <a:ext uri="{FF2B5EF4-FFF2-40B4-BE49-F238E27FC236}">
                <a16:creationId xmlns:a16="http://schemas.microsoft.com/office/drawing/2014/main" id="{CEB11FA5-ACD5-2F6B-6865-C8577A1CC5AE}"/>
              </a:ext>
            </a:extLst>
          </p:cNvPr>
          <p:cNvGrpSpPr/>
          <p:nvPr/>
        </p:nvGrpSpPr>
        <p:grpSpPr>
          <a:xfrm>
            <a:off x="629999" y="1213657"/>
            <a:ext cx="10795421" cy="4924924"/>
            <a:chOff x="767929" y="1556558"/>
            <a:chExt cx="10795421" cy="1285527"/>
          </a:xfrm>
        </p:grpSpPr>
        <p:sp>
          <p:nvSpPr>
            <p:cNvPr id="42" name="TextBox 41">
              <a:extLst>
                <a:ext uri="{FF2B5EF4-FFF2-40B4-BE49-F238E27FC236}">
                  <a16:creationId xmlns:a16="http://schemas.microsoft.com/office/drawing/2014/main" id="{F1CAAC30-4F2F-1657-C596-FD58BAB0BA2F}"/>
                </a:ext>
              </a:extLst>
            </p:cNvPr>
            <p:cNvSpPr txBox="1"/>
            <p:nvPr/>
          </p:nvSpPr>
          <p:spPr>
            <a:xfrm>
              <a:off x="3290894" y="1556558"/>
              <a:ext cx="8272456" cy="1285527"/>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chemeClr val="accent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14300" indent="0">
                <a:buNone/>
              </a:pPr>
              <a:r>
                <a:rPr lang="en-US" sz="1200" dirty="0">
                  <a:solidFill>
                    <a:srgbClr val="0000FF"/>
                  </a:solidFill>
                  <a:latin typeface="Consolas" panose="020B0609020204030204" pitchFamily="49" charset="0"/>
                </a:rPr>
                <a:t>with</a:t>
              </a:r>
              <a:r>
                <a:rPr lang="en-US" sz="1200" dirty="0">
                  <a:solidFill>
                    <a:srgbClr val="000000"/>
                  </a:solidFill>
                  <a:latin typeface="Consolas" panose="020B0609020204030204" pitchFamily="49" charset="0"/>
                </a:rPr>
                <a:t> </a:t>
              </a:r>
              <a:r>
                <a:rPr lang="en-US" sz="1200" dirty="0" err="1">
                  <a:solidFill>
                    <a:srgbClr val="000000"/>
                  </a:solidFill>
                  <a:latin typeface="Consolas" panose="020B0609020204030204" pitchFamily="49" charset="0"/>
                </a:rPr>
                <a:t>cte</a:t>
              </a:r>
              <a:r>
                <a:rPr lang="en-US" sz="1200" dirty="0">
                  <a:solidFill>
                    <a:srgbClr val="000000"/>
                  </a:solidFill>
                  <a:latin typeface="Consolas" panose="020B0609020204030204" pitchFamily="49" charset="0"/>
                </a:rPr>
                <a:t> </a:t>
              </a:r>
              <a:r>
                <a:rPr lang="en-US" sz="1200" dirty="0">
                  <a:solidFill>
                    <a:srgbClr val="0000FF"/>
                  </a:solidFill>
                  <a:latin typeface="Consolas" panose="020B0609020204030204" pitchFamily="49" charset="0"/>
                </a:rPr>
                <a:t>as </a:t>
              </a:r>
              <a:r>
                <a:rPr lang="en-US" sz="1200" dirty="0">
                  <a:solidFill>
                    <a:srgbClr val="808080"/>
                  </a:solidFill>
                  <a:latin typeface="Consolas" panose="020B0609020204030204" pitchFamily="49" charset="0"/>
                </a:rPr>
                <a:t>(</a:t>
              </a:r>
              <a:endParaRPr lang="en-US" sz="1200" dirty="0">
                <a:solidFill>
                  <a:srgbClr val="000000"/>
                </a:solidFill>
                <a:latin typeface="Consolas" panose="020B0609020204030204" pitchFamily="49" charset="0"/>
              </a:endParaRPr>
            </a:p>
            <a:p>
              <a:pPr marL="114300" indent="0">
                <a:buNone/>
              </a:pPr>
              <a:r>
                <a:rPr lang="en-US" sz="1200" dirty="0">
                  <a:solidFill>
                    <a:srgbClr val="0000FF"/>
                  </a:solidFill>
                  <a:latin typeface="Consolas" panose="020B0609020204030204" pitchFamily="49" charset="0"/>
                </a:rPr>
                <a:t>select</a:t>
              </a:r>
              <a:r>
                <a:rPr lang="en-US" sz="1200" dirty="0">
                  <a:solidFill>
                    <a:srgbClr val="000000"/>
                  </a:solidFill>
                  <a:latin typeface="Consolas" panose="020B0609020204030204" pitchFamily="49" charset="0"/>
                </a:rPr>
                <a:t> </a:t>
              </a:r>
              <a:r>
                <a:rPr lang="en-US" sz="1200" dirty="0" err="1">
                  <a:solidFill>
                    <a:srgbClr val="000000"/>
                  </a:solidFill>
                  <a:latin typeface="Consolas" panose="020B0609020204030204" pitchFamily="49" charset="0"/>
                </a:rPr>
                <a:t>o</a:t>
              </a:r>
              <a:r>
                <a:rPr lang="en-US" sz="1200" dirty="0" err="1">
                  <a:solidFill>
                    <a:srgbClr val="808080"/>
                  </a:solidFill>
                  <a:latin typeface="Consolas" panose="020B0609020204030204" pitchFamily="49" charset="0"/>
                </a:rPr>
                <a:t>.</a:t>
              </a:r>
              <a:r>
                <a:rPr lang="en-US" sz="1200" dirty="0" err="1">
                  <a:solidFill>
                    <a:srgbClr val="000000"/>
                  </a:solidFill>
                  <a:latin typeface="Consolas" panose="020B0609020204030204" pitchFamily="49" charset="0"/>
                </a:rPr>
                <a:t>order_id</a:t>
              </a:r>
              <a:r>
                <a:rPr lang="en-US" sz="1200" dirty="0" err="1">
                  <a:solidFill>
                    <a:srgbClr val="808080"/>
                  </a:solidFill>
                  <a:latin typeface="Consolas" panose="020B0609020204030204" pitchFamily="49" charset="0"/>
                </a:rPr>
                <a:t>,</a:t>
              </a:r>
              <a:r>
                <a:rPr lang="en-US" sz="1200" dirty="0" err="1">
                  <a:solidFill>
                    <a:srgbClr val="000000"/>
                  </a:solidFill>
                  <a:latin typeface="Consolas" panose="020B0609020204030204" pitchFamily="49" charset="0"/>
                </a:rPr>
                <a:t>o</a:t>
              </a:r>
              <a:r>
                <a:rPr lang="en-US" sz="1200" dirty="0" err="1">
                  <a:solidFill>
                    <a:srgbClr val="808080"/>
                  </a:solidFill>
                  <a:latin typeface="Consolas" panose="020B0609020204030204" pitchFamily="49" charset="0"/>
                </a:rPr>
                <a:t>.</a:t>
              </a:r>
              <a:r>
                <a:rPr lang="en-US" sz="1200" dirty="0" err="1">
                  <a:solidFill>
                    <a:srgbClr val="000000"/>
                  </a:solidFill>
                  <a:latin typeface="Consolas" panose="020B0609020204030204" pitchFamily="49" charset="0"/>
                </a:rPr>
                <a:t>customer_id</a:t>
              </a:r>
              <a:r>
                <a:rPr lang="en-US" sz="1200" dirty="0">
                  <a:solidFill>
                    <a:srgbClr val="808080"/>
                  </a:solidFill>
                  <a:latin typeface="Consolas" panose="020B0609020204030204" pitchFamily="49" charset="0"/>
                </a:rPr>
                <a:t>,</a:t>
              </a:r>
              <a:r>
                <a:rPr lang="en-US" sz="1200" dirty="0">
                  <a:solidFill>
                    <a:srgbClr val="000000"/>
                  </a:solidFill>
                  <a:latin typeface="Consolas" panose="020B0609020204030204" pitchFamily="49" charset="0"/>
                </a:rPr>
                <a:t> </a:t>
              </a:r>
              <a:r>
                <a:rPr lang="en-US" sz="1200" dirty="0">
                  <a:solidFill>
                    <a:srgbClr val="FF00FF"/>
                  </a:solidFill>
                  <a:latin typeface="Consolas" panose="020B0609020204030204" pitchFamily="49" charset="0"/>
                </a:rPr>
                <a:t>count</a:t>
              </a:r>
              <a:r>
                <a:rPr lang="en-US" sz="1200" dirty="0">
                  <a:solidFill>
                    <a:srgbClr val="808080"/>
                  </a:solidFill>
                  <a:latin typeface="Consolas" panose="020B0609020204030204" pitchFamily="49" charset="0"/>
                </a:rPr>
                <a:t>(</a:t>
              </a:r>
              <a:r>
                <a:rPr lang="en-US" sz="1200" dirty="0" err="1">
                  <a:solidFill>
                    <a:srgbClr val="000000"/>
                  </a:solidFill>
                  <a:latin typeface="Consolas" panose="020B0609020204030204" pitchFamily="49" charset="0"/>
                </a:rPr>
                <a:t>ors</a:t>
              </a:r>
              <a:r>
                <a:rPr lang="en-US" sz="1200" dirty="0" err="1">
                  <a:solidFill>
                    <a:srgbClr val="808080"/>
                  </a:solidFill>
                  <a:latin typeface="Consolas" panose="020B0609020204030204" pitchFamily="49" charset="0"/>
                </a:rPr>
                <a:t>.</a:t>
              </a:r>
              <a:r>
                <a:rPr lang="en-US" sz="1200" dirty="0" err="1">
                  <a:solidFill>
                    <a:srgbClr val="000000"/>
                  </a:solidFill>
                  <a:latin typeface="Consolas" panose="020B0609020204030204" pitchFamily="49" charset="0"/>
                </a:rPr>
                <a:t>review_id</a:t>
              </a:r>
              <a:r>
                <a:rPr lang="en-US" sz="1200" dirty="0">
                  <a:solidFill>
                    <a:srgbClr val="808080"/>
                  </a:solidFill>
                  <a:latin typeface="Consolas" panose="020B0609020204030204" pitchFamily="49" charset="0"/>
                </a:rPr>
                <a:t>)</a:t>
              </a:r>
              <a:r>
                <a:rPr lang="en-US" sz="1200" dirty="0">
                  <a:solidFill>
                    <a:srgbClr val="000000"/>
                  </a:solidFill>
                  <a:latin typeface="Consolas" panose="020B0609020204030204" pitchFamily="49" charset="0"/>
                </a:rPr>
                <a:t> </a:t>
              </a:r>
              <a:r>
                <a:rPr lang="en-US" sz="1200" dirty="0" err="1">
                  <a:solidFill>
                    <a:srgbClr val="000000"/>
                  </a:solidFill>
                  <a:latin typeface="Consolas" panose="020B0609020204030204" pitchFamily="49" charset="0"/>
                </a:rPr>
                <a:t>total_reviews</a:t>
              </a:r>
              <a:endParaRPr lang="en-US" sz="1200" dirty="0">
                <a:solidFill>
                  <a:srgbClr val="000000"/>
                </a:solidFill>
                <a:latin typeface="Consolas" panose="020B0609020204030204" pitchFamily="49" charset="0"/>
              </a:endParaRPr>
            </a:p>
            <a:p>
              <a:pPr marL="114300" indent="0">
                <a:buNone/>
              </a:pPr>
              <a:r>
                <a:rPr lang="en-US" sz="1200" dirty="0">
                  <a:solidFill>
                    <a:srgbClr val="0000FF"/>
                  </a:solidFill>
                  <a:latin typeface="Consolas" panose="020B0609020204030204" pitchFamily="49" charset="0"/>
                </a:rPr>
                <a:t>from</a:t>
              </a:r>
              <a:r>
                <a:rPr lang="en-US" sz="1200" dirty="0">
                  <a:solidFill>
                    <a:srgbClr val="000000"/>
                  </a:solidFill>
                  <a:latin typeface="Consolas" panose="020B0609020204030204" pitchFamily="49" charset="0"/>
                </a:rPr>
                <a:t> orders o</a:t>
              </a:r>
            </a:p>
            <a:p>
              <a:pPr marL="114300" indent="0">
                <a:buNone/>
              </a:pPr>
              <a:r>
                <a:rPr lang="en-US" sz="1200" dirty="0">
                  <a:solidFill>
                    <a:srgbClr val="808080"/>
                  </a:solidFill>
                  <a:latin typeface="Consolas" panose="020B0609020204030204" pitchFamily="49" charset="0"/>
                </a:rPr>
                <a:t>left</a:t>
              </a:r>
              <a:r>
                <a:rPr lang="en-US" sz="1200" dirty="0">
                  <a:solidFill>
                    <a:srgbClr val="000000"/>
                  </a:solidFill>
                  <a:latin typeface="Consolas" panose="020B0609020204030204" pitchFamily="49" charset="0"/>
                </a:rPr>
                <a:t> </a:t>
              </a:r>
              <a:r>
                <a:rPr lang="en-US" sz="1200" dirty="0">
                  <a:solidFill>
                    <a:srgbClr val="808080"/>
                  </a:solidFill>
                  <a:latin typeface="Consolas" panose="020B0609020204030204" pitchFamily="49" charset="0"/>
                </a:rPr>
                <a:t>join</a:t>
              </a:r>
              <a:r>
                <a:rPr lang="en-US" sz="1200" dirty="0">
                  <a:solidFill>
                    <a:srgbClr val="000000"/>
                  </a:solidFill>
                  <a:latin typeface="Consolas" panose="020B0609020204030204" pitchFamily="49" charset="0"/>
                </a:rPr>
                <a:t> </a:t>
              </a:r>
              <a:r>
                <a:rPr lang="en-US" sz="1200" dirty="0" err="1">
                  <a:solidFill>
                    <a:srgbClr val="000000"/>
                  </a:solidFill>
                  <a:latin typeface="Consolas" panose="020B0609020204030204" pitchFamily="49" charset="0"/>
                </a:rPr>
                <a:t>order_reviews</a:t>
              </a:r>
              <a:r>
                <a:rPr lang="en-US" sz="1200" dirty="0">
                  <a:solidFill>
                    <a:srgbClr val="000000"/>
                  </a:solidFill>
                  <a:latin typeface="Consolas" panose="020B0609020204030204" pitchFamily="49" charset="0"/>
                </a:rPr>
                <a:t> </a:t>
              </a:r>
              <a:r>
                <a:rPr lang="en-US" sz="1200" dirty="0" err="1">
                  <a:solidFill>
                    <a:srgbClr val="000000"/>
                  </a:solidFill>
                  <a:latin typeface="Consolas" panose="020B0609020204030204" pitchFamily="49" charset="0"/>
                </a:rPr>
                <a:t>ors</a:t>
              </a:r>
              <a:r>
                <a:rPr lang="en-US" sz="1200" dirty="0">
                  <a:solidFill>
                    <a:srgbClr val="000000"/>
                  </a:solidFill>
                  <a:latin typeface="Consolas" panose="020B0609020204030204" pitchFamily="49" charset="0"/>
                </a:rPr>
                <a:t> </a:t>
              </a:r>
              <a:r>
                <a:rPr lang="en-US" sz="1200" dirty="0">
                  <a:solidFill>
                    <a:srgbClr val="0000FF"/>
                  </a:solidFill>
                  <a:latin typeface="Consolas" panose="020B0609020204030204" pitchFamily="49" charset="0"/>
                </a:rPr>
                <a:t>on</a:t>
              </a:r>
              <a:r>
                <a:rPr lang="en-US" sz="1200" dirty="0">
                  <a:solidFill>
                    <a:srgbClr val="000000"/>
                  </a:solidFill>
                  <a:latin typeface="Consolas" panose="020B0609020204030204" pitchFamily="49" charset="0"/>
                </a:rPr>
                <a:t> </a:t>
              </a:r>
              <a:r>
                <a:rPr lang="en-US" sz="1200" dirty="0" err="1">
                  <a:solidFill>
                    <a:srgbClr val="000000"/>
                  </a:solidFill>
                  <a:latin typeface="Consolas" panose="020B0609020204030204" pitchFamily="49" charset="0"/>
                </a:rPr>
                <a:t>o</a:t>
              </a:r>
              <a:r>
                <a:rPr lang="en-US" sz="1200" dirty="0" err="1">
                  <a:solidFill>
                    <a:srgbClr val="808080"/>
                  </a:solidFill>
                  <a:latin typeface="Consolas" panose="020B0609020204030204" pitchFamily="49" charset="0"/>
                </a:rPr>
                <a:t>.</a:t>
              </a:r>
              <a:r>
                <a:rPr lang="en-US" sz="1200" dirty="0" err="1">
                  <a:solidFill>
                    <a:srgbClr val="000000"/>
                  </a:solidFill>
                  <a:latin typeface="Consolas" panose="020B0609020204030204" pitchFamily="49" charset="0"/>
                </a:rPr>
                <a:t>order_id</a:t>
              </a:r>
              <a:r>
                <a:rPr lang="en-US" sz="1200" dirty="0">
                  <a:solidFill>
                    <a:srgbClr val="000000"/>
                  </a:solidFill>
                  <a:latin typeface="Consolas" panose="020B0609020204030204" pitchFamily="49" charset="0"/>
                </a:rPr>
                <a:t> </a:t>
              </a:r>
              <a:r>
                <a:rPr lang="en-US" sz="1200" dirty="0">
                  <a:solidFill>
                    <a:srgbClr val="808080"/>
                  </a:solidFill>
                  <a:latin typeface="Consolas" panose="020B0609020204030204" pitchFamily="49" charset="0"/>
                </a:rPr>
                <a:t>=</a:t>
              </a:r>
              <a:r>
                <a:rPr lang="en-US" sz="1200" dirty="0">
                  <a:solidFill>
                    <a:srgbClr val="000000"/>
                  </a:solidFill>
                  <a:latin typeface="Consolas" panose="020B0609020204030204" pitchFamily="49" charset="0"/>
                </a:rPr>
                <a:t> </a:t>
              </a:r>
              <a:r>
                <a:rPr lang="en-US" sz="1200" dirty="0" err="1">
                  <a:solidFill>
                    <a:srgbClr val="000000"/>
                  </a:solidFill>
                  <a:latin typeface="Consolas" panose="020B0609020204030204" pitchFamily="49" charset="0"/>
                </a:rPr>
                <a:t>ors</a:t>
              </a:r>
              <a:r>
                <a:rPr lang="en-US" sz="1200" dirty="0" err="1">
                  <a:solidFill>
                    <a:srgbClr val="808080"/>
                  </a:solidFill>
                  <a:latin typeface="Consolas" panose="020B0609020204030204" pitchFamily="49" charset="0"/>
                </a:rPr>
                <a:t>.</a:t>
              </a:r>
              <a:r>
                <a:rPr lang="en-US" sz="1200" dirty="0" err="1">
                  <a:solidFill>
                    <a:srgbClr val="000000"/>
                  </a:solidFill>
                  <a:latin typeface="Consolas" panose="020B0609020204030204" pitchFamily="49" charset="0"/>
                </a:rPr>
                <a:t>order_id</a:t>
              </a:r>
              <a:endParaRPr lang="en-US" sz="1200" dirty="0">
                <a:solidFill>
                  <a:srgbClr val="000000"/>
                </a:solidFill>
                <a:latin typeface="Consolas" panose="020B0609020204030204" pitchFamily="49" charset="0"/>
              </a:endParaRPr>
            </a:p>
            <a:p>
              <a:pPr marL="114300" indent="0">
                <a:buNone/>
              </a:pPr>
              <a:r>
                <a:rPr lang="en-US" sz="1200" dirty="0">
                  <a:solidFill>
                    <a:srgbClr val="0000FF"/>
                  </a:solidFill>
                  <a:latin typeface="Consolas" panose="020B0609020204030204" pitchFamily="49" charset="0"/>
                </a:rPr>
                <a:t>group</a:t>
              </a:r>
              <a:r>
                <a:rPr lang="en-US" sz="1200" dirty="0">
                  <a:solidFill>
                    <a:srgbClr val="000000"/>
                  </a:solidFill>
                  <a:latin typeface="Consolas" panose="020B0609020204030204" pitchFamily="49" charset="0"/>
                </a:rPr>
                <a:t> </a:t>
              </a:r>
              <a:r>
                <a:rPr lang="en-US" sz="1200" dirty="0">
                  <a:solidFill>
                    <a:srgbClr val="0000FF"/>
                  </a:solidFill>
                  <a:latin typeface="Consolas" panose="020B0609020204030204" pitchFamily="49" charset="0"/>
                </a:rPr>
                <a:t>by</a:t>
              </a:r>
              <a:r>
                <a:rPr lang="en-US" sz="1200" dirty="0">
                  <a:solidFill>
                    <a:srgbClr val="000000"/>
                  </a:solidFill>
                  <a:latin typeface="Consolas" panose="020B0609020204030204" pitchFamily="49" charset="0"/>
                </a:rPr>
                <a:t> </a:t>
              </a:r>
              <a:r>
                <a:rPr lang="en-US" sz="1200" dirty="0" err="1">
                  <a:solidFill>
                    <a:srgbClr val="000000"/>
                  </a:solidFill>
                  <a:latin typeface="Consolas" panose="020B0609020204030204" pitchFamily="49" charset="0"/>
                </a:rPr>
                <a:t>o</a:t>
              </a:r>
              <a:r>
                <a:rPr lang="en-US" sz="1200" dirty="0" err="1">
                  <a:solidFill>
                    <a:srgbClr val="808080"/>
                  </a:solidFill>
                  <a:latin typeface="Consolas" panose="020B0609020204030204" pitchFamily="49" charset="0"/>
                </a:rPr>
                <a:t>.</a:t>
              </a:r>
              <a:r>
                <a:rPr lang="en-US" sz="1200" dirty="0" err="1">
                  <a:solidFill>
                    <a:srgbClr val="000000"/>
                  </a:solidFill>
                  <a:latin typeface="Consolas" panose="020B0609020204030204" pitchFamily="49" charset="0"/>
                </a:rPr>
                <a:t>order_id</a:t>
              </a:r>
              <a:r>
                <a:rPr lang="en-US" sz="1200" dirty="0" err="1">
                  <a:solidFill>
                    <a:srgbClr val="808080"/>
                  </a:solidFill>
                  <a:latin typeface="Consolas" panose="020B0609020204030204" pitchFamily="49" charset="0"/>
                </a:rPr>
                <a:t>,</a:t>
              </a:r>
              <a:r>
                <a:rPr lang="en-US" sz="1200" dirty="0" err="1">
                  <a:solidFill>
                    <a:srgbClr val="000000"/>
                  </a:solidFill>
                  <a:latin typeface="Consolas" panose="020B0609020204030204" pitchFamily="49" charset="0"/>
                </a:rPr>
                <a:t>o</a:t>
              </a:r>
              <a:r>
                <a:rPr lang="en-US" sz="1200" dirty="0" err="1">
                  <a:solidFill>
                    <a:srgbClr val="808080"/>
                  </a:solidFill>
                  <a:latin typeface="Consolas" panose="020B0609020204030204" pitchFamily="49" charset="0"/>
                </a:rPr>
                <a:t>.</a:t>
              </a:r>
              <a:r>
                <a:rPr lang="en-US" sz="1200" dirty="0" err="1">
                  <a:solidFill>
                    <a:srgbClr val="000000"/>
                  </a:solidFill>
                  <a:latin typeface="Consolas" panose="020B0609020204030204" pitchFamily="49" charset="0"/>
                </a:rPr>
                <a:t>customer_id</a:t>
              </a:r>
              <a:r>
                <a:rPr lang="en-US" sz="1200" dirty="0">
                  <a:solidFill>
                    <a:srgbClr val="000000"/>
                  </a:solidFill>
                  <a:latin typeface="Consolas" panose="020B0609020204030204" pitchFamily="49" charset="0"/>
                </a:rPr>
                <a:t>)</a:t>
              </a:r>
            </a:p>
            <a:p>
              <a:pPr marL="114300" indent="0">
                <a:buNone/>
              </a:pPr>
              <a:endParaRPr lang="en-US" sz="1200" dirty="0">
                <a:solidFill>
                  <a:srgbClr val="000000"/>
                </a:solidFill>
                <a:latin typeface="Consolas" panose="020B0609020204030204" pitchFamily="49" charset="0"/>
              </a:endParaRPr>
            </a:p>
            <a:p>
              <a:pPr marL="114300" indent="0">
                <a:buNone/>
              </a:pPr>
              <a:r>
                <a:rPr lang="en-US" sz="1200" dirty="0">
                  <a:solidFill>
                    <a:srgbClr val="0000FF"/>
                  </a:solidFill>
                  <a:latin typeface="Consolas" panose="020B0609020204030204" pitchFamily="49" charset="0"/>
                </a:rPr>
                <a:t>select</a:t>
              </a:r>
              <a:r>
                <a:rPr lang="en-US" sz="1200" dirty="0">
                  <a:solidFill>
                    <a:srgbClr val="000000"/>
                  </a:solidFill>
                  <a:latin typeface="Consolas" panose="020B0609020204030204" pitchFamily="49" charset="0"/>
                </a:rPr>
                <a:t> </a:t>
              </a:r>
              <a:r>
                <a:rPr lang="en-US" sz="1200" dirty="0" err="1">
                  <a:solidFill>
                    <a:srgbClr val="000000"/>
                  </a:solidFill>
                  <a:latin typeface="Consolas" panose="020B0609020204030204" pitchFamily="49" charset="0"/>
                </a:rPr>
                <a:t>c</a:t>
              </a:r>
              <a:r>
                <a:rPr lang="en-US" sz="1200" dirty="0" err="1">
                  <a:solidFill>
                    <a:srgbClr val="808080"/>
                  </a:solidFill>
                  <a:latin typeface="Consolas" panose="020B0609020204030204" pitchFamily="49" charset="0"/>
                </a:rPr>
                <a:t>.</a:t>
              </a:r>
              <a:r>
                <a:rPr lang="en-US" sz="1200" dirty="0" err="1">
                  <a:solidFill>
                    <a:srgbClr val="000000"/>
                  </a:solidFill>
                  <a:latin typeface="Consolas" panose="020B0609020204030204" pitchFamily="49" charset="0"/>
                </a:rPr>
                <a:t>customer_id</a:t>
              </a:r>
              <a:r>
                <a:rPr lang="en-US" sz="1200" dirty="0">
                  <a:solidFill>
                    <a:srgbClr val="808080"/>
                  </a:solidFill>
                  <a:latin typeface="Consolas" panose="020B0609020204030204" pitchFamily="49" charset="0"/>
                </a:rPr>
                <a:t>,</a:t>
              </a:r>
              <a:r>
                <a:rPr lang="en-US" sz="1200" dirty="0">
                  <a:solidFill>
                    <a:srgbClr val="000000"/>
                  </a:solidFill>
                  <a:latin typeface="Consolas" panose="020B0609020204030204" pitchFamily="49" charset="0"/>
                </a:rPr>
                <a:t> </a:t>
              </a:r>
              <a:r>
                <a:rPr lang="en-US" sz="1200" dirty="0" err="1">
                  <a:solidFill>
                    <a:srgbClr val="000000"/>
                  </a:solidFill>
                  <a:latin typeface="Consolas" panose="020B0609020204030204" pitchFamily="49" charset="0"/>
                </a:rPr>
                <a:t>c</a:t>
              </a:r>
              <a:r>
                <a:rPr lang="en-US" sz="1200" dirty="0" err="1">
                  <a:solidFill>
                    <a:srgbClr val="808080"/>
                  </a:solidFill>
                  <a:latin typeface="Consolas" panose="020B0609020204030204" pitchFamily="49" charset="0"/>
                </a:rPr>
                <a:t>.</a:t>
              </a:r>
              <a:r>
                <a:rPr lang="en-US" sz="1200" dirty="0" err="1">
                  <a:solidFill>
                    <a:srgbClr val="000000"/>
                  </a:solidFill>
                  <a:latin typeface="Consolas" panose="020B0609020204030204" pitchFamily="49" charset="0"/>
                </a:rPr>
                <a:t>customer_unique_id</a:t>
              </a:r>
              <a:r>
                <a:rPr lang="en-US" sz="1200" dirty="0">
                  <a:solidFill>
                    <a:srgbClr val="808080"/>
                  </a:solidFill>
                  <a:latin typeface="Consolas" panose="020B0609020204030204" pitchFamily="49" charset="0"/>
                </a:rPr>
                <a:t>,</a:t>
              </a:r>
              <a:r>
                <a:rPr lang="en-US" sz="1200" dirty="0">
                  <a:solidFill>
                    <a:srgbClr val="000000"/>
                  </a:solidFill>
                  <a:latin typeface="Consolas" panose="020B0609020204030204" pitchFamily="49" charset="0"/>
                </a:rPr>
                <a:t> </a:t>
              </a:r>
              <a:r>
                <a:rPr lang="en-US" sz="1200" dirty="0" err="1">
                  <a:solidFill>
                    <a:srgbClr val="000000"/>
                  </a:solidFill>
                  <a:latin typeface="Consolas" panose="020B0609020204030204" pitchFamily="49" charset="0"/>
                </a:rPr>
                <a:t>c</a:t>
              </a:r>
              <a:r>
                <a:rPr lang="en-US" sz="1200" dirty="0" err="1">
                  <a:solidFill>
                    <a:srgbClr val="808080"/>
                  </a:solidFill>
                  <a:latin typeface="Consolas" panose="020B0609020204030204" pitchFamily="49" charset="0"/>
                </a:rPr>
                <a:t>.</a:t>
              </a:r>
              <a:r>
                <a:rPr lang="en-US" sz="1200" dirty="0" err="1">
                  <a:solidFill>
                    <a:srgbClr val="000000"/>
                  </a:solidFill>
                  <a:latin typeface="Consolas" panose="020B0609020204030204" pitchFamily="49" charset="0"/>
                </a:rPr>
                <a:t>customer_zip_code_prefix</a:t>
              </a:r>
              <a:r>
                <a:rPr lang="en-US" sz="1200" dirty="0">
                  <a:solidFill>
                    <a:srgbClr val="808080"/>
                  </a:solidFill>
                  <a:latin typeface="Consolas" panose="020B0609020204030204" pitchFamily="49" charset="0"/>
                </a:rPr>
                <a:t>,</a:t>
              </a:r>
              <a:r>
                <a:rPr lang="en-US" sz="1200" dirty="0">
                  <a:solidFill>
                    <a:srgbClr val="000000"/>
                  </a:solidFill>
                  <a:latin typeface="Consolas" panose="020B0609020204030204" pitchFamily="49" charset="0"/>
                </a:rPr>
                <a:t> </a:t>
              </a:r>
              <a:r>
                <a:rPr lang="en-US" sz="1200" dirty="0" err="1">
                  <a:solidFill>
                    <a:srgbClr val="000000"/>
                  </a:solidFill>
                  <a:latin typeface="Consolas" panose="020B0609020204030204" pitchFamily="49" charset="0"/>
                </a:rPr>
                <a:t>c</a:t>
              </a:r>
              <a:r>
                <a:rPr lang="en-US" sz="1200" dirty="0" err="1">
                  <a:solidFill>
                    <a:srgbClr val="808080"/>
                  </a:solidFill>
                  <a:latin typeface="Consolas" panose="020B0609020204030204" pitchFamily="49" charset="0"/>
                </a:rPr>
                <a:t>.</a:t>
              </a:r>
              <a:r>
                <a:rPr lang="en-US" sz="1200" dirty="0" err="1">
                  <a:solidFill>
                    <a:srgbClr val="000000"/>
                  </a:solidFill>
                  <a:latin typeface="Consolas" panose="020B0609020204030204" pitchFamily="49" charset="0"/>
                </a:rPr>
                <a:t>customer_city</a:t>
              </a:r>
              <a:r>
                <a:rPr lang="en-US" sz="1200" dirty="0">
                  <a:solidFill>
                    <a:srgbClr val="808080"/>
                  </a:solidFill>
                  <a:latin typeface="Consolas" panose="020B0609020204030204" pitchFamily="49" charset="0"/>
                </a:rPr>
                <a:t>,</a:t>
              </a:r>
              <a:r>
                <a:rPr lang="en-US" sz="1200" dirty="0">
                  <a:solidFill>
                    <a:srgbClr val="000000"/>
                  </a:solidFill>
                  <a:latin typeface="Consolas" panose="020B0609020204030204" pitchFamily="49" charset="0"/>
                </a:rPr>
                <a:t> </a:t>
              </a:r>
              <a:r>
                <a:rPr lang="en-US" sz="1200" dirty="0" err="1">
                  <a:solidFill>
                    <a:srgbClr val="000000"/>
                  </a:solidFill>
                  <a:latin typeface="Consolas" panose="020B0609020204030204" pitchFamily="49" charset="0"/>
                </a:rPr>
                <a:t>c</a:t>
              </a:r>
              <a:r>
                <a:rPr lang="en-US" sz="1200" dirty="0" err="1">
                  <a:solidFill>
                    <a:srgbClr val="808080"/>
                  </a:solidFill>
                  <a:latin typeface="Consolas" panose="020B0609020204030204" pitchFamily="49" charset="0"/>
                </a:rPr>
                <a:t>.</a:t>
              </a:r>
              <a:r>
                <a:rPr lang="en-US" sz="1200" dirty="0" err="1">
                  <a:solidFill>
                    <a:srgbClr val="000000"/>
                  </a:solidFill>
                  <a:latin typeface="Consolas" panose="020B0609020204030204" pitchFamily="49" charset="0"/>
                </a:rPr>
                <a:t>customer_state</a:t>
              </a:r>
              <a:r>
                <a:rPr lang="en-US" sz="1200" dirty="0">
                  <a:solidFill>
                    <a:srgbClr val="808080"/>
                  </a:solidFill>
                  <a:latin typeface="Consolas" panose="020B0609020204030204" pitchFamily="49" charset="0"/>
                </a:rPr>
                <a:t>,</a:t>
              </a:r>
              <a:r>
                <a:rPr lang="en-US" sz="1200" dirty="0">
                  <a:solidFill>
                    <a:srgbClr val="000000"/>
                  </a:solidFill>
                  <a:latin typeface="Consolas" panose="020B0609020204030204" pitchFamily="49" charset="0"/>
                </a:rPr>
                <a:t> </a:t>
              </a:r>
              <a:r>
                <a:rPr lang="en-US" sz="1200" dirty="0">
                  <a:solidFill>
                    <a:srgbClr val="FF00FF"/>
                  </a:solidFill>
                  <a:latin typeface="Consolas" panose="020B0609020204030204" pitchFamily="49" charset="0"/>
                </a:rPr>
                <a:t>count</a:t>
              </a:r>
              <a:r>
                <a:rPr lang="en-US" sz="1200" dirty="0">
                  <a:solidFill>
                    <a:srgbClr val="808080"/>
                  </a:solidFill>
                  <a:latin typeface="Consolas" panose="020B0609020204030204" pitchFamily="49" charset="0"/>
                </a:rPr>
                <a:t>(</a:t>
              </a:r>
              <a:r>
                <a:rPr lang="en-US" sz="1200" dirty="0" err="1">
                  <a:solidFill>
                    <a:srgbClr val="000000"/>
                  </a:solidFill>
                  <a:latin typeface="Consolas" panose="020B0609020204030204" pitchFamily="49" charset="0"/>
                </a:rPr>
                <a:t>o</a:t>
              </a:r>
              <a:r>
                <a:rPr lang="en-US" sz="1200" dirty="0" err="1">
                  <a:solidFill>
                    <a:srgbClr val="808080"/>
                  </a:solidFill>
                  <a:latin typeface="Consolas" panose="020B0609020204030204" pitchFamily="49" charset="0"/>
                </a:rPr>
                <a:t>.</a:t>
              </a:r>
              <a:r>
                <a:rPr lang="en-US" sz="1200" dirty="0" err="1">
                  <a:solidFill>
                    <a:srgbClr val="000000"/>
                  </a:solidFill>
                  <a:latin typeface="Consolas" panose="020B0609020204030204" pitchFamily="49" charset="0"/>
                </a:rPr>
                <a:t>order_id</a:t>
              </a:r>
              <a:r>
                <a:rPr lang="en-US" sz="1200" dirty="0">
                  <a:solidFill>
                    <a:srgbClr val="808080"/>
                  </a:solidFill>
                  <a:latin typeface="Consolas" panose="020B0609020204030204" pitchFamily="49" charset="0"/>
                </a:rPr>
                <a:t>)</a:t>
              </a:r>
              <a:r>
                <a:rPr lang="en-US" sz="1200" dirty="0">
                  <a:solidFill>
                    <a:srgbClr val="000000"/>
                  </a:solidFill>
                  <a:latin typeface="Consolas" panose="020B0609020204030204" pitchFamily="49" charset="0"/>
                </a:rPr>
                <a:t> </a:t>
              </a:r>
              <a:r>
                <a:rPr lang="en-US" sz="1200" dirty="0" err="1">
                  <a:solidFill>
                    <a:srgbClr val="000000"/>
                  </a:solidFill>
                  <a:latin typeface="Consolas" panose="020B0609020204030204" pitchFamily="49" charset="0"/>
                </a:rPr>
                <a:t>total_order</a:t>
              </a:r>
              <a:r>
                <a:rPr lang="en-US" sz="1200" dirty="0">
                  <a:solidFill>
                    <a:srgbClr val="808080"/>
                  </a:solidFill>
                  <a:latin typeface="Consolas" panose="020B0609020204030204" pitchFamily="49" charset="0"/>
                </a:rPr>
                <a:t>,</a:t>
              </a:r>
              <a:endParaRPr lang="en-US" sz="1200" dirty="0">
                <a:solidFill>
                  <a:srgbClr val="000000"/>
                </a:solidFill>
                <a:latin typeface="Consolas" panose="020B0609020204030204" pitchFamily="49" charset="0"/>
              </a:endParaRPr>
            </a:p>
            <a:p>
              <a:pPr marL="114300" indent="0">
                <a:buNone/>
              </a:pPr>
              <a:r>
                <a:rPr lang="en-US" sz="1200" dirty="0">
                  <a:solidFill>
                    <a:srgbClr val="0000FF"/>
                  </a:solidFill>
                  <a:latin typeface="Consolas" panose="020B0609020204030204" pitchFamily="49" charset="0"/>
                </a:rPr>
                <a:t>case</a:t>
              </a:r>
              <a:r>
                <a:rPr lang="en-US" sz="1200" dirty="0">
                  <a:solidFill>
                    <a:srgbClr val="000000"/>
                  </a:solidFill>
                  <a:latin typeface="Consolas" panose="020B0609020204030204" pitchFamily="49" charset="0"/>
                </a:rPr>
                <a:t> </a:t>
              </a:r>
            </a:p>
            <a:p>
              <a:pPr marL="114300" indent="0">
                <a:buNone/>
              </a:pPr>
              <a:r>
                <a:rPr lang="en-US" sz="1200" dirty="0">
                  <a:solidFill>
                    <a:srgbClr val="0000FF"/>
                  </a:solidFill>
                  <a:latin typeface="Consolas" panose="020B0609020204030204" pitchFamily="49" charset="0"/>
                </a:rPr>
                <a:t>when</a:t>
              </a:r>
              <a:r>
                <a:rPr lang="en-US" sz="1200" dirty="0">
                  <a:solidFill>
                    <a:srgbClr val="000000"/>
                  </a:solidFill>
                  <a:latin typeface="Consolas" panose="020B0609020204030204" pitchFamily="49" charset="0"/>
                </a:rPr>
                <a:t> </a:t>
              </a:r>
              <a:r>
                <a:rPr lang="en-US" sz="1200" dirty="0">
                  <a:solidFill>
                    <a:srgbClr val="FF00FF"/>
                  </a:solidFill>
                  <a:latin typeface="Consolas" panose="020B0609020204030204" pitchFamily="49" charset="0"/>
                </a:rPr>
                <a:t>count</a:t>
              </a:r>
              <a:r>
                <a:rPr lang="en-US" sz="1200" dirty="0">
                  <a:solidFill>
                    <a:srgbClr val="808080"/>
                  </a:solidFill>
                  <a:latin typeface="Consolas" panose="020B0609020204030204" pitchFamily="49" charset="0"/>
                </a:rPr>
                <a:t>(</a:t>
              </a:r>
              <a:r>
                <a:rPr lang="en-US" sz="1200" dirty="0" err="1">
                  <a:solidFill>
                    <a:srgbClr val="000000"/>
                  </a:solidFill>
                  <a:latin typeface="Consolas" panose="020B0609020204030204" pitchFamily="49" charset="0"/>
                </a:rPr>
                <a:t>o</a:t>
              </a:r>
              <a:r>
                <a:rPr lang="en-US" sz="1200" dirty="0" err="1">
                  <a:solidFill>
                    <a:srgbClr val="808080"/>
                  </a:solidFill>
                  <a:latin typeface="Consolas" panose="020B0609020204030204" pitchFamily="49" charset="0"/>
                </a:rPr>
                <a:t>.</a:t>
              </a:r>
              <a:r>
                <a:rPr lang="en-US" sz="1200" dirty="0" err="1">
                  <a:solidFill>
                    <a:srgbClr val="000000"/>
                  </a:solidFill>
                  <a:latin typeface="Consolas" panose="020B0609020204030204" pitchFamily="49" charset="0"/>
                </a:rPr>
                <a:t>order_id</a:t>
              </a:r>
              <a:r>
                <a:rPr lang="en-US" sz="1200" dirty="0">
                  <a:solidFill>
                    <a:srgbClr val="808080"/>
                  </a:solidFill>
                  <a:latin typeface="Consolas" panose="020B0609020204030204" pitchFamily="49" charset="0"/>
                </a:rPr>
                <a:t>)</a:t>
              </a:r>
              <a:r>
                <a:rPr lang="en-US" sz="1200" dirty="0">
                  <a:solidFill>
                    <a:srgbClr val="000000"/>
                  </a:solidFill>
                  <a:latin typeface="Consolas" panose="020B0609020204030204" pitchFamily="49" charset="0"/>
                </a:rPr>
                <a:t> </a:t>
              </a:r>
              <a:r>
                <a:rPr lang="en-US" sz="1200" dirty="0">
                  <a:solidFill>
                    <a:srgbClr val="808080"/>
                  </a:solidFill>
                  <a:latin typeface="Consolas" panose="020B0609020204030204" pitchFamily="49" charset="0"/>
                </a:rPr>
                <a:t>&lt;</a:t>
              </a:r>
              <a:r>
                <a:rPr lang="en-US" sz="1200" dirty="0">
                  <a:solidFill>
                    <a:srgbClr val="000000"/>
                  </a:solidFill>
                  <a:latin typeface="Consolas" panose="020B0609020204030204" pitchFamily="49" charset="0"/>
                </a:rPr>
                <a:t> 2 </a:t>
              </a:r>
              <a:r>
                <a:rPr lang="en-US" sz="1200" dirty="0">
                  <a:solidFill>
                    <a:srgbClr val="0000FF"/>
                  </a:solidFill>
                  <a:latin typeface="Consolas" panose="020B0609020204030204" pitchFamily="49" charset="0"/>
                </a:rPr>
                <a:t>then</a:t>
              </a:r>
              <a:r>
                <a:rPr lang="en-US" sz="1200" dirty="0">
                  <a:solidFill>
                    <a:srgbClr val="000000"/>
                  </a:solidFill>
                  <a:latin typeface="Consolas" panose="020B0609020204030204" pitchFamily="49" charset="0"/>
                </a:rPr>
                <a:t> </a:t>
              </a:r>
              <a:r>
                <a:rPr lang="en-US" sz="1200" dirty="0">
                  <a:solidFill>
                    <a:srgbClr val="FF0000"/>
                  </a:solidFill>
                  <a:latin typeface="Consolas" panose="020B0609020204030204" pitchFamily="49" charset="0"/>
                </a:rPr>
                <a:t>'New customer'</a:t>
              </a:r>
              <a:endParaRPr lang="en-US" sz="1200" dirty="0">
                <a:solidFill>
                  <a:srgbClr val="000000"/>
                </a:solidFill>
                <a:latin typeface="Consolas" panose="020B0609020204030204" pitchFamily="49" charset="0"/>
              </a:endParaRPr>
            </a:p>
            <a:p>
              <a:pPr marL="114300" indent="0">
                <a:buNone/>
              </a:pPr>
              <a:r>
                <a:rPr lang="en-US" sz="1200" dirty="0">
                  <a:solidFill>
                    <a:srgbClr val="0000FF"/>
                  </a:solidFill>
                  <a:latin typeface="Consolas" panose="020B0609020204030204" pitchFamily="49" charset="0"/>
                </a:rPr>
                <a:t>when</a:t>
              </a:r>
              <a:r>
                <a:rPr lang="en-US" sz="1200" dirty="0">
                  <a:solidFill>
                    <a:srgbClr val="000000"/>
                  </a:solidFill>
                  <a:latin typeface="Consolas" panose="020B0609020204030204" pitchFamily="49" charset="0"/>
                </a:rPr>
                <a:t> </a:t>
              </a:r>
              <a:r>
                <a:rPr lang="en-US" sz="1200" dirty="0">
                  <a:solidFill>
                    <a:srgbClr val="FF00FF"/>
                  </a:solidFill>
                  <a:latin typeface="Consolas" panose="020B0609020204030204" pitchFamily="49" charset="0"/>
                </a:rPr>
                <a:t>count</a:t>
              </a:r>
              <a:r>
                <a:rPr lang="en-US" sz="1200" dirty="0">
                  <a:solidFill>
                    <a:srgbClr val="808080"/>
                  </a:solidFill>
                  <a:latin typeface="Consolas" panose="020B0609020204030204" pitchFamily="49" charset="0"/>
                </a:rPr>
                <a:t>(</a:t>
              </a:r>
              <a:r>
                <a:rPr lang="en-US" sz="1200" dirty="0" err="1">
                  <a:solidFill>
                    <a:srgbClr val="000000"/>
                  </a:solidFill>
                  <a:latin typeface="Consolas" panose="020B0609020204030204" pitchFamily="49" charset="0"/>
                </a:rPr>
                <a:t>o</a:t>
              </a:r>
              <a:r>
                <a:rPr lang="en-US" sz="1200" dirty="0" err="1">
                  <a:solidFill>
                    <a:srgbClr val="808080"/>
                  </a:solidFill>
                  <a:latin typeface="Consolas" panose="020B0609020204030204" pitchFamily="49" charset="0"/>
                </a:rPr>
                <a:t>.</a:t>
              </a:r>
              <a:r>
                <a:rPr lang="en-US" sz="1200" dirty="0" err="1">
                  <a:solidFill>
                    <a:srgbClr val="000000"/>
                  </a:solidFill>
                  <a:latin typeface="Consolas" panose="020B0609020204030204" pitchFamily="49" charset="0"/>
                </a:rPr>
                <a:t>order_id</a:t>
              </a:r>
              <a:r>
                <a:rPr lang="en-US" sz="1200" dirty="0">
                  <a:solidFill>
                    <a:srgbClr val="808080"/>
                  </a:solidFill>
                  <a:latin typeface="Consolas" panose="020B0609020204030204" pitchFamily="49" charset="0"/>
                </a:rPr>
                <a:t>)</a:t>
              </a:r>
              <a:r>
                <a:rPr lang="en-US" sz="1200" dirty="0">
                  <a:solidFill>
                    <a:srgbClr val="000000"/>
                  </a:solidFill>
                  <a:latin typeface="Consolas" panose="020B0609020204030204" pitchFamily="49" charset="0"/>
                </a:rPr>
                <a:t> </a:t>
              </a:r>
              <a:r>
                <a:rPr lang="en-US" sz="1200" dirty="0">
                  <a:solidFill>
                    <a:srgbClr val="808080"/>
                  </a:solidFill>
                  <a:latin typeface="Consolas" panose="020B0609020204030204" pitchFamily="49" charset="0"/>
                </a:rPr>
                <a:t>&gt;</a:t>
              </a:r>
              <a:r>
                <a:rPr lang="en-US" sz="1200" dirty="0">
                  <a:solidFill>
                    <a:srgbClr val="000000"/>
                  </a:solidFill>
                  <a:latin typeface="Consolas" panose="020B0609020204030204" pitchFamily="49" charset="0"/>
                </a:rPr>
                <a:t> 5 </a:t>
              </a:r>
              <a:r>
                <a:rPr lang="en-US" sz="1200" dirty="0">
                  <a:solidFill>
                    <a:srgbClr val="0000FF"/>
                  </a:solidFill>
                  <a:latin typeface="Consolas" panose="020B0609020204030204" pitchFamily="49" charset="0"/>
                </a:rPr>
                <a:t>then</a:t>
              </a:r>
              <a:r>
                <a:rPr lang="en-US" sz="1200" dirty="0">
                  <a:solidFill>
                    <a:srgbClr val="000000"/>
                  </a:solidFill>
                  <a:latin typeface="Consolas" panose="020B0609020204030204" pitchFamily="49" charset="0"/>
                </a:rPr>
                <a:t> </a:t>
              </a:r>
              <a:r>
                <a:rPr lang="en-US" sz="1200" dirty="0">
                  <a:solidFill>
                    <a:srgbClr val="FF0000"/>
                  </a:solidFill>
                  <a:latin typeface="Consolas" panose="020B0609020204030204" pitchFamily="49" charset="0"/>
                </a:rPr>
                <a:t>'Regular customer'</a:t>
              </a:r>
              <a:endParaRPr lang="en-US" sz="1200" dirty="0">
                <a:solidFill>
                  <a:srgbClr val="000000"/>
                </a:solidFill>
                <a:latin typeface="Consolas" panose="020B0609020204030204" pitchFamily="49" charset="0"/>
              </a:endParaRPr>
            </a:p>
            <a:p>
              <a:pPr marL="114300" indent="0">
                <a:buNone/>
              </a:pPr>
              <a:r>
                <a:rPr lang="en-US" sz="1200" dirty="0">
                  <a:solidFill>
                    <a:srgbClr val="0000FF"/>
                  </a:solidFill>
                  <a:latin typeface="Consolas" panose="020B0609020204030204" pitchFamily="49" charset="0"/>
                </a:rPr>
                <a:t>end</a:t>
              </a:r>
              <a:r>
                <a:rPr lang="en-US" sz="1200" dirty="0">
                  <a:solidFill>
                    <a:srgbClr val="000000"/>
                  </a:solidFill>
                  <a:latin typeface="Consolas" panose="020B0609020204030204" pitchFamily="49" charset="0"/>
                </a:rPr>
                <a:t> </a:t>
              </a:r>
              <a:r>
                <a:rPr lang="en-US" sz="1200" dirty="0" err="1">
                  <a:solidFill>
                    <a:srgbClr val="000000"/>
                  </a:solidFill>
                  <a:latin typeface="Consolas" panose="020B0609020204030204" pitchFamily="49" charset="0"/>
                </a:rPr>
                <a:t>customer_type</a:t>
              </a:r>
              <a:r>
                <a:rPr lang="en-US" sz="1200" dirty="0">
                  <a:solidFill>
                    <a:srgbClr val="808080"/>
                  </a:solidFill>
                  <a:latin typeface="Consolas" panose="020B0609020204030204" pitchFamily="49" charset="0"/>
                </a:rPr>
                <a:t>,</a:t>
              </a:r>
              <a:endParaRPr lang="en-US" sz="1200" dirty="0">
                <a:solidFill>
                  <a:srgbClr val="000000"/>
                </a:solidFill>
                <a:latin typeface="Consolas" panose="020B0609020204030204" pitchFamily="49" charset="0"/>
              </a:endParaRPr>
            </a:p>
            <a:p>
              <a:pPr marL="114300" indent="0">
                <a:buNone/>
              </a:pPr>
              <a:r>
                <a:rPr lang="en-US" sz="1200" dirty="0">
                  <a:solidFill>
                    <a:srgbClr val="FF00FF"/>
                  </a:solidFill>
                  <a:latin typeface="Consolas" panose="020B0609020204030204" pitchFamily="49" charset="0"/>
                </a:rPr>
                <a:t>sum</a:t>
              </a:r>
              <a:r>
                <a:rPr lang="en-US" sz="1200" dirty="0">
                  <a:solidFill>
                    <a:srgbClr val="808080"/>
                  </a:solidFill>
                  <a:latin typeface="Consolas" panose="020B0609020204030204" pitchFamily="49" charset="0"/>
                </a:rPr>
                <a:t>(</a:t>
              </a:r>
              <a:r>
                <a:rPr lang="en-US" sz="1200" dirty="0" err="1">
                  <a:solidFill>
                    <a:srgbClr val="000000"/>
                  </a:solidFill>
                  <a:latin typeface="Consolas" panose="020B0609020204030204" pitchFamily="49" charset="0"/>
                </a:rPr>
                <a:t>cte</a:t>
              </a:r>
              <a:r>
                <a:rPr lang="en-US" sz="1200" dirty="0" err="1">
                  <a:solidFill>
                    <a:srgbClr val="808080"/>
                  </a:solidFill>
                  <a:latin typeface="Consolas" panose="020B0609020204030204" pitchFamily="49" charset="0"/>
                </a:rPr>
                <a:t>.</a:t>
              </a:r>
              <a:r>
                <a:rPr lang="en-US" sz="1200" dirty="0" err="1">
                  <a:solidFill>
                    <a:srgbClr val="000000"/>
                  </a:solidFill>
                  <a:latin typeface="Consolas" panose="020B0609020204030204" pitchFamily="49" charset="0"/>
                </a:rPr>
                <a:t>total_reviews</a:t>
              </a:r>
              <a:r>
                <a:rPr lang="en-US" sz="1200" dirty="0">
                  <a:solidFill>
                    <a:srgbClr val="808080"/>
                  </a:solidFill>
                  <a:latin typeface="Consolas" panose="020B0609020204030204" pitchFamily="49" charset="0"/>
                </a:rPr>
                <a:t>)</a:t>
              </a:r>
              <a:r>
                <a:rPr lang="en-US" sz="1200" dirty="0">
                  <a:solidFill>
                    <a:srgbClr val="000000"/>
                  </a:solidFill>
                  <a:latin typeface="Consolas" panose="020B0609020204030204" pitchFamily="49" charset="0"/>
                </a:rPr>
                <a:t> </a:t>
              </a:r>
              <a:r>
                <a:rPr lang="en-US" sz="1200" dirty="0" err="1">
                  <a:solidFill>
                    <a:srgbClr val="000000"/>
                  </a:solidFill>
                  <a:latin typeface="Consolas" panose="020B0609020204030204" pitchFamily="49" charset="0"/>
                </a:rPr>
                <a:t>total_reviews</a:t>
              </a:r>
              <a:endParaRPr lang="en-US" sz="1200" dirty="0">
                <a:solidFill>
                  <a:srgbClr val="000000"/>
                </a:solidFill>
                <a:latin typeface="Consolas" panose="020B0609020204030204" pitchFamily="49" charset="0"/>
              </a:endParaRPr>
            </a:p>
            <a:p>
              <a:pPr marL="114300" indent="0">
                <a:buNone/>
              </a:pPr>
              <a:r>
                <a:rPr lang="en-US" sz="1200" dirty="0">
                  <a:solidFill>
                    <a:srgbClr val="0000FF"/>
                  </a:solidFill>
                  <a:latin typeface="Consolas" panose="020B0609020204030204" pitchFamily="49" charset="0"/>
                </a:rPr>
                <a:t>into</a:t>
              </a:r>
              <a:r>
                <a:rPr lang="en-US" sz="1200" dirty="0">
                  <a:solidFill>
                    <a:srgbClr val="000000"/>
                  </a:solidFill>
                  <a:latin typeface="Consolas" panose="020B0609020204030204" pitchFamily="49" charset="0"/>
                </a:rPr>
                <a:t> </a:t>
              </a:r>
              <a:r>
                <a:rPr lang="en-US" sz="1200" dirty="0" err="1">
                  <a:solidFill>
                    <a:srgbClr val="000000"/>
                  </a:solidFill>
                  <a:latin typeface="Consolas" panose="020B0609020204030204" pitchFamily="49" charset="0"/>
                </a:rPr>
                <a:t>customers_enriched</a:t>
              </a:r>
              <a:endParaRPr lang="en-US" sz="1200" dirty="0">
                <a:solidFill>
                  <a:srgbClr val="000000"/>
                </a:solidFill>
                <a:latin typeface="Consolas" panose="020B0609020204030204" pitchFamily="49" charset="0"/>
              </a:endParaRPr>
            </a:p>
            <a:p>
              <a:pPr marL="114300" indent="0">
                <a:buNone/>
              </a:pPr>
              <a:r>
                <a:rPr lang="en-US" sz="1200" dirty="0">
                  <a:solidFill>
                    <a:srgbClr val="0000FF"/>
                  </a:solidFill>
                  <a:latin typeface="Consolas" panose="020B0609020204030204" pitchFamily="49" charset="0"/>
                </a:rPr>
                <a:t>from</a:t>
              </a:r>
              <a:r>
                <a:rPr lang="en-US" sz="1200" dirty="0">
                  <a:solidFill>
                    <a:srgbClr val="000000"/>
                  </a:solidFill>
                  <a:latin typeface="Consolas" panose="020B0609020204030204" pitchFamily="49" charset="0"/>
                </a:rPr>
                <a:t> customers c</a:t>
              </a:r>
            </a:p>
            <a:p>
              <a:pPr marL="114300" indent="0">
                <a:buNone/>
              </a:pPr>
              <a:r>
                <a:rPr lang="en-US" sz="1200" dirty="0">
                  <a:solidFill>
                    <a:srgbClr val="808080"/>
                  </a:solidFill>
                  <a:latin typeface="Consolas" panose="020B0609020204030204" pitchFamily="49" charset="0"/>
                </a:rPr>
                <a:t>left</a:t>
              </a:r>
              <a:r>
                <a:rPr lang="en-US" sz="1200" dirty="0">
                  <a:solidFill>
                    <a:srgbClr val="000000"/>
                  </a:solidFill>
                  <a:latin typeface="Consolas" panose="020B0609020204030204" pitchFamily="49" charset="0"/>
                </a:rPr>
                <a:t> </a:t>
              </a:r>
              <a:r>
                <a:rPr lang="en-US" sz="1200" dirty="0">
                  <a:solidFill>
                    <a:srgbClr val="808080"/>
                  </a:solidFill>
                  <a:latin typeface="Consolas" panose="020B0609020204030204" pitchFamily="49" charset="0"/>
                </a:rPr>
                <a:t>join</a:t>
              </a:r>
              <a:r>
                <a:rPr lang="en-US" sz="1200" dirty="0">
                  <a:solidFill>
                    <a:srgbClr val="000000"/>
                  </a:solidFill>
                  <a:latin typeface="Consolas" panose="020B0609020204030204" pitchFamily="49" charset="0"/>
                </a:rPr>
                <a:t> orders o </a:t>
              </a:r>
              <a:r>
                <a:rPr lang="en-US" sz="1200" dirty="0">
                  <a:solidFill>
                    <a:srgbClr val="0000FF"/>
                  </a:solidFill>
                  <a:latin typeface="Consolas" panose="020B0609020204030204" pitchFamily="49" charset="0"/>
                </a:rPr>
                <a:t>on</a:t>
              </a:r>
              <a:r>
                <a:rPr lang="en-US" sz="1200" dirty="0">
                  <a:solidFill>
                    <a:srgbClr val="000000"/>
                  </a:solidFill>
                  <a:latin typeface="Consolas" panose="020B0609020204030204" pitchFamily="49" charset="0"/>
                </a:rPr>
                <a:t> </a:t>
              </a:r>
              <a:r>
                <a:rPr lang="en-US" sz="1200" dirty="0" err="1">
                  <a:solidFill>
                    <a:srgbClr val="000000"/>
                  </a:solidFill>
                  <a:latin typeface="Consolas" panose="020B0609020204030204" pitchFamily="49" charset="0"/>
                </a:rPr>
                <a:t>c</a:t>
              </a:r>
              <a:r>
                <a:rPr lang="en-US" sz="1200" dirty="0" err="1">
                  <a:solidFill>
                    <a:srgbClr val="808080"/>
                  </a:solidFill>
                  <a:latin typeface="Consolas" panose="020B0609020204030204" pitchFamily="49" charset="0"/>
                </a:rPr>
                <a:t>.</a:t>
              </a:r>
              <a:r>
                <a:rPr lang="en-US" sz="1200" dirty="0" err="1">
                  <a:solidFill>
                    <a:srgbClr val="000000"/>
                  </a:solidFill>
                  <a:latin typeface="Consolas" panose="020B0609020204030204" pitchFamily="49" charset="0"/>
                </a:rPr>
                <a:t>customer_id</a:t>
              </a:r>
              <a:r>
                <a:rPr lang="en-US" sz="1200" dirty="0">
                  <a:solidFill>
                    <a:srgbClr val="000000"/>
                  </a:solidFill>
                  <a:latin typeface="Consolas" panose="020B0609020204030204" pitchFamily="49" charset="0"/>
                </a:rPr>
                <a:t> </a:t>
              </a:r>
              <a:r>
                <a:rPr lang="en-US" sz="1200" dirty="0">
                  <a:solidFill>
                    <a:srgbClr val="808080"/>
                  </a:solidFill>
                  <a:latin typeface="Consolas" panose="020B0609020204030204" pitchFamily="49" charset="0"/>
                </a:rPr>
                <a:t>=</a:t>
              </a:r>
              <a:r>
                <a:rPr lang="en-US" sz="1200" dirty="0">
                  <a:solidFill>
                    <a:srgbClr val="000000"/>
                  </a:solidFill>
                  <a:latin typeface="Consolas" panose="020B0609020204030204" pitchFamily="49" charset="0"/>
                </a:rPr>
                <a:t> </a:t>
              </a:r>
              <a:r>
                <a:rPr lang="en-US" sz="1200" dirty="0" err="1">
                  <a:solidFill>
                    <a:srgbClr val="000000"/>
                  </a:solidFill>
                  <a:latin typeface="Consolas" panose="020B0609020204030204" pitchFamily="49" charset="0"/>
                </a:rPr>
                <a:t>o</a:t>
              </a:r>
              <a:r>
                <a:rPr lang="en-US" sz="1200" dirty="0" err="1">
                  <a:solidFill>
                    <a:srgbClr val="808080"/>
                  </a:solidFill>
                  <a:latin typeface="Consolas" panose="020B0609020204030204" pitchFamily="49" charset="0"/>
                </a:rPr>
                <a:t>.</a:t>
              </a:r>
              <a:r>
                <a:rPr lang="en-US" sz="1200" dirty="0" err="1">
                  <a:solidFill>
                    <a:srgbClr val="000000"/>
                  </a:solidFill>
                  <a:latin typeface="Consolas" panose="020B0609020204030204" pitchFamily="49" charset="0"/>
                </a:rPr>
                <a:t>customer_id</a:t>
              </a:r>
              <a:endParaRPr lang="en-US" sz="1200" dirty="0">
                <a:solidFill>
                  <a:srgbClr val="000000"/>
                </a:solidFill>
                <a:latin typeface="Consolas" panose="020B0609020204030204" pitchFamily="49" charset="0"/>
              </a:endParaRPr>
            </a:p>
            <a:p>
              <a:pPr marL="114300" indent="0">
                <a:buNone/>
              </a:pPr>
              <a:r>
                <a:rPr lang="en-US" sz="1200" dirty="0">
                  <a:solidFill>
                    <a:srgbClr val="808080"/>
                  </a:solidFill>
                  <a:latin typeface="Consolas" panose="020B0609020204030204" pitchFamily="49" charset="0"/>
                </a:rPr>
                <a:t>left</a:t>
              </a:r>
              <a:r>
                <a:rPr lang="en-US" sz="1200" dirty="0">
                  <a:solidFill>
                    <a:srgbClr val="000000"/>
                  </a:solidFill>
                  <a:latin typeface="Consolas" panose="020B0609020204030204" pitchFamily="49" charset="0"/>
                </a:rPr>
                <a:t> </a:t>
              </a:r>
              <a:r>
                <a:rPr lang="en-US" sz="1200" dirty="0">
                  <a:solidFill>
                    <a:srgbClr val="808080"/>
                  </a:solidFill>
                  <a:latin typeface="Consolas" panose="020B0609020204030204" pitchFamily="49" charset="0"/>
                </a:rPr>
                <a:t>join</a:t>
              </a:r>
              <a:r>
                <a:rPr lang="en-US" sz="1200" dirty="0">
                  <a:solidFill>
                    <a:srgbClr val="000000"/>
                  </a:solidFill>
                  <a:latin typeface="Consolas" panose="020B0609020204030204" pitchFamily="49" charset="0"/>
                </a:rPr>
                <a:t> </a:t>
              </a:r>
              <a:r>
                <a:rPr lang="en-US" sz="1200" dirty="0" err="1">
                  <a:solidFill>
                    <a:srgbClr val="000000"/>
                  </a:solidFill>
                  <a:latin typeface="Consolas" panose="020B0609020204030204" pitchFamily="49" charset="0"/>
                </a:rPr>
                <a:t>cte</a:t>
              </a:r>
              <a:r>
                <a:rPr lang="en-US" sz="1200" dirty="0">
                  <a:solidFill>
                    <a:srgbClr val="000000"/>
                  </a:solidFill>
                  <a:latin typeface="Consolas" panose="020B0609020204030204" pitchFamily="49" charset="0"/>
                </a:rPr>
                <a:t> </a:t>
              </a:r>
              <a:r>
                <a:rPr lang="en-US" sz="1200" dirty="0" err="1">
                  <a:solidFill>
                    <a:srgbClr val="000000"/>
                  </a:solidFill>
                  <a:latin typeface="Consolas" panose="020B0609020204030204" pitchFamily="49" charset="0"/>
                </a:rPr>
                <a:t>cte</a:t>
              </a:r>
              <a:r>
                <a:rPr lang="en-US" sz="1200" dirty="0">
                  <a:solidFill>
                    <a:srgbClr val="000000"/>
                  </a:solidFill>
                  <a:latin typeface="Consolas" panose="020B0609020204030204" pitchFamily="49" charset="0"/>
                </a:rPr>
                <a:t> </a:t>
              </a:r>
              <a:r>
                <a:rPr lang="en-US" sz="1200" dirty="0">
                  <a:solidFill>
                    <a:srgbClr val="0000FF"/>
                  </a:solidFill>
                  <a:latin typeface="Consolas" panose="020B0609020204030204" pitchFamily="49" charset="0"/>
                </a:rPr>
                <a:t>on</a:t>
              </a:r>
              <a:r>
                <a:rPr lang="en-US" sz="1200" dirty="0">
                  <a:solidFill>
                    <a:srgbClr val="000000"/>
                  </a:solidFill>
                  <a:latin typeface="Consolas" panose="020B0609020204030204" pitchFamily="49" charset="0"/>
                </a:rPr>
                <a:t> </a:t>
              </a:r>
              <a:r>
                <a:rPr lang="en-US" sz="1200" dirty="0" err="1">
                  <a:solidFill>
                    <a:srgbClr val="000000"/>
                  </a:solidFill>
                  <a:latin typeface="Consolas" panose="020B0609020204030204" pitchFamily="49" charset="0"/>
                </a:rPr>
                <a:t>c</a:t>
              </a:r>
              <a:r>
                <a:rPr lang="en-US" sz="1200" dirty="0" err="1">
                  <a:solidFill>
                    <a:srgbClr val="808080"/>
                  </a:solidFill>
                  <a:latin typeface="Consolas" panose="020B0609020204030204" pitchFamily="49" charset="0"/>
                </a:rPr>
                <a:t>.</a:t>
              </a:r>
              <a:r>
                <a:rPr lang="en-US" sz="1200" dirty="0" err="1">
                  <a:solidFill>
                    <a:srgbClr val="000000"/>
                  </a:solidFill>
                  <a:latin typeface="Consolas" panose="020B0609020204030204" pitchFamily="49" charset="0"/>
                </a:rPr>
                <a:t>customer_id</a:t>
              </a:r>
              <a:r>
                <a:rPr lang="en-US" sz="1200" dirty="0">
                  <a:solidFill>
                    <a:srgbClr val="000000"/>
                  </a:solidFill>
                  <a:latin typeface="Consolas" panose="020B0609020204030204" pitchFamily="49" charset="0"/>
                </a:rPr>
                <a:t> </a:t>
              </a:r>
              <a:r>
                <a:rPr lang="en-US" sz="1200" dirty="0">
                  <a:solidFill>
                    <a:srgbClr val="808080"/>
                  </a:solidFill>
                  <a:latin typeface="Consolas" panose="020B0609020204030204" pitchFamily="49" charset="0"/>
                </a:rPr>
                <a:t>=</a:t>
              </a:r>
              <a:r>
                <a:rPr lang="en-US" sz="1200" dirty="0">
                  <a:solidFill>
                    <a:srgbClr val="000000"/>
                  </a:solidFill>
                  <a:latin typeface="Consolas" panose="020B0609020204030204" pitchFamily="49" charset="0"/>
                </a:rPr>
                <a:t> </a:t>
              </a:r>
              <a:r>
                <a:rPr lang="en-US" sz="1200" dirty="0" err="1">
                  <a:solidFill>
                    <a:srgbClr val="000000"/>
                  </a:solidFill>
                  <a:latin typeface="Consolas" panose="020B0609020204030204" pitchFamily="49" charset="0"/>
                </a:rPr>
                <a:t>cte</a:t>
              </a:r>
              <a:r>
                <a:rPr lang="en-US" sz="1200" dirty="0" err="1">
                  <a:solidFill>
                    <a:srgbClr val="808080"/>
                  </a:solidFill>
                  <a:latin typeface="Consolas" panose="020B0609020204030204" pitchFamily="49" charset="0"/>
                </a:rPr>
                <a:t>.</a:t>
              </a:r>
              <a:r>
                <a:rPr lang="en-US" sz="1200" dirty="0" err="1">
                  <a:solidFill>
                    <a:srgbClr val="000000"/>
                  </a:solidFill>
                  <a:latin typeface="Consolas" panose="020B0609020204030204" pitchFamily="49" charset="0"/>
                </a:rPr>
                <a:t>customer_id</a:t>
              </a:r>
              <a:endParaRPr lang="en-US" sz="1200" dirty="0">
                <a:solidFill>
                  <a:srgbClr val="000000"/>
                </a:solidFill>
                <a:latin typeface="Consolas" panose="020B0609020204030204" pitchFamily="49" charset="0"/>
              </a:endParaRPr>
            </a:p>
            <a:p>
              <a:pPr marL="114300" indent="0">
                <a:buNone/>
              </a:pPr>
              <a:r>
                <a:rPr lang="en-US" sz="1200" dirty="0">
                  <a:solidFill>
                    <a:srgbClr val="0000FF"/>
                  </a:solidFill>
                  <a:latin typeface="Consolas" panose="020B0609020204030204" pitchFamily="49" charset="0"/>
                </a:rPr>
                <a:t>group</a:t>
              </a:r>
              <a:r>
                <a:rPr lang="en-US" sz="1200" dirty="0">
                  <a:solidFill>
                    <a:srgbClr val="000000"/>
                  </a:solidFill>
                  <a:latin typeface="Consolas" panose="020B0609020204030204" pitchFamily="49" charset="0"/>
                </a:rPr>
                <a:t> </a:t>
              </a:r>
              <a:r>
                <a:rPr lang="en-US" sz="1200" dirty="0">
                  <a:solidFill>
                    <a:srgbClr val="0000FF"/>
                  </a:solidFill>
                  <a:latin typeface="Consolas" panose="020B0609020204030204" pitchFamily="49" charset="0"/>
                </a:rPr>
                <a:t>by</a:t>
              </a:r>
              <a:r>
                <a:rPr lang="en-US" sz="1200" dirty="0">
                  <a:solidFill>
                    <a:srgbClr val="000000"/>
                  </a:solidFill>
                  <a:latin typeface="Consolas" panose="020B0609020204030204" pitchFamily="49" charset="0"/>
                </a:rPr>
                <a:t> </a:t>
              </a:r>
              <a:r>
                <a:rPr lang="en-US" sz="1200" dirty="0" err="1">
                  <a:solidFill>
                    <a:srgbClr val="000000"/>
                  </a:solidFill>
                  <a:latin typeface="Consolas" panose="020B0609020204030204" pitchFamily="49" charset="0"/>
                </a:rPr>
                <a:t>c</a:t>
              </a:r>
              <a:r>
                <a:rPr lang="en-US" sz="1200" dirty="0" err="1">
                  <a:solidFill>
                    <a:srgbClr val="808080"/>
                  </a:solidFill>
                  <a:latin typeface="Consolas" panose="020B0609020204030204" pitchFamily="49" charset="0"/>
                </a:rPr>
                <a:t>.</a:t>
              </a:r>
              <a:r>
                <a:rPr lang="en-US" sz="1200" dirty="0" err="1">
                  <a:solidFill>
                    <a:srgbClr val="000000"/>
                  </a:solidFill>
                  <a:latin typeface="Consolas" panose="020B0609020204030204" pitchFamily="49" charset="0"/>
                </a:rPr>
                <a:t>customer_id</a:t>
              </a:r>
              <a:r>
                <a:rPr lang="en-US" sz="1200" dirty="0">
                  <a:solidFill>
                    <a:srgbClr val="808080"/>
                  </a:solidFill>
                  <a:latin typeface="Consolas" panose="020B0609020204030204" pitchFamily="49" charset="0"/>
                </a:rPr>
                <a:t>,</a:t>
              </a:r>
              <a:r>
                <a:rPr lang="en-US" sz="1200" dirty="0">
                  <a:solidFill>
                    <a:srgbClr val="000000"/>
                  </a:solidFill>
                  <a:latin typeface="Consolas" panose="020B0609020204030204" pitchFamily="49" charset="0"/>
                </a:rPr>
                <a:t> </a:t>
              </a:r>
              <a:r>
                <a:rPr lang="en-US" sz="1200" dirty="0" err="1">
                  <a:solidFill>
                    <a:srgbClr val="000000"/>
                  </a:solidFill>
                  <a:latin typeface="Consolas" panose="020B0609020204030204" pitchFamily="49" charset="0"/>
                </a:rPr>
                <a:t>c</a:t>
              </a:r>
              <a:r>
                <a:rPr lang="en-US" sz="1200" dirty="0" err="1">
                  <a:solidFill>
                    <a:srgbClr val="808080"/>
                  </a:solidFill>
                  <a:latin typeface="Consolas" panose="020B0609020204030204" pitchFamily="49" charset="0"/>
                </a:rPr>
                <a:t>.</a:t>
              </a:r>
              <a:r>
                <a:rPr lang="en-US" sz="1200" dirty="0" err="1">
                  <a:solidFill>
                    <a:srgbClr val="000000"/>
                  </a:solidFill>
                  <a:latin typeface="Consolas" panose="020B0609020204030204" pitchFamily="49" charset="0"/>
                </a:rPr>
                <a:t>customer_unique_id</a:t>
              </a:r>
              <a:r>
                <a:rPr lang="en-US" sz="1200" dirty="0">
                  <a:solidFill>
                    <a:srgbClr val="808080"/>
                  </a:solidFill>
                  <a:latin typeface="Consolas" panose="020B0609020204030204" pitchFamily="49" charset="0"/>
                </a:rPr>
                <a:t>,</a:t>
              </a:r>
              <a:r>
                <a:rPr lang="en-US" sz="1200" dirty="0">
                  <a:solidFill>
                    <a:srgbClr val="000000"/>
                  </a:solidFill>
                  <a:latin typeface="Consolas" panose="020B0609020204030204" pitchFamily="49" charset="0"/>
                </a:rPr>
                <a:t> </a:t>
              </a:r>
              <a:r>
                <a:rPr lang="en-US" sz="1200" dirty="0" err="1">
                  <a:solidFill>
                    <a:srgbClr val="000000"/>
                  </a:solidFill>
                  <a:latin typeface="Consolas" panose="020B0609020204030204" pitchFamily="49" charset="0"/>
                </a:rPr>
                <a:t>c</a:t>
              </a:r>
              <a:r>
                <a:rPr lang="en-US" sz="1200" dirty="0" err="1">
                  <a:solidFill>
                    <a:srgbClr val="808080"/>
                  </a:solidFill>
                  <a:latin typeface="Consolas" panose="020B0609020204030204" pitchFamily="49" charset="0"/>
                </a:rPr>
                <a:t>.</a:t>
              </a:r>
              <a:r>
                <a:rPr lang="en-US" sz="1200" dirty="0" err="1">
                  <a:solidFill>
                    <a:srgbClr val="000000"/>
                  </a:solidFill>
                  <a:latin typeface="Consolas" panose="020B0609020204030204" pitchFamily="49" charset="0"/>
                </a:rPr>
                <a:t>customer_zip_code_prefix</a:t>
              </a:r>
              <a:r>
                <a:rPr lang="en-US" sz="1200" dirty="0">
                  <a:solidFill>
                    <a:srgbClr val="808080"/>
                  </a:solidFill>
                  <a:latin typeface="Consolas" panose="020B0609020204030204" pitchFamily="49" charset="0"/>
                </a:rPr>
                <a:t>,</a:t>
              </a:r>
              <a:r>
                <a:rPr lang="en-US" sz="1200" dirty="0">
                  <a:solidFill>
                    <a:srgbClr val="000000"/>
                  </a:solidFill>
                  <a:latin typeface="Consolas" panose="020B0609020204030204" pitchFamily="49" charset="0"/>
                </a:rPr>
                <a:t> </a:t>
              </a:r>
              <a:r>
                <a:rPr lang="en-US" sz="1200" dirty="0" err="1">
                  <a:solidFill>
                    <a:srgbClr val="000000"/>
                  </a:solidFill>
                  <a:latin typeface="Consolas" panose="020B0609020204030204" pitchFamily="49" charset="0"/>
                </a:rPr>
                <a:t>c</a:t>
              </a:r>
              <a:r>
                <a:rPr lang="en-US" sz="1200" dirty="0" err="1">
                  <a:solidFill>
                    <a:srgbClr val="808080"/>
                  </a:solidFill>
                  <a:latin typeface="Consolas" panose="020B0609020204030204" pitchFamily="49" charset="0"/>
                </a:rPr>
                <a:t>.</a:t>
              </a:r>
              <a:r>
                <a:rPr lang="en-US" sz="1200" dirty="0" err="1">
                  <a:solidFill>
                    <a:srgbClr val="000000"/>
                  </a:solidFill>
                  <a:latin typeface="Consolas" panose="020B0609020204030204" pitchFamily="49" charset="0"/>
                </a:rPr>
                <a:t>customer_city</a:t>
              </a:r>
              <a:r>
                <a:rPr lang="en-US" sz="1200" dirty="0">
                  <a:solidFill>
                    <a:srgbClr val="808080"/>
                  </a:solidFill>
                  <a:latin typeface="Consolas" panose="020B0609020204030204" pitchFamily="49" charset="0"/>
                </a:rPr>
                <a:t>,</a:t>
              </a:r>
              <a:r>
                <a:rPr lang="en-US" sz="1200" dirty="0">
                  <a:solidFill>
                    <a:srgbClr val="000000"/>
                  </a:solidFill>
                  <a:latin typeface="Consolas" panose="020B0609020204030204" pitchFamily="49" charset="0"/>
                </a:rPr>
                <a:t> </a:t>
              </a:r>
              <a:r>
                <a:rPr lang="en-US" sz="1200" dirty="0" err="1">
                  <a:solidFill>
                    <a:srgbClr val="000000"/>
                  </a:solidFill>
                  <a:latin typeface="Consolas" panose="020B0609020204030204" pitchFamily="49" charset="0"/>
                </a:rPr>
                <a:t>c</a:t>
              </a:r>
              <a:r>
                <a:rPr lang="en-US" sz="1200" dirty="0" err="1">
                  <a:solidFill>
                    <a:srgbClr val="808080"/>
                  </a:solidFill>
                  <a:latin typeface="Consolas" panose="020B0609020204030204" pitchFamily="49" charset="0"/>
                </a:rPr>
                <a:t>.</a:t>
              </a:r>
              <a:r>
                <a:rPr lang="en-US" sz="1200" dirty="0" err="1">
                  <a:solidFill>
                    <a:srgbClr val="000000"/>
                  </a:solidFill>
                  <a:latin typeface="Consolas" panose="020B0609020204030204" pitchFamily="49" charset="0"/>
                </a:rPr>
                <a:t>customer_state</a:t>
              </a:r>
              <a:endParaRPr lang="en-US" sz="1200" dirty="0">
                <a:solidFill>
                  <a:srgbClr val="000000"/>
                </a:solidFill>
                <a:latin typeface="Consolas" panose="020B0609020204030204" pitchFamily="49" charset="0"/>
              </a:endParaRPr>
            </a:p>
            <a:p>
              <a:pPr marL="114300" indent="0">
                <a:buNone/>
              </a:pPr>
              <a:r>
                <a:rPr lang="en-US" sz="1200" dirty="0">
                  <a:solidFill>
                    <a:srgbClr val="0000FF"/>
                  </a:solidFill>
                  <a:latin typeface="Consolas" panose="020B0609020204030204" pitchFamily="49" charset="0"/>
                </a:rPr>
                <a:t>order</a:t>
              </a:r>
              <a:r>
                <a:rPr lang="en-US" sz="1200" dirty="0">
                  <a:solidFill>
                    <a:srgbClr val="000000"/>
                  </a:solidFill>
                  <a:latin typeface="Consolas" panose="020B0609020204030204" pitchFamily="49" charset="0"/>
                </a:rPr>
                <a:t> </a:t>
              </a:r>
              <a:r>
                <a:rPr lang="en-US" sz="1200" dirty="0">
                  <a:solidFill>
                    <a:srgbClr val="0000FF"/>
                  </a:solidFill>
                  <a:latin typeface="Consolas" panose="020B0609020204030204" pitchFamily="49" charset="0"/>
                </a:rPr>
                <a:t>by</a:t>
              </a:r>
              <a:r>
                <a:rPr lang="en-US" sz="1200" dirty="0">
                  <a:solidFill>
                    <a:srgbClr val="000000"/>
                  </a:solidFill>
                  <a:latin typeface="Consolas" panose="020B0609020204030204" pitchFamily="49" charset="0"/>
                </a:rPr>
                <a:t> </a:t>
              </a:r>
              <a:r>
                <a:rPr lang="en-US" sz="1200" dirty="0" err="1">
                  <a:solidFill>
                    <a:srgbClr val="000000"/>
                  </a:solidFill>
                  <a:latin typeface="Consolas" panose="020B0609020204030204" pitchFamily="49" charset="0"/>
                </a:rPr>
                <a:t>total_reviews</a:t>
              </a:r>
              <a:r>
                <a:rPr lang="en-US" sz="1200" dirty="0">
                  <a:solidFill>
                    <a:srgbClr val="000000"/>
                  </a:solidFill>
                  <a:latin typeface="Consolas" panose="020B0609020204030204" pitchFamily="49" charset="0"/>
                </a:rPr>
                <a:t> </a:t>
              </a:r>
              <a:r>
                <a:rPr lang="en-US" sz="1200" dirty="0">
                  <a:solidFill>
                    <a:srgbClr val="0000FF"/>
                  </a:solidFill>
                  <a:latin typeface="Consolas" panose="020B0609020204030204" pitchFamily="49" charset="0"/>
                </a:rPr>
                <a:t>desc</a:t>
              </a:r>
              <a:endParaRPr lang="en-US" sz="1200" dirty="0"/>
            </a:p>
            <a:p>
              <a:pPr marL="114300" indent="0">
                <a:buNone/>
              </a:pPr>
              <a:endParaRPr lang="en-US" sz="2400" b="1" dirty="0"/>
            </a:p>
          </p:txBody>
        </p:sp>
        <p:sp>
          <p:nvSpPr>
            <p:cNvPr id="49" name="AutoShape 8">
              <a:extLst>
                <a:ext uri="{FF2B5EF4-FFF2-40B4-BE49-F238E27FC236}">
                  <a16:creationId xmlns:a16="http://schemas.microsoft.com/office/drawing/2014/main" id="{9C74C0EF-A43B-0438-C8E0-36339712FF33}"/>
                </a:ext>
              </a:extLst>
            </p:cNvPr>
            <p:cNvSpPr>
              <a:spLocks noChangeAspect="1" noChangeArrowheads="1" noTextEdit="1"/>
            </p:cNvSpPr>
            <p:nvPr/>
          </p:nvSpPr>
          <p:spPr bwMode="auto">
            <a:xfrm>
              <a:off x="767929" y="1940016"/>
              <a:ext cx="518129" cy="5186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TextBox 43">
              <a:extLst>
                <a:ext uri="{FF2B5EF4-FFF2-40B4-BE49-F238E27FC236}">
                  <a16:creationId xmlns:a16="http://schemas.microsoft.com/office/drawing/2014/main" id="{C1A2489B-8524-1F52-72AA-4AF854C4B44E}"/>
                </a:ext>
              </a:extLst>
            </p:cNvPr>
            <p:cNvSpPr txBox="1"/>
            <p:nvPr/>
          </p:nvSpPr>
          <p:spPr>
            <a:xfrm>
              <a:off x="1125470" y="2081491"/>
              <a:ext cx="1414588" cy="24101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sz="1800" dirty="0">
                  <a:solidFill>
                    <a:schemeClr val="accent6"/>
                  </a:solidFill>
                </a:rPr>
                <a:t>Enrich Customer Table Data</a:t>
              </a:r>
              <a:endParaRPr lang="en-US" dirty="0">
                <a:solidFill>
                  <a:schemeClr val="accent6"/>
                </a:solidFill>
              </a:endParaRPr>
            </a:p>
          </p:txBody>
        </p:sp>
        <p:cxnSp>
          <p:nvCxnSpPr>
            <p:cNvPr id="45" name="Straight Connector 44">
              <a:extLst>
                <a:ext uri="{FF2B5EF4-FFF2-40B4-BE49-F238E27FC236}">
                  <a16:creationId xmlns:a16="http://schemas.microsoft.com/office/drawing/2014/main" id="{AD7A19D3-DD94-EEB1-21CE-6643857A728E}"/>
                </a:ext>
              </a:extLst>
            </p:cNvPr>
            <p:cNvCxnSpPr/>
            <p:nvPr/>
          </p:nvCxnSpPr>
          <p:spPr>
            <a:xfrm>
              <a:off x="3203809" y="1733140"/>
              <a:ext cx="0" cy="932362"/>
            </a:xfrm>
            <a:prstGeom prst="line">
              <a:avLst/>
            </a:prstGeom>
            <a:ln w="19050">
              <a:solidFill>
                <a:schemeClr val="accent6">
                  <a:alpha val="50000"/>
                </a:schemeClr>
              </a:solidFill>
            </a:ln>
          </p:spPr>
          <p:style>
            <a:lnRef idx="3">
              <a:schemeClr val="accent2"/>
            </a:lnRef>
            <a:fillRef idx="0">
              <a:schemeClr val="accent2"/>
            </a:fillRef>
            <a:effectRef idx="2">
              <a:schemeClr val="accent2"/>
            </a:effectRef>
            <a:fontRef idx="minor">
              <a:schemeClr val="tx1"/>
            </a:fontRef>
          </p:style>
        </p:cxnSp>
      </p:grpSp>
      <p:sp>
        <p:nvSpPr>
          <p:cNvPr id="60" name="TextBox 59">
            <a:extLst>
              <a:ext uri="{FF2B5EF4-FFF2-40B4-BE49-F238E27FC236}">
                <a16:creationId xmlns:a16="http://schemas.microsoft.com/office/drawing/2014/main" id="{FB1A4994-5311-A64F-E5CA-8D6D6D09951A}"/>
              </a:ext>
            </a:extLst>
          </p:cNvPr>
          <p:cNvSpPr txBox="1"/>
          <p:nvPr/>
        </p:nvSpPr>
        <p:spPr>
          <a:xfrm>
            <a:off x="3047134" y="117235"/>
            <a:ext cx="6094268" cy="36933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vi-VN" b="0" i="0">
                <a:solidFill>
                  <a:srgbClr val="575757"/>
                </a:solidFill>
                <a:effectLst/>
                <a:latin typeface="Times New Roman" panose="02020603050405020304" pitchFamily="18" charset="0"/>
              </a:rPr>
              <a:t> </a:t>
            </a:r>
            <a:endParaRPr lang="en-US">
              <a:solidFill>
                <a:srgbClr val="575757"/>
              </a:solidFill>
            </a:endParaRPr>
          </a:p>
        </p:txBody>
      </p:sp>
      <p:sp>
        <p:nvSpPr>
          <p:cNvPr id="63" name="Rectangle 62">
            <a:extLst>
              <a:ext uri="{FF2B5EF4-FFF2-40B4-BE49-F238E27FC236}">
                <a16:creationId xmlns:a16="http://schemas.microsoft.com/office/drawing/2014/main" id="{0F34C75F-3A2D-E2A7-20AE-0ECF6EAC5A04}"/>
              </a:ext>
            </a:extLst>
          </p:cNvPr>
          <p:cNvSpPr/>
          <p:nvPr/>
        </p:nvSpPr>
        <p:spPr>
          <a:xfrm flipV="1">
            <a:off x="0" y="0"/>
            <a:ext cx="12192000" cy="1287597"/>
          </a:xfrm>
          <a:prstGeom prst="rect">
            <a:avLst/>
          </a:prstGeom>
          <a:gradFill flip="none" rotWithShape="1">
            <a:gsLst>
              <a:gs pos="0">
                <a:srgbClr val="008C4F"/>
              </a:gs>
              <a:gs pos="100000">
                <a:srgbClr val="00693B"/>
              </a:gs>
            </a:gsLst>
            <a:lin ang="13500000" scaled="1"/>
            <a:tileRect/>
          </a:gradFill>
          <a:ln w="10795" cap="flat" cmpd="sng" algn="ctr">
            <a:noFill/>
            <a:prstDash val="solid"/>
          </a:ln>
          <a:effectLst/>
        </p:spPr>
        <p:txBody>
          <a:bodyPr lIns="91440" tIns="91440" rIns="91440" bIns="91440" rtlCol="0" anchor="ctr"/>
          <a:lstStyle/>
          <a:p>
            <a:pPr marL="0" marR="0" lvl="0" indent="0" algn="ctr" defTabSz="914400" eaLnBrk="1" fontAlgn="auto" latinLnBrk="0" hangingPunct="1">
              <a:lnSpc>
                <a:spcPct val="95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64" name="Title 1">
            <a:extLst>
              <a:ext uri="{FF2B5EF4-FFF2-40B4-BE49-F238E27FC236}">
                <a16:creationId xmlns:a16="http://schemas.microsoft.com/office/drawing/2014/main" id="{2E7D682E-8B3B-65A8-C167-61B05A0391D7}"/>
              </a:ext>
            </a:extLst>
          </p:cNvPr>
          <p:cNvSpPr txBox="1">
            <a:spLocks/>
          </p:cNvSpPr>
          <p:nvPr/>
        </p:nvSpPr>
        <p:spPr>
          <a:xfrm>
            <a:off x="482082" y="332033"/>
            <a:ext cx="10933200" cy="701690"/>
          </a:xfrm>
          <a:prstGeom prst="rect">
            <a:avLst/>
          </a:prstGeom>
          <a:noFill/>
          <a:ln>
            <a:noFill/>
          </a:ln>
        </p:spPr>
        <p:txBody>
          <a:bodyPr spcFirstLastPara="1" vert="horz" wrap="square" lIns="91425" tIns="45700" rIns="91425" bIns="45700" anchor="ctr" anchorCtr="0">
            <a:spAutoFit/>
          </a:bodyPr>
          <a:lstStyle>
            <a:defPPr marR="0" lvl="0" algn="l" rtl="0">
              <a:lnSpc>
                <a:spcPct val="100000"/>
              </a:lnSpc>
              <a:spcBef>
                <a:spcPts val="0"/>
              </a:spcBef>
              <a:spcAft>
                <a:spcPts val="0"/>
              </a:spcAft>
            </a:defPPr>
            <a:lvl1pPr marR="0" lvl="0" algn="l" rtl="0">
              <a:lnSpc>
                <a:spcPct val="90000"/>
              </a:lnSpc>
              <a:spcBef>
                <a:spcPts val="0"/>
              </a:spcBef>
              <a:spcAft>
                <a:spcPts val="0"/>
              </a:spcAft>
              <a:buClr>
                <a:schemeClr val="dk1"/>
              </a:buClr>
              <a:buSzPts val="1800"/>
              <a:buFont typeface="Calibri"/>
              <a:buNone/>
              <a:defRPr sz="44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r>
              <a:rPr lang="en-US" dirty="0">
                <a:solidFill>
                  <a:srgbClr val="D4DF33"/>
                </a:solidFill>
                <a:latin typeface="Calibri" panose="020F0502020204030204" pitchFamily="34" charset="0"/>
              </a:rPr>
              <a:t>4 – Third step: </a:t>
            </a:r>
            <a:r>
              <a:rPr lang="en-US" dirty="0">
                <a:solidFill>
                  <a:srgbClr val="FFFFFF"/>
                </a:solidFill>
                <a:latin typeface="Calibri" panose="020F0502020204030204" pitchFamily="34" charset="0"/>
              </a:rPr>
              <a:t>Process</a:t>
            </a:r>
          </a:p>
        </p:txBody>
      </p:sp>
    </p:spTree>
    <p:extLst>
      <p:ext uri="{BB962C8B-B14F-4D97-AF65-F5344CB8AC3E}">
        <p14:creationId xmlns:p14="http://schemas.microsoft.com/office/powerpoint/2010/main" val="10956257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 name="TextBox 59">
            <a:extLst>
              <a:ext uri="{FF2B5EF4-FFF2-40B4-BE49-F238E27FC236}">
                <a16:creationId xmlns:a16="http://schemas.microsoft.com/office/drawing/2014/main" id="{FB1A4994-5311-A64F-E5CA-8D6D6D09951A}"/>
              </a:ext>
            </a:extLst>
          </p:cNvPr>
          <p:cNvSpPr txBox="1"/>
          <p:nvPr/>
        </p:nvSpPr>
        <p:spPr>
          <a:xfrm>
            <a:off x="3047134" y="117235"/>
            <a:ext cx="6094268" cy="36933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vi-VN" b="0" i="0">
                <a:solidFill>
                  <a:srgbClr val="575757"/>
                </a:solidFill>
                <a:effectLst/>
                <a:latin typeface="Times New Roman" panose="02020603050405020304" pitchFamily="18" charset="0"/>
              </a:rPr>
              <a:t> </a:t>
            </a:r>
            <a:endParaRPr lang="en-US">
              <a:solidFill>
                <a:srgbClr val="575757"/>
              </a:solidFill>
            </a:endParaRPr>
          </a:p>
        </p:txBody>
      </p:sp>
      <p:sp>
        <p:nvSpPr>
          <p:cNvPr id="63" name="Rectangle 62">
            <a:extLst>
              <a:ext uri="{FF2B5EF4-FFF2-40B4-BE49-F238E27FC236}">
                <a16:creationId xmlns:a16="http://schemas.microsoft.com/office/drawing/2014/main" id="{0F34C75F-3A2D-E2A7-20AE-0ECF6EAC5A04}"/>
              </a:ext>
            </a:extLst>
          </p:cNvPr>
          <p:cNvSpPr/>
          <p:nvPr/>
        </p:nvSpPr>
        <p:spPr>
          <a:xfrm flipV="1">
            <a:off x="0" y="0"/>
            <a:ext cx="12192000" cy="1287597"/>
          </a:xfrm>
          <a:prstGeom prst="rect">
            <a:avLst/>
          </a:prstGeom>
          <a:gradFill flip="none" rotWithShape="1">
            <a:gsLst>
              <a:gs pos="0">
                <a:srgbClr val="008C4F"/>
              </a:gs>
              <a:gs pos="100000">
                <a:srgbClr val="00693B"/>
              </a:gs>
            </a:gsLst>
            <a:lin ang="13500000" scaled="1"/>
            <a:tileRect/>
          </a:gradFill>
          <a:ln w="10795" cap="flat" cmpd="sng" algn="ctr">
            <a:noFill/>
            <a:prstDash val="solid"/>
          </a:ln>
          <a:effectLst/>
        </p:spPr>
        <p:txBody>
          <a:bodyPr lIns="91440" tIns="91440" rIns="91440" bIns="91440" rtlCol="0" anchor="ctr"/>
          <a:lstStyle/>
          <a:p>
            <a:pPr marL="0" marR="0" lvl="0" indent="0" algn="ctr" defTabSz="914400" eaLnBrk="1" fontAlgn="auto" latinLnBrk="0" hangingPunct="1">
              <a:lnSpc>
                <a:spcPct val="95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64" name="Title 1">
            <a:extLst>
              <a:ext uri="{FF2B5EF4-FFF2-40B4-BE49-F238E27FC236}">
                <a16:creationId xmlns:a16="http://schemas.microsoft.com/office/drawing/2014/main" id="{2E7D682E-8B3B-65A8-C167-61B05A0391D7}"/>
              </a:ext>
            </a:extLst>
          </p:cNvPr>
          <p:cNvSpPr txBox="1">
            <a:spLocks/>
          </p:cNvSpPr>
          <p:nvPr/>
        </p:nvSpPr>
        <p:spPr>
          <a:xfrm>
            <a:off x="482082" y="332033"/>
            <a:ext cx="10933200" cy="701690"/>
          </a:xfrm>
          <a:prstGeom prst="rect">
            <a:avLst/>
          </a:prstGeom>
          <a:noFill/>
          <a:ln>
            <a:noFill/>
          </a:ln>
        </p:spPr>
        <p:txBody>
          <a:bodyPr spcFirstLastPara="1" vert="horz" wrap="square" lIns="91425" tIns="45700" rIns="91425" bIns="45700" anchor="ctr" anchorCtr="0">
            <a:spAutoFit/>
          </a:bodyPr>
          <a:lstStyle>
            <a:defPPr marR="0" lvl="0" algn="l" rtl="0">
              <a:lnSpc>
                <a:spcPct val="100000"/>
              </a:lnSpc>
              <a:spcBef>
                <a:spcPts val="0"/>
              </a:spcBef>
              <a:spcAft>
                <a:spcPts val="0"/>
              </a:spcAft>
            </a:defPPr>
            <a:lvl1pPr marR="0" lvl="0" algn="l" rtl="0">
              <a:lnSpc>
                <a:spcPct val="90000"/>
              </a:lnSpc>
              <a:spcBef>
                <a:spcPts val="0"/>
              </a:spcBef>
              <a:spcAft>
                <a:spcPts val="0"/>
              </a:spcAft>
              <a:buClr>
                <a:schemeClr val="dk1"/>
              </a:buClr>
              <a:buSzPts val="1800"/>
              <a:buFont typeface="Calibri"/>
              <a:buNone/>
              <a:defRPr sz="44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r>
              <a:rPr lang="en-US" dirty="0">
                <a:solidFill>
                  <a:srgbClr val="D4DF33"/>
                </a:solidFill>
                <a:latin typeface="Calibri" panose="020F0502020204030204" pitchFamily="34" charset="0"/>
              </a:rPr>
              <a:t>5 – Fourth step: </a:t>
            </a:r>
            <a:r>
              <a:rPr lang="en-US" dirty="0">
                <a:solidFill>
                  <a:srgbClr val="FFFFFF"/>
                </a:solidFill>
                <a:latin typeface="Calibri" panose="020F0502020204030204" pitchFamily="34" charset="0"/>
              </a:rPr>
              <a:t>Analyze</a:t>
            </a:r>
          </a:p>
        </p:txBody>
      </p:sp>
      <p:pic>
        <p:nvPicPr>
          <p:cNvPr id="2" name="Picture 1">
            <a:extLst>
              <a:ext uri="{FF2B5EF4-FFF2-40B4-BE49-F238E27FC236}">
                <a16:creationId xmlns:a16="http://schemas.microsoft.com/office/drawing/2014/main" id="{213B29F8-23E3-99FC-0C67-4B377038ECC7}"/>
              </a:ext>
            </a:extLst>
          </p:cNvPr>
          <p:cNvPicPr>
            <a:picLocks noChangeAspect="1"/>
          </p:cNvPicPr>
          <p:nvPr/>
        </p:nvPicPr>
        <p:blipFill>
          <a:blip r:embed="rId2"/>
          <a:stretch>
            <a:fillRect/>
          </a:stretch>
        </p:blipFill>
        <p:spPr>
          <a:xfrm>
            <a:off x="1972271" y="1502395"/>
            <a:ext cx="8126435" cy="5185596"/>
          </a:xfrm>
          <a:prstGeom prst="rect">
            <a:avLst/>
          </a:prstGeom>
        </p:spPr>
      </p:pic>
    </p:spTree>
    <p:extLst>
      <p:ext uri="{BB962C8B-B14F-4D97-AF65-F5344CB8AC3E}">
        <p14:creationId xmlns:p14="http://schemas.microsoft.com/office/powerpoint/2010/main" val="32913995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 name="TextBox 59">
            <a:extLst>
              <a:ext uri="{FF2B5EF4-FFF2-40B4-BE49-F238E27FC236}">
                <a16:creationId xmlns:a16="http://schemas.microsoft.com/office/drawing/2014/main" id="{FB1A4994-5311-A64F-E5CA-8D6D6D09951A}"/>
              </a:ext>
            </a:extLst>
          </p:cNvPr>
          <p:cNvSpPr txBox="1"/>
          <p:nvPr/>
        </p:nvSpPr>
        <p:spPr>
          <a:xfrm>
            <a:off x="3047134" y="117235"/>
            <a:ext cx="6094268" cy="36933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vi-VN" b="0" i="0">
                <a:solidFill>
                  <a:srgbClr val="575757"/>
                </a:solidFill>
                <a:effectLst/>
                <a:latin typeface="Times New Roman" panose="02020603050405020304" pitchFamily="18" charset="0"/>
              </a:rPr>
              <a:t> </a:t>
            </a:r>
            <a:endParaRPr lang="en-US">
              <a:solidFill>
                <a:srgbClr val="575757"/>
              </a:solidFill>
            </a:endParaRPr>
          </a:p>
        </p:txBody>
      </p:sp>
      <p:sp>
        <p:nvSpPr>
          <p:cNvPr id="63" name="Rectangle 62">
            <a:extLst>
              <a:ext uri="{FF2B5EF4-FFF2-40B4-BE49-F238E27FC236}">
                <a16:creationId xmlns:a16="http://schemas.microsoft.com/office/drawing/2014/main" id="{0F34C75F-3A2D-E2A7-20AE-0ECF6EAC5A04}"/>
              </a:ext>
            </a:extLst>
          </p:cNvPr>
          <p:cNvSpPr/>
          <p:nvPr/>
        </p:nvSpPr>
        <p:spPr>
          <a:xfrm flipV="1">
            <a:off x="0" y="0"/>
            <a:ext cx="12192000" cy="1287597"/>
          </a:xfrm>
          <a:prstGeom prst="rect">
            <a:avLst/>
          </a:prstGeom>
          <a:gradFill flip="none" rotWithShape="1">
            <a:gsLst>
              <a:gs pos="0">
                <a:srgbClr val="008C4F"/>
              </a:gs>
              <a:gs pos="100000">
                <a:srgbClr val="00693B"/>
              </a:gs>
            </a:gsLst>
            <a:lin ang="13500000" scaled="1"/>
            <a:tileRect/>
          </a:gradFill>
          <a:ln w="10795" cap="flat" cmpd="sng" algn="ctr">
            <a:noFill/>
            <a:prstDash val="solid"/>
          </a:ln>
          <a:effectLst/>
        </p:spPr>
        <p:txBody>
          <a:bodyPr lIns="91440" tIns="91440" rIns="91440" bIns="91440" rtlCol="0" anchor="ctr"/>
          <a:lstStyle/>
          <a:p>
            <a:pPr marL="0" marR="0" lvl="0" indent="0" algn="ctr" defTabSz="914400" eaLnBrk="1" fontAlgn="auto" latinLnBrk="0" hangingPunct="1">
              <a:lnSpc>
                <a:spcPct val="95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64" name="Title 1">
            <a:extLst>
              <a:ext uri="{FF2B5EF4-FFF2-40B4-BE49-F238E27FC236}">
                <a16:creationId xmlns:a16="http://schemas.microsoft.com/office/drawing/2014/main" id="{2E7D682E-8B3B-65A8-C167-61B05A0391D7}"/>
              </a:ext>
            </a:extLst>
          </p:cNvPr>
          <p:cNvSpPr txBox="1">
            <a:spLocks/>
          </p:cNvSpPr>
          <p:nvPr/>
        </p:nvSpPr>
        <p:spPr>
          <a:xfrm>
            <a:off x="482082" y="332033"/>
            <a:ext cx="10933200" cy="701690"/>
          </a:xfrm>
          <a:prstGeom prst="rect">
            <a:avLst/>
          </a:prstGeom>
          <a:noFill/>
          <a:ln>
            <a:noFill/>
          </a:ln>
        </p:spPr>
        <p:txBody>
          <a:bodyPr spcFirstLastPara="1" vert="horz" wrap="square" lIns="91425" tIns="45700" rIns="91425" bIns="45700" anchor="ctr" anchorCtr="0">
            <a:spAutoFit/>
          </a:bodyPr>
          <a:lstStyle>
            <a:defPPr marR="0" lvl="0" algn="l" rtl="0">
              <a:lnSpc>
                <a:spcPct val="100000"/>
              </a:lnSpc>
              <a:spcBef>
                <a:spcPts val="0"/>
              </a:spcBef>
              <a:spcAft>
                <a:spcPts val="0"/>
              </a:spcAft>
            </a:defPPr>
            <a:lvl1pPr marR="0" lvl="0" algn="l" rtl="0">
              <a:lnSpc>
                <a:spcPct val="90000"/>
              </a:lnSpc>
              <a:spcBef>
                <a:spcPts val="0"/>
              </a:spcBef>
              <a:spcAft>
                <a:spcPts val="0"/>
              </a:spcAft>
              <a:buClr>
                <a:schemeClr val="dk1"/>
              </a:buClr>
              <a:buSzPts val="1800"/>
              <a:buFont typeface="Calibri"/>
              <a:buNone/>
              <a:defRPr sz="44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r>
              <a:rPr lang="en-US" dirty="0">
                <a:solidFill>
                  <a:srgbClr val="D4DF33"/>
                </a:solidFill>
                <a:latin typeface="Calibri" panose="020F0502020204030204" pitchFamily="34" charset="0"/>
              </a:rPr>
              <a:t>5 – Fourth step: </a:t>
            </a:r>
            <a:r>
              <a:rPr lang="en-US" dirty="0">
                <a:solidFill>
                  <a:srgbClr val="FFFFFF"/>
                </a:solidFill>
                <a:latin typeface="Calibri" panose="020F0502020204030204" pitchFamily="34" charset="0"/>
              </a:rPr>
              <a:t>Analyze - Visualization</a:t>
            </a:r>
          </a:p>
        </p:txBody>
      </p:sp>
      <p:pic>
        <p:nvPicPr>
          <p:cNvPr id="3" name="Picture 2">
            <a:extLst>
              <a:ext uri="{FF2B5EF4-FFF2-40B4-BE49-F238E27FC236}">
                <a16:creationId xmlns:a16="http://schemas.microsoft.com/office/drawing/2014/main" id="{251A1D32-C4F4-A06A-C742-186640319A0F}"/>
              </a:ext>
            </a:extLst>
          </p:cNvPr>
          <p:cNvPicPr>
            <a:picLocks noChangeAspect="1"/>
          </p:cNvPicPr>
          <p:nvPr/>
        </p:nvPicPr>
        <p:blipFill>
          <a:blip r:embed="rId2"/>
          <a:stretch>
            <a:fillRect/>
          </a:stretch>
        </p:blipFill>
        <p:spPr>
          <a:xfrm>
            <a:off x="1488617" y="1365756"/>
            <a:ext cx="9091565" cy="5411229"/>
          </a:xfrm>
          <a:prstGeom prst="rect">
            <a:avLst/>
          </a:prstGeom>
        </p:spPr>
      </p:pic>
    </p:spTree>
    <p:extLst>
      <p:ext uri="{BB962C8B-B14F-4D97-AF65-F5344CB8AC3E}">
        <p14:creationId xmlns:p14="http://schemas.microsoft.com/office/powerpoint/2010/main" val="13090008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 name="TextBox 59">
            <a:extLst>
              <a:ext uri="{FF2B5EF4-FFF2-40B4-BE49-F238E27FC236}">
                <a16:creationId xmlns:a16="http://schemas.microsoft.com/office/drawing/2014/main" id="{FB1A4994-5311-A64F-E5CA-8D6D6D09951A}"/>
              </a:ext>
            </a:extLst>
          </p:cNvPr>
          <p:cNvSpPr txBox="1"/>
          <p:nvPr/>
        </p:nvSpPr>
        <p:spPr>
          <a:xfrm>
            <a:off x="3047134" y="117235"/>
            <a:ext cx="6094268" cy="36933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vi-VN" b="0" i="0">
                <a:solidFill>
                  <a:srgbClr val="575757"/>
                </a:solidFill>
                <a:effectLst/>
                <a:latin typeface="Times New Roman" panose="02020603050405020304" pitchFamily="18" charset="0"/>
              </a:rPr>
              <a:t> </a:t>
            </a:r>
            <a:endParaRPr lang="en-US">
              <a:solidFill>
                <a:srgbClr val="575757"/>
              </a:solidFill>
            </a:endParaRPr>
          </a:p>
        </p:txBody>
      </p:sp>
      <p:sp>
        <p:nvSpPr>
          <p:cNvPr id="63" name="Rectangle 62">
            <a:extLst>
              <a:ext uri="{FF2B5EF4-FFF2-40B4-BE49-F238E27FC236}">
                <a16:creationId xmlns:a16="http://schemas.microsoft.com/office/drawing/2014/main" id="{0F34C75F-3A2D-E2A7-20AE-0ECF6EAC5A04}"/>
              </a:ext>
            </a:extLst>
          </p:cNvPr>
          <p:cNvSpPr/>
          <p:nvPr/>
        </p:nvSpPr>
        <p:spPr>
          <a:xfrm flipV="1">
            <a:off x="0" y="0"/>
            <a:ext cx="12192000" cy="1287597"/>
          </a:xfrm>
          <a:prstGeom prst="rect">
            <a:avLst/>
          </a:prstGeom>
          <a:gradFill flip="none" rotWithShape="1">
            <a:gsLst>
              <a:gs pos="0">
                <a:srgbClr val="008C4F"/>
              </a:gs>
              <a:gs pos="100000">
                <a:srgbClr val="00693B"/>
              </a:gs>
            </a:gsLst>
            <a:lin ang="13500000" scaled="1"/>
            <a:tileRect/>
          </a:gradFill>
          <a:ln w="10795" cap="flat" cmpd="sng" algn="ctr">
            <a:noFill/>
            <a:prstDash val="solid"/>
          </a:ln>
          <a:effectLst/>
        </p:spPr>
        <p:txBody>
          <a:bodyPr lIns="91440" tIns="91440" rIns="91440" bIns="91440" rtlCol="0" anchor="ctr"/>
          <a:lstStyle/>
          <a:p>
            <a:pPr marL="0" marR="0" lvl="0" indent="0" algn="ctr" defTabSz="914400" eaLnBrk="1" fontAlgn="auto" latinLnBrk="0" hangingPunct="1">
              <a:lnSpc>
                <a:spcPct val="95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64" name="Title 1">
            <a:extLst>
              <a:ext uri="{FF2B5EF4-FFF2-40B4-BE49-F238E27FC236}">
                <a16:creationId xmlns:a16="http://schemas.microsoft.com/office/drawing/2014/main" id="{2E7D682E-8B3B-65A8-C167-61B05A0391D7}"/>
              </a:ext>
            </a:extLst>
          </p:cNvPr>
          <p:cNvSpPr txBox="1">
            <a:spLocks/>
          </p:cNvSpPr>
          <p:nvPr/>
        </p:nvSpPr>
        <p:spPr>
          <a:xfrm>
            <a:off x="482082" y="332033"/>
            <a:ext cx="10933200" cy="701690"/>
          </a:xfrm>
          <a:prstGeom prst="rect">
            <a:avLst/>
          </a:prstGeom>
          <a:noFill/>
          <a:ln>
            <a:noFill/>
          </a:ln>
        </p:spPr>
        <p:txBody>
          <a:bodyPr spcFirstLastPara="1" vert="horz" wrap="square" lIns="91425" tIns="45700" rIns="91425" bIns="45700" anchor="ctr" anchorCtr="0">
            <a:spAutoFit/>
          </a:bodyPr>
          <a:lstStyle>
            <a:defPPr marR="0" lvl="0" algn="l" rtl="0">
              <a:lnSpc>
                <a:spcPct val="100000"/>
              </a:lnSpc>
              <a:spcBef>
                <a:spcPts val="0"/>
              </a:spcBef>
              <a:spcAft>
                <a:spcPts val="0"/>
              </a:spcAft>
            </a:defPPr>
            <a:lvl1pPr marR="0" lvl="0" algn="l" rtl="0">
              <a:lnSpc>
                <a:spcPct val="90000"/>
              </a:lnSpc>
              <a:spcBef>
                <a:spcPts val="0"/>
              </a:spcBef>
              <a:spcAft>
                <a:spcPts val="0"/>
              </a:spcAft>
              <a:buClr>
                <a:schemeClr val="dk1"/>
              </a:buClr>
              <a:buSzPts val="1800"/>
              <a:buFont typeface="Calibri"/>
              <a:buNone/>
              <a:defRPr sz="44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r>
              <a:rPr lang="en-US" dirty="0">
                <a:solidFill>
                  <a:srgbClr val="D4DF33"/>
                </a:solidFill>
                <a:latin typeface="Calibri" panose="020F0502020204030204" pitchFamily="34" charset="0"/>
              </a:rPr>
              <a:t>5 – Fourth step: </a:t>
            </a:r>
            <a:r>
              <a:rPr lang="en-US" dirty="0">
                <a:solidFill>
                  <a:srgbClr val="FFFFFF"/>
                </a:solidFill>
                <a:latin typeface="Calibri" panose="020F0502020204030204" pitchFamily="34" charset="0"/>
              </a:rPr>
              <a:t>Analyze - Visualization</a:t>
            </a:r>
          </a:p>
        </p:txBody>
      </p:sp>
      <p:pic>
        <p:nvPicPr>
          <p:cNvPr id="2" name="Picture 1">
            <a:extLst>
              <a:ext uri="{FF2B5EF4-FFF2-40B4-BE49-F238E27FC236}">
                <a16:creationId xmlns:a16="http://schemas.microsoft.com/office/drawing/2014/main" id="{1F4F8CFF-7C37-64E7-5B36-BC1DEF3A3B21}"/>
              </a:ext>
            </a:extLst>
          </p:cNvPr>
          <p:cNvPicPr>
            <a:picLocks noChangeAspect="1"/>
          </p:cNvPicPr>
          <p:nvPr/>
        </p:nvPicPr>
        <p:blipFill>
          <a:blip r:embed="rId2"/>
          <a:stretch>
            <a:fillRect/>
          </a:stretch>
        </p:blipFill>
        <p:spPr>
          <a:xfrm>
            <a:off x="1577850" y="1404832"/>
            <a:ext cx="9287312" cy="5457862"/>
          </a:xfrm>
          <a:prstGeom prst="rect">
            <a:avLst/>
          </a:prstGeom>
        </p:spPr>
      </p:pic>
    </p:spTree>
    <p:extLst>
      <p:ext uri="{BB962C8B-B14F-4D97-AF65-F5344CB8AC3E}">
        <p14:creationId xmlns:p14="http://schemas.microsoft.com/office/powerpoint/2010/main" val="37767977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899BBCFF-738C-5EB1-88D3-7F0F57738B7E}"/>
              </a:ext>
            </a:extLst>
          </p:cNvPr>
          <p:cNvSpPr txBox="1"/>
          <p:nvPr/>
        </p:nvSpPr>
        <p:spPr>
          <a:xfrm>
            <a:off x="3047134" y="117235"/>
            <a:ext cx="6094268" cy="36933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vi-VN" b="0" i="0">
                <a:solidFill>
                  <a:srgbClr val="575757"/>
                </a:solidFill>
                <a:effectLst/>
                <a:latin typeface="Times New Roman" panose="02020603050405020304" pitchFamily="18" charset="0"/>
              </a:rPr>
              <a:t> </a:t>
            </a:r>
            <a:endParaRPr lang="en-US">
              <a:solidFill>
                <a:srgbClr val="575757"/>
              </a:solidFill>
            </a:endParaRPr>
          </a:p>
        </p:txBody>
      </p:sp>
      <p:sp>
        <p:nvSpPr>
          <p:cNvPr id="4" name="Rectangle 3">
            <a:extLst>
              <a:ext uri="{FF2B5EF4-FFF2-40B4-BE49-F238E27FC236}">
                <a16:creationId xmlns:a16="http://schemas.microsoft.com/office/drawing/2014/main" id="{21E333C1-7C13-00A8-3984-F89735C5F2B7}"/>
              </a:ext>
            </a:extLst>
          </p:cNvPr>
          <p:cNvSpPr/>
          <p:nvPr/>
        </p:nvSpPr>
        <p:spPr>
          <a:xfrm flipV="1">
            <a:off x="0" y="0"/>
            <a:ext cx="12192000" cy="1287597"/>
          </a:xfrm>
          <a:prstGeom prst="rect">
            <a:avLst/>
          </a:prstGeom>
          <a:gradFill flip="none" rotWithShape="1">
            <a:gsLst>
              <a:gs pos="0">
                <a:srgbClr val="008C4F"/>
              </a:gs>
              <a:gs pos="100000">
                <a:srgbClr val="00693B"/>
              </a:gs>
            </a:gsLst>
            <a:lin ang="13500000" scaled="1"/>
            <a:tileRect/>
          </a:gradFill>
          <a:ln w="10795" cap="flat" cmpd="sng" algn="ctr">
            <a:noFill/>
            <a:prstDash val="solid"/>
          </a:ln>
          <a:effectLst/>
        </p:spPr>
        <p:txBody>
          <a:bodyPr lIns="91440" tIns="91440" rIns="91440" bIns="91440" rtlCol="0" anchor="ctr"/>
          <a:lstStyle/>
          <a:p>
            <a:pPr marL="0" marR="0" lvl="0" indent="0" algn="ctr" defTabSz="914400" eaLnBrk="1" fontAlgn="auto" latinLnBrk="0" hangingPunct="1">
              <a:lnSpc>
                <a:spcPct val="95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5" name="Title 1">
            <a:extLst>
              <a:ext uri="{FF2B5EF4-FFF2-40B4-BE49-F238E27FC236}">
                <a16:creationId xmlns:a16="http://schemas.microsoft.com/office/drawing/2014/main" id="{37AB514D-5B50-A024-2319-79C338D37BA6}"/>
              </a:ext>
            </a:extLst>
          </p:cNvPr>
          <p:cNvSpPr txBox="1">
            <a:spLocks/>
          </p:cNvSpPr>
          <p:nvPr/>
        </p:nvSpPr>
        <p:spPr>
          <a:xfrm>
            <a:off x="482082" y="27334"/>
            <a:ext cx="10933200" cy="1311088"/>
          </a:xfrm>
          <a:prstGeom prst="rect">
            <a:avLst/>
          </a:prstGeom>
          <a:noFill/>
          <a:ln>
            <a:noFill/>
          </a:ln>
        </p:spPr>
        <p:txBody>
          <a:bodyPr spcFirstLastPara="1" vert="horz" wrap="square" lIns="91425" tIns="45700" rIns="91425" bIns="45700" anchor="ctr" anchorCtr="0">
            <a:spAutoFit/>
          </a:bodyPr>
          <a:lstStyle>
            <a:defPPr marR="0" lvl="0" algn="l" rtl="0">
              <a:lnSpc>
                <a:spcPct val="100000"/>
              </a:lnSpc>
              <a:spcBef>
                <a:spcPts val="0"/>
              </a:spcBef>
              <a:spcAft>
                <a:spcPts val="0"/>
              </a:spcAft>
            </a:defPPr>
            <a:lvl1pPr marR="0" lvl="0" algn="l" rtl="0">
              <a:lnSpc>
                <a:spcPct val="90000"/>
              </a:lnSpc>
              <a:spcBef>
                <a:spcPts val="0"/>
              </a:spcBef>
              <a:spcAft>
                <a:spcPts val="0"/>
              </a:spcAft>
              <a:buClr>
                <a:schemeClr val="dk1"/>
              </a:buClr>
              <a:buSzPts val="1800"/>
              <a:buFont typeface="Calibri"/>
              <a:buNone/>
              <a:defRPr sz="44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r>
              <a:rPr lang="en-US" dirty="0">
                <a:solidFill>
                  <a:srgbClr val="D4DF33"/>
                </a:solidFill>
                <a:latin typeface="Calibri" panose="020F0502020204030204" pitchFamily="34" charset="0"/>
              </a:rPr>
              <a:t>5 – Fourth step: </a:t>
            </a:r>
            <a:r>
              <a:rPr lang="en-US" dirty="0">
                <a:solidFill>
                  <a:srgbClr val="FFFFFF"/>
                </a:solidFill>
                <a:latin typeface="Calibri" panose="020F0502020204030204" pitchFamily="34" charset="0"/>
              </a:rPr>
              <a:t>Analyze – Deep dive on Sales of 2017</a:t>
            </a:r>
          </a:p>
        </p:txBody>
      </p:sp>
      <p:pic>
        <p:nvPicPr>
          <p:cNvPr id="10" name="Picture 9">
            <a:extLst>
              <a:ext uri="{FF2B5EF4-FFF2-40B4-BE49-F238E27FC236}">
                <a16:creationId xmlns:a16="http://schemas.microsoft.com/office/drawing/2014/main" id="{A9738342-6066-C38D-8181-FA3925F5BC8E}"/>
              </a:ext>
            </a:extLst>
          </p:cNvPr>
          <p:cNvPicPr>
            <a:picLocks noChangeAspect="1"/>
          </p:cNvPicPr>
          <p:nvPr/>
        </p:nvPicPr>
        <p:blipFill>
          <a:blip r:embed="rId2"/>
          <a:stretch>
            <a:fillRect/>
          </a:stretch>
        </p:blipFill>
        <p:spPr>
          <a:xfrm>
            <a:off x="1223581" y="1428323"/>
            <a:ext cx="10191701" cy="5121490"/>
          </a:xfrm>
          <a:prstGeom prst="rect">
            <a:avLst/>
          </a:prstGeom>
        </p:spPr>
      </p:pic>
    </p:spTree>
    <p:extLst>
      <p:ext uri="{BB962C8B-B14F-4D97-AF65-F5344CB8AC3E}">
        <p14:creationId xmlns:p14="http://schemas.microsoft.com/office/powerpoint/2010/main" val="39842384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E23A76-BC50-56A6-74DD-EAA5ED552A04}"/>
              </a:ext>
            </a:extLst>
          </p:cNvPr>
          <p:cNvSpPr>
            <a:spLocks noGrp="1"/>
          </p:cNvSpPr>
          <p:nvPr>
            <p:ph type="title"/>
          </p:nvPr>
        </p:nvSpPr>
        <p:spPr/>
        <p:txBody>
          <a:bodyPr/>
          <a:lstStyle/>
          <a:p>
            <a:endParaRPr lang="en-US"/>
          </a:p>
        </p:txBody>
      </p:sp>
      <p:sp>
        <p:nvSpPr>
          <p:cNvPr id="3" name="TextBox 2">
            <a:extLst>
              <a:ext uri="{FF2B5EF4-FFF2-40B4-BE49-F238E27FC236}">
                <a16:creationId xmlns:a16="http://schemas.microsoft.com/office/drawing/2014/main" id="{DED0EC65-06B4-D16C-1212-23585F70DAEC}"/>
              </a:ext>
            </a:extLst>
          </p:cNvPr>
          <p:cNvSpPr txBox="1"/>
          <p:nvPr/>
        </p:nvSpPr>
        <p:spPr>
          <a:xfrm>
            <a:off x="3047134" y="117235"/>
            <a:ext cx="6094268" cy="36933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vi-VN" b="0" i="0">
                <a:solidFill>
                  <a:srgbClr val="575757"/>
                </a:solidFill>
                <a:effectLst/>
                <a:latin typeface="Times New Roman" panose="02020603050405020304" pitchFamily="18" charset="0"/>
              </a:rPr>
              <a:t> </a:t>
            </a:r>
            <a:endParaRPr lang="en-US">
              <a:solidFill>
                <a:srgbClr val="575757"/>
              </a:solidFill>
            </a:endParaRPr>
          </a:p>
        </p:txBody>
      </p:sp>
      <p:sp>
        <p:nvSpPr>
          <p:cNvPr id="4" name="Rectangle 3">
            <a:extLst>
              <a:ext uri="{FF2B5EF4-FFF2-40B4-BE49-F238E27FC236}">
                <a16:creationId xmlns:a16="http://schemas.microsoft.com/office/drawing/2014/main" id="{F35A3B85-DC2A-CDF1-25AB-48210CCD7069}"/>
              </a:ext>
            </a:extLst>
          </p:cNvPr>
          <p:cNvSpPr/>
          <p:nvPr/>
        </p:nvSpPr>
        <p:spPr>
          <a:xfrm flipV="1">
            <a:off x="0" y="0"/>
            <a:ext cx="12192000" cy="1287597"/>
          </a:xfrm>
          <a:prstGeom prst="rect">
            <a:avLst/>
          </a:prstGeom>
          <a:gradFill flip="none" rotWithShape="1">
            <a:gsLst>
              <a:gs pos="0">
                <a:srgbClr val="008C4F"/>
              </a:gs>
              <a:gs pos="100000">
                <a:srgbClr val="00693B"/>
              </a:gs>
            </a:gsLst>
            <a:lin ang="13500000" scaled="1"/>
            <a:tileRect/>
          </a:gradFill>
          <a:ln w="10795" cap="flat" cmpd="sng" algn="ctr">
            <a:noFill/>
            <a:prstDash val="solid"/>
          </a:ln>
          <a:effectLst/>
        </p:spPr>
        <p:txBody>
          <a:bodyPr lIns="91440" tIns="91440" rIns="91440" bIns="91440" rtlCol="0" anchor="ctr"/>
          <a:lstStyle/>
          <a:p>
            <a:pPr marL="0" marR="0" lvl="0" indent="0" algn="ctr" defTabSz="914400" eaLnBrk="1" fontAlgn="auto" latinLnBrk="0" hangingPunct="1">
              <a:lnSpc>
                <a:spcPct val="95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5" name="Title 1">
            <a:extLst>
              <a:ext uri="{FF2B5EF4-FFF2-40B4-BE49-F238E27FC236}">
                <a16:creationId xmlns:a16="http://schemas.microsoft.com/office/drawing/2014/main" id="{8A72A573-AC9D-B5E9-CF81-1D6237BE63CC}"/>
              </a:ext>
            </a:extLst>
          </p:cNvPr>
          <p:cNvSpPr txBox="1">
            <a:spLocks/>
          </p:cNvSpPr>
          <p:nvPr/>
        </p:nvSpPr>
        <p:spPr>
          <a:xfrm>
            <a:off x="482082" y="27334"/>
            <a:ext cx="10933200" cy="1311088"/>
          </a:xfrm>
          <a:prstGeom prst="rect">
            <a:avLst/>
          </a:prstGeom>
          <a:noFill/>
          <a:ln>
            <a:noFill/>
          </a:ln>
        </p:spPr>
        <p:txBody>
          <a:bodyPr spcFirstLastPara="1" vert="horz" wrap="square" lIns="91425" tIns="45700" rIns="91425" bIns="45700" anchor="ctr" anchorCtr="0">
            <a:spAutoFit/>
          </a:bodyPr>
          <a:lstStyle>
            <a:defPPr marR="0" lvl="0" algn="l" rtl="0">
              <a:lnSpc>
                <a:spcPct val="100000"/>
              </a:lnSpc>
              <a:spcBef>
                <a:spcPts val="0"/>
              </a:spcBef>
              <a:spcAft>
                <a:spcPts val="0"/>
              </a:spcAft>
            </a:defPPr>
            <a:lvl1pPr marR="0" lvl="0" algn="l" rtl="0">
              <a:lnSpc>
                <a:spcPct val="90000"/>
              </a:lnSpc>
              <a:spcBef>
                <a:spcPts val="0"/>
              </a:spcBef>
              <a:spcAft>
                <a:spcPts val="0"/>
              </a:spcAft>
              <a:buClr>
                <a:schemeClr val="dk1"/>
              </a:buClr>
              <a:buSzPts val="1800"/>
              <a:buFont typeface="Calibri"/>
              <a:buNone/>
              <a:defRPr sz="44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r>
              <a:rPr lang="en-US" dirty="0">
                <a:solidFill>
                  <a:srgbClr val="D4DF33"/>
                </a:solidFill>
                <a:latin typeface="Calibri" panose="020F0502020204030204" pitchFamily="34" charset="0"/>
              </a:rPr>
              <a:t>5 – Fourth step: </a:t>
            </a:r>
            <a:r>
              <a:rPr lang="en-US" dirty="0">
                <a:solidFill>
                  <a:srgbClr val="FFFFFF"/>
                </a:solidFill>
                <a:latin typeface="Calibri" panose="020F0502020204030204" pitchFamily="34" charset="0"/>
              </a:rPr>
              <a:t>Analyze – Deep dive on Sales of 2018</a:t>
            </a:r>
          </a:p>
        </p:txBody>
      </p:sp>
      <p:pic>
        <p:nvPicPr>
          <p:cNvPr id="10" name="Picture 9">
            <a:extLst>
              <a:ext uri="{FF2B5EF4-FFF2-40B4-BE49-F238E27FC236}">
                <a16:creationId xmlns:a16="http://schemas.microsoft.com/office/drawing/2014/main" id="{7B336F37-546F-720D-D28A-AC64674985A5}"/>
              </a:ext>
            </a:extLst>
          </p:cNvPr>
          <p:cNvPicPr>
            <a:picLocks noChangeAspect="1"/>
          </p:cNvPicPr>
          <p:nvPr/>
        </p:nvPicPr>
        <p:blipFill>
          <a:blip r:embed="rId2"/>
          <a:stretch>
            <a:fillRect/>
          </a:stretch>
        </p:blipFill>
        <p:spPr>
          <a:xfrm>
            <a:off x="905348" y="1423830"/>
            <a:ext cx="10282468" cy="5031157"/>
          </a:xfrm>
          <a:prstGeom prst="rect">
            <a:avLst/>
          </a:prstGeom>
        </p:spPr>
      </p:pic>
    </p:spTree>
    <p:extLst>
      <p:ext uri="{BB962C8B-B14F-4D97-AF65-F5344CB8AC3E}">
        <p14:creationId xmlns:p14="http://schemas.microsoft.com/office/powerpoint/2010/main" val="41708293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 name="TextBox 59">
            <a:extLst>
              <a:ext uri="{FF2B5EF4-FFF2-40B4-BE49-F238E27FC236}">
                <a16:creationId xmlns:a16="http://schemas.microsoft.com/office/drawing/2014/main" id="{FB1A4994-5311-A64F-E5CA-8D6D6D09951A}"/>
              </a:ext>
            </a:extLst>
          </p:cNvPr>
          <p:cNvSpPr txBox="1"/>
          <p:nvPr/>
        </p:nvSpPr>
        <p:spPr>
          <a:xfrm>
            <a:off x="3047134" y="117235"/>
            <a:ext cx="6094268" cy="36933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vi-VN" b="0" i="0">
                <a:solidFill>
                  <a:srgbClr val="575757"/>
                </a:solidFill>
                <a:effectLst/>
                <a:latin typeface="Times New Roman" panose="02020603050405020304" pitchFamily="18" charset="0"/>
              </a:rPr>
              <a:t> </a:t>
            </a:r>
            <a:endParaRPr lang="en-US">
              <a:solidFill>
                <a:srgbClr val="575757"/>
              </a:solidFill>
            </a:endParaRPr>
          </a:p>
        </p:txBody>
      </p:sp>
      <p:sp>
        <p:nvSpPr>
          <p:cNvPr id="63" name="Rectangle 62">
            <a:extLst>
              <a:ext uri="{FF2B5EF4-FFF2-40B4-BE49-F238E27FC236}">
                <a16:creationId xmlns:a16="http://schemas.microsoft.com/office/drawing/2014/main" id="{0F34C75F-3A2D-E2A7-20AE-0ECF6EAC5A04}"/>
              </a:ext>
            </a:extLst>
          </p:cNvPr>
          <p:cNvSpPr/>
          <p:nvPr/>
        </p:nvSpPr>
        <p:spPr>
          <a:xfrm flipV="1">
            <a:off x="0" y="0"/>
            <a:ext cx="12192000" cy="1287597"/>
          </a:xfrm>
          <a:prstGeom prst="rect">
            <a:avLst/>
          </a:prstGeom>
          <a:gradFill flip="none" rotWithShape="1">
            <a:gsLst>
              <a:gs pos="0">
                <a:srgbClr val="008C4F"/>
              </a:gs>
              <a:gs pos="100000">
                <a:srgbClr val="00693B"/>
              </a:gs>
            </a:gsLst>
            <a:lin ang="13500000" scaled="1"/>
            <a:tileRect/>
          </a:gradFill>
          <a:ln w="10795" cap="flat" cmpd="sng" algn="ctr">
            <a:noFill/>
            <a:prstDash val="solid"/>
          </a:ln>
          <a:effectLst/>
        </p:spPr>
        <p:txBody>
          <a:bodyPr lIns="91440" tIns="91440" rIns="91440" bIns="91440" rtlCol="0" anchor="ctr"/>
          <a:lstStyle/>
          <a:p>
            <a:pPr marL="0" marR="0" lvl="0" indent="0" algn="ctr" defTabSz="914400" eaLnBrk="1" fontAlgn="auto" latinLnBrk="0" hangingPunct="1">
              <a:lnSpc>
                <a:spcPct val="95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64" name="Title 1">
            <a:extLst>
              <a:ext uri="{FF2B5EF4-FFF2-40B4-BE49-F238E27FC236}">
                <a16:creationId xmlns:a16="http://schemas.microsoft.com/office/drawing/2014/main" id="{2E7D682E-8B3B-65A8-C167-61B05A0391D7}"/>
              </a:ext>
            </a:extLst>
          </p:cNvPr>
          <p:cNvSpPr txBox="1">
            <a:spLocks/>
          </p:cNvSpPr>
          <p:nvPr/>
        </p:nvSpPr>
        <p:spPr>
          <a:xfrm>
            <a:off x="482082" y="332033"/>
            <a:ext cx="10933200" cy="701690"/>
          </a:xfrm>
          <a:prstGeom prst="rect">
            <a:avLst/>
          </a:prstGeom>
          <a:noFill/>
          <a:ln>
            <a:noFill/>
          </a:ln>
        </p:spPr>
        <p:txBody>
          <a:bodyPr spcFirstLastPara="1" vert="horz" wrap="square" lIns="91425" tIns="45700" rIns="91425" bIns="45700" anchor="ctr" anchorCtr="0">
            <a:spAutoFit/>
          </a:bodyPr>
          <a:lstStyle>
            <a:defPPr marR="0" lvl="0" algn="l" rtl="0">
              <a:lnSpc>
                <a:spcPct val="100000"/>
              </a:lnSpc>
              <a:spcBef>
                <a:spcPts val="0"/>
              </a:spcBef>
              <a:spcAft>
                <a:spcPts val="0"/>
              </a:spcAft>
            </a:defPPr>
            <a:lvl1pPr marR="0" lvl="0" algn="l" rtl="0">
              <a:lnSpc>
                <a:spcPct val="90000"/>
              </a:lnSpc>
              <a:spcBef>
                <a:spcPts val="0"/>
              </a:spcBef>
              <a:spcAft>
                <a:spcPts val="0"/>
              </a:spcAft>
              <a:buClr>
                <a:schemeClr val="dk1"/>
              </a:buClr>
              <a:buSzPts val="1800"/>
              <a:buFont typeface="Calibri"/>
              <a:buNone/>
              <a:defRPr sz="44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r>
              <a:rPr lang="en-US" dirty="0">
                <a:solidFill>
                  <a:srgbClr val="D4DF33"/>
                </a:solidFill>
                <a:latin typeface="Calibri" panose="020F0502020204030204" pitchFamily="34" charset="0"/>
              </a:rPr>
              <a:t>5 – Fourth step: </a:t>
            </a:r>
            <a:r>
              <a:rPr lang="en-US" dirty="0">
                <a:solidFill>
                  <a:srgbClr val="FFFFFF"/>
                </a:solidFill>
                <a:latin typeface="Calibri" panose="020F0502020204030204" pitchFamily="34" charset="0"/>
              </a:rPr>
              <a:t>Analyze - Visualization</a:t>
            </a:r>
          </a:p>
        </p:txBody>
      </p:sp>
      <p:pic>
        <p:nvPicPr>
          <p:cNvPr id="3" name="Picture 2">
            <a:extLst>
              <a:ext uri="{FF2B5EF4-FFF2-40B4-BE49-F238E27FC236}">
                <a16:creationId xmlns:a16="http://schemas.microsoft.com/office/drawing/2014/main" id="{AB77DFBD-5D2C-23B1-FB25-FBE2B0A543EA}"/>
              </a:ext>
            </a:extLst>
          </p:cNvPr>
          <p:cNvPicPr>
            <a:picLocks noChangeAspect="1"/>
          </p:cNvPicPr>
          <p:nvPr/>
        </p:nvPicPr>
        <p:blipFill>
          <a:blip r:embed="rId2"/>
          <a:stretch>
            <a:fillRect/>
          </a:stretch>
        </p:blipFill>
        <p:spPr>
          <a:xfrm>
            <a:off x="1590413" y="1287597"/>
            <a:ext cx="9151197" cy="5501349"/>
          </a:xfrm>
          <a:prstGeom prst="rect">
            <a:avLst/>
          </a:prstGeom>
        </p:spPr>
      </p:pic>
    </p:spTree>
    <p:extLst>
      <p:ext uri="{BB962C8B-B14F-4D97-AF65-F5344CB8AC3E}">
        <p14:creationId xmlns:p14="http://schemas.microsoft.com/office/powerpoint/2010/main" val="27385832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80BB58BE-1939-F43F-6C83-8C156AABF777}"/>
              </a:ext>
            </a:extLst>
          </p:cNvPr>
          <p:cNvSpPr txBox="1"/>
          <p:nvPr/>
        </p:nvSpPr>
        <p:spPr>
          <a:xfrm>
            <a:off x="3047134" y="117235"/>
            <a:ext cx="6094268" cy="36933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vi-VN" b="0" i="0">
                <a:solidFill>
                  <a:srgbClr val="575757"/>
                </a:solidFill>
                <a:effectLst/>
                <a:latin typeface="Times New Roman" panose="02020603050405020304" pitchFamily="18" charset="0"/>
              </a:rPr>
              <a:t> </a:t>
            </a:r>
            <a:endParaRPr lang="en-US">
              <a:solidFill>
                <a:srgbClr val="575757"/>
              </a:solidFill>
            </a:endParaRPr>
          </a:p>
        </p:txBody>
      </p:sp>
      <p:sp>
        <p:nvSpPr>
          <p:cNvPr id="4" name="Rectangle 3">
            <a:extLst>
              <a:ext uri="{FF2B5EF4-FFF2-40B4-BE49-F238E27FC236}">
                <a16:creationId xmlns:a16="http://schemas.microsoft.com/office/drawing/2014/main" id="{95E32A7C-638E-D4CA-D553-F4E45B02BB12}"/>
              </a:ext>
            </a:extLst>
          </p:cNvPr>
          <p:cNvSpPr/>
          <p:nvPr/>
        </p:nvSpPr>
        <p:spPr>
          <a:xfrm flipV="1">
            <a:off x="0" y="0"/>
            <a:ext cx="12192000" cy="1287597"/>
          </a:xfrm>
          <a:prstGeom prst="rect">
            <a:avLst/>
          </a:prstGeom>
          <a:gradFill flip="none" rotWithShape="1">
            <a:gsLst>
              <a:gs pos="0">
                <a:srgbClr val="008C4F"/>
              </a:gs>
              <a:gs pos="100000">
                <a:srgbClr val="00693B"/>
              </a:gs>
            </a:gsLst>
            <a:lin ang="13500000" scaled="1"/>
            <a:tileRect/>
          </a:gradFill>
          <a:ln w="10795" cap="flat" cmpd="sng" algn="ctr">
            <a:noFill/>
            <a:prstDash val="solid"/>
          </a:ln>
          <a:effectLst/>
        </p:spPr>
        <p:txBody>
          <a:bodyPr lIns="91440" tIns="91440" rIns="91440" bIns="91440" rtlCol="0" anchor="ctr"/>
          <a:lstStyle/>
          <a:p>
            <a:pPr marL="0" marR="0" lvl="0" indent="0" algn="ctr" defTabSz="914400" eaLnBrk="1" fontAlgn="auto" latinLnBrk="0" hangingPunct="1">
              <a:lnSpc>
                <a:spcPct val="95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5" name="Title 1">
            <a:extLst>
              <a:ext uri="{FF2B5EF4-FFF2-40B4-BE49-F238E27FC236}">
                <a16:creationId xmlns:a16="http://schemas.microsoft.com/office/drawing/2014/main" id="{37FCE7B0-D357-AE66-9D52-3E7029392183}"/>
              </a:ext>
            </a:extLst>
          </p:cNvPr>
          <p:cNvSpPr txBox="1">
            <a:spLocks/>
          </p:cNvSpPr>
          <p:nvPr/>
        </p:nvSpPr>
        <p:spPr>
          <a:xfrm>
            <a:off x="482082" y="27334"/>
            <a:ext cx="10933200" cy="1311088"/>
          </a:xfrm>
          <a:prstGeom prst="rect">
            <a:avLst/>
          </a:prstGeom>
          <a:noFill/>
          <a:ln>
            <a:noFill/>
          </a:ln>
        </p:spPr>
        <p:txBody>
          <a:bodyPr spcFirstLastPara="1" vert="horz" wrap="square" lIns="91425" tIns="45700" rIns="91425" bIns="45700" anchor="ctr" anchorCtr="0">
            <a:spAutoFit/>
          </a:bodyPr>
          <a:lstStyle>
            <a:defPPr marR="0" lvl="0" algn="l" rtl="0">
              <a:lnSpc>
                <a:spcPct val="100000"/>
              </a:lnSpc>
              <a:spcBef>
                <a:spcPts val="0"/>
              </a:spcBef>
              <a:spcAft>
                <a:spcPts val="0"/>
              </a:spcAft>
            </a:defPPr>
            <a:lvl1pPr marR="0" lvl="0" algn="l" rtl="0">
              <a:lnSpc>
                <a:spcPct val="90000"/>
              </a:lnSpc>
              <a:spcBef>
                <a:spcPts val="0"/>
              </a:spcBef>
              <a:spcAft>
                <a:spcPts val="0"/>
              </a:spcAft>
              <a:buClr>
                <a:schemeClr val="dk1"/>
              </a:buClr>
              <a:buSzPts val="1800"/>
              <a:buFont typeface="Calibri"/>
              <a:buNone/>
              <a:defRPr sz="44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r>
              <a:rPr lang="en-US" dirty="0">
                <a:solidFill>
                  <a:srgbClr val="D4DF33"/>
                </a:solidFill>
                <a:latin typeface="Calibri" panose="020F0502020204030204" pitchFamily="34" charset="0"/>
              </a:rPr>
              <a:t>5 – Fourth step: </a:t>
            </a:r>
            <a:r>
              <a:rPr lang="en-US" dirty="0">
                <a:solidFill>
                  <a:srgbClr val="FFFFFF"/>
                </a:solidFill>
                <a:latin typeface="Calibri" panose="020F0502020204030204" pitchFamily="34" charset="0"/>
              </a:rPr>
              <a:t>Deep dive on health beauty products</a:t>
            </a:r>
          </a:p>
        </p:txBody>
      </p:sp>
      <p:pic>
        <p:nvPicPr>
          <p:cNvPr id="8" name="Picture 7">
            <a:extLst>
              <a:ext uri="{FF2B5EF4-FFF2-40B4-BE49-F238E27FC236}">
                <a16:creationId xmlns:a16="http://schemas.microsoft.com/office/drawing/2014/main" id="{4AABDC60-75A2-3EB9-37B1-C93AE37B70C8}"/>
              </a:ext>
            </a:extLst>
          </p:cNvPr>
          <p:cNvPicPr>
            <a:picLocks noChangeAspect="1"/>
          </p:cNvPicPr>
          <p:nvPr/>
        </p:nvPicPr>
        <p:blipFill>
          <a:blip r:embed="rId2"/>
          <a:stretch>
            <a:fillRect/>
          </a:stretch>
        </p:blipFill>
        <p:spPr>
          <a:xfrm>
            <a:off x="1190065" y="1365756"/>
            <a:ext cx="9590255" cy="5335932"/>
          </a:xfrm>
          <a:prstGeom prst="rect">
            <a:avLst/>
          </a:prstGeom>
        </p:spPr>
      </p:pic>
    </p:spTree>
    <p:extLst>
      <p:ext uri="{BB962C8B-B14F-4D97-AF65-F5344CB8AC3E}">
        <p14:creationId xmlns:p14="http://schemas.microsoft.com/office/powerpoint/2010/main" val="38645831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3" name="Group 22">
            <a:extLst>
              <a:ext uri="{FF2B5EF4-FFF2-40B4-BE49-F238E27FC236}">
                <a16:creationId xmlns:a16="http://schemas.microsoft.com/office/drawing/2014/main" id="{F6BFB856-97A3-8CE2-24D8-1AAAFD65F412}"/>
              </a:ext>
            </a:extLst>
          </p:cNvPr>
          <p:cNvGrpSpPr/>
          <p:nvPr/>
        </p:nvGrpSpPr>
        <p:grpSpPr>
          <a:xfrm>
            <a:off x="0" y="-2381"/>
            <a:ext cx="4913195" cy="6860381"/>
            <a:chOff x="2" y="-2381"/>
            <a:chExt cx="4913195" cy="6860381"/>
          </a:xfrm>
        </p:grpSpPr>
        <p:sp>
          <p:nvSpPr>
            <p:cNvPr id="24" name="Rectangle 23">
              <a:extLst>
                <a:ext uri="{FF2B5EF4-FFF2-40B4-BE49-F238E27FC236}">
                  <a16:creationId xmlns:a16="http://schemas.microsoft.com/office/drawing/2014/main" id="{D120D4A9-F799-BCE7-6797-CB9A3BEDF01C}"/>
                </a:ext>
              </a:extLst>
            </p:cNvPr>
            <p:cNvSpPr/>
            <p:nvPr/>
          </p:nvSpPr>
          <p:spPr>
            <a:xfrm>
              <a:off x="313899" y="0"/>
              <a:ext cx="4094328" cy="6858000"/>
            </a:xfrm>
            <a:prstGeom prst="rect">
              <a:avLst/>
            </a:prstGeom>
            <a:solidFill>
              <a:srgbClr val="F2F2F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FF0201"/>
                  </a:solidFill>
                  <a:prstDash val="solid"/>
                  <a:round/>
                  <a:headEnd type="none" w="med" len="med"/>
                  <a:tailEnd type="none" w="med" len="med"/>
                </a14:hiddenLine>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25" name="Group 24">
              <a:extLst>
                <a:ext uri="{FF2B5EF4-FFF2-40B4-BE49-F238E27FC236}">
                  <a16:creationId xmlns:a16="http://schemas.microsoft.com/office/drawing/2014/main" id="{64CB25A8-B8B6-B8F1-5981-563B95A83873}"/>
                </a:ext>
              </a:extLst>
            </p:cNvPr>
            <p:cNvGrpSpPr/>
            <p:nvPr/>
          </p:nvGrpSpPr>
          <p:grpSpPr>
            <a:xfrm>
              <a:off x="2" y="-2381"/>
              <a:ext cx="4913195" cy="6860381"/>
              <a:chOff x="0" y="-2381"/>
              <a:chExt cx="5513696" cy="6860381"/>
            </a:xfrm>
          </p:grpSpPr>
          <p:sp>
            <p:nvSpPr>
              <p:cNvPr id="27" name="Freeform 8">
                <a:extLst>
                  <a:ext uri="{FF2B5EF4-FFF2-40B4-BE49-F238E27FC236}">
                    <a16:creationId xmlns:a16="http://schemas.microsoft.com/office/drawing/2014/main" id="{29F855A4-CFA3-F660-C08E-7F9A5F02686E}"/>
                  </a:ext>
                </a:extLst>
              </p:cNvPr>
              <p:cNvSpPr>
                <a:spLocks/>
              </p:cNvSpPr>
              <p:nvPr/>
            </p:nvSpPr>
            <p:spPr bwMode="auto">
              <a:xfrm>
                <a:off x="4610913" y="4500561"/>
                <a:ext cx="902783" cy="2357439"/>
              </a:xfrm>
              <a:custGeom>
                <a:avLst/>
                <a:gdLst>
                  <a:gd name="T0" fmla="*/ 187 w 2984"/>
                  <a:gd name="T1" fmla="*/ 0 h 3986"/>
                  <a:gd name="T2" fmla="*/ 422 w 2984"/>
                  <a:gd name="T3" fmla="*/ 1621 h 3986"/>
                  <a:gd name="T4" fmla="*/ 0 w 2984"/>
                  <a:gd name="T5" fmla="*/ 3986 h 3986"/>
                  <a:gd name="T6" fmla="*/ 2984 w 2984"/>
                  <a:gd name="T7" fmla="*/ 3986 h 3986"/>
                  <a:gd name="T8" fmla="*/ 1947 w 2984"/>
                  <a:gd name="T9" fmla="*/ 1956 h 3986"/>
                  <a:gd name="T10" fmla="*/ 187 w 2984"/>
                  <a:gd name="T11" fmla="*/ 0 h 3986"/>
                </a:gdLst>
                <a:ahLst/>
                <a:cxnLst>
                  <a:cxn ang="0">
                    <a:pos x="T0" y="T1"/>
                  </a:cxn>
                  <a:cxn ang="0">
                    <a:pos x="T2" y="T3"/>
                  </a:cxn>
                  <a:cxn ang="0">
                    <a:pos x="T4" y="T5"/>
                  </a:cxn>
                  <a:cxn ang="0">
                    <a:pos x="T6" y="T7"/>
                  </a:cxn>
                  <a:cxn ang="0">
                    <a:pos x="T8" y="T9"/>
                  </a:cxn>
                  <a:cxn ang="0">
                    <a:pos x="T10" y="T11"/>
                  </a:cxn>
                </a:cxnLst>
                <a:rect l="0" t="0" r="r" b="b"/>
                <a:pathLst>
                  <a:path w="2984" h="3986">
                    <a:moveTo>
                      <a:pt x="187" y="0"/>
                    </a:moveTo>
                    <a:cubicBezTo>
                      <a:pt x="324" y="531"/>
                      <a:pt x="412" y="1071"/>
                      <a:pt x="422" y="1621"/>
                    </a:cubicBezTo>
                    <a:cubicBezTo>
                      <a:pt x="435" y="2440"/>
                      <a:pt x="274" y="3227"/>
                      <a:pt x="0" y="3986"/>
                    </a:cubicBezTo>
                    <a:lnTo>
                      <a:pt x="2984" y="3986"/>
                    </a:lnTo>
                    <a:cubicBezTo>
                      <a:pt x="2777" y="3291"/>
                      <a:pt x="2432" y="2609"/>
                      <a:pt x="1947" y="1956"/>
                    </a:cubicBezTo>
                    <a:cubicBezTo>
                      <a:pt x="1448" y="1286"/>
                      <a:pt x="812" y="643"/>
                      <a:pt x="187" y="0"/>
                    </a:cubicBezTo>
                  </a:path>
                </a:pathLst>
              </a:custGeom>
              <a:gradFill>
                <a:gsLst>
                  <a:gs pos="0">
                    <a:srgbClr val="D4DF33">
                      <a:lumMod val="40000"/>
                      <a:lumOff val="60000"/>
                    </a:srgbClr>
                  </a:gs>
                  <a:gs pos="57000">
                    <a:srgbClr val="D4DF33"/>
                  </a:gs>
                  <a:gs pos="100000">
                    <a:srgbClr val="008C4F"/>
                  </a:gs>
                </a:gsLst>
                <a:path path="circle">
                  <a:fillToRect l="50000" t="-80000" r="50000" b="180000"/>
                </a:path>
              </a:gra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757"/>
                  </a:solidFill>
                  <a:effectLst/>
                  <a:uLnTx/>
                  <a:uFillTx/>
                  <a:latin typeface="Calibri" panose="020F0502020204030204"/>
                  <a:ea typeface="+mn-ea"/>
                  <a:cs typeface="+mn-cs"/>
                </a:endParaRPr>
              </a:p>
            </p:txBody>
          </p:sp>
          <p:sp>
            <p:nvSpPr>
              <p:cNvPr id="28" name="Freeform 7">
                <a:extLst>
                  <a:ext uri="{FF2B5EF4-FFF2-40B4-BE49-F238E27FC236}">
                    <a16:creationId xmlns:a16="http://schemas.microsoft.com/office/drawing/2014/main" id="{836FF265-A15E-AD2F-FF54-89BC14C9DE4A}"/>
                  </a:ext>
                </a:extLst>
              </p:cNvPr>
              <p:cNvSpPr>
                <a:spLocks/>
              </p:cNvSpPr>
              <p:nvPr/>
            </p:nvSpPr>
            <p:spPr bwMode="auto">
              <a:xfrm>
                <a:off x="3886317" y="930207"/>
                <a:ext cx="779391" cy="3570356"/>
              </a:xfrm>
              <a:custGeom>
                <a:avLst/>
                <a:gdLst>
                  <a:gd name="T0" fmla="*/ 337 w 2569"/>
                  <a:gd name="T1" fmla="*/ 3011 h 6047"/>
                  <a:gd name="T2" fmla="*/ 2569 w 2569"/>
                  <a:gd name="T3" fmla="*/ 6047 h 6047"/>
                  <a:gd name="T4" fmla="*/ 1672 w 2569"/>
                  <a:gd name="T5" fmla="*/ 3533 h 6047"/>
                  <a:gd name="T6" fmla="*/ 668 w 2569"/>
                  <a:gd name="T7" fmla="*/ 0 h 6047"/>
                  <a:gd name="T8" fmla="*/ 337 w 2569"/>
                  <a:gd name="T9" fmla="*/ 3011 h 6047"/>
                </a:gdLst>
                <a:ahLst/>
                <a:cxnLst>
                  <a:cxn ang="0">
                    <a:pos x="T0" y="T1"/>
                  </a:cxn>
                  <a:cxn ang="0">
                    <a:pos x="T2" y="T3"/>
                  </a:cxn>
                  <a:cxn ang="0">
                    <a:pos x="T4" y="T5"/>
                  </a:cxn>
                  <a:cxn ang="0">
                    <a:pos x="T6" y="T7"/>
                  </a:cxn>
                  <a:cxn ang="0">
                    <a:pos x="T8" y="T9"/>
                  </a:cxn>
                </a:cxnLst>
                <a:rect l="0" t="0" r="r" b="b"/>
                <a:pathLst>
                  <a:path w="2569" h="6047">
                    <a:moveTo>
                      <a:pt x="337" y="3011"/>
                    </a:moveTo>
                    <a:cubicBezTo>
                      <a:pt x="701" y="4092"/>
                      <a:pt x="1621" y="5071"/>
                      <a:pt x="2569" y="6047"/>
                    </a:cubicBezTo>
                    <a:cubicBezTo>
                      <a:pt x="2349" y="5190"/>
                      <a:pt x="2006" y="4355"/>
                      <a:pt x="1672" y="3533"/>
                    </a:cubicBezTo>
                    <a:cubicBezTo>
                      <a:pt x="1211" y="2394"/>
                      <a:pt x="756" y="1216"/>
                      <a:pt x="668" y="0"/>
                    </a:cubicBezTo>
                    <a:cubicBezTo>
                      <a:pt x="169" y="984"/>
                      <a:pt x="0" y="2011"/>
                      <a:pt x="337" y="3011"/>
                    </a:cubicBezTo>
                  </a:path>
                </a:pathLst>
              </a:custGeom>
              <a:gradFill>
                <a:gsLst>
                  <a:gs pos="0">
                    <a:srgbClr val="D4DF33">
                      <a:lumMod val="40000"/>
                      <a:lumOff val="60000"/>
                    </a:srgbClr>
                  </a:gs>
                  <a:gs pos="57000">
                    <a:srgbClr val="D4DF33"/>
                  </a:gs>
                  <a:gs pos="100000">
                    <a:srgbClr val="008C4F"/>
                  </a:gs>
                </a:gsLst>
                <a:path path="circle">
                  <a:fillToRect l="50000" t="-80000" r="50000" b="180000"/>
                </a:path>
              </a:gra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757"/>
                  </a:solidFill>
                  <a:effectLst/>
                  <a:uLnTx/>
                  <a:uFillTx/>
                  <a:latin typeface="Calibri" panose="020F0502020204030204"/>
                  <a:ea typeface="+mn-ea"/>
                  <a:cs typeface="+mn-cs"/>
                </a:endParaRPr>
              </a:p>
            </p:txBody>
          </p:sp>
          <p:sp>
            <p:nvSpPr>
              <p:cNvPr id="29" name="Freeform 9">
                <a:extLst>
                  <a:ext uri="{FF2B5EF4-FFF2-40B4-BE49-F238E27FC236}">
                    <a16:creationId xmlns:a16="http://schemas.microsoft.com/office/drawing/2014/main" id="{86078510-A480-4BCB-1079-6BAC477691CC}"/>
                  </a:ext>
                </a:extLst>
              </p:cNvPr>
              <p:cNvSpPr>
                <a:spLocks/>
              </p:cNvSpPr>
              <p:nvPr/>
            </p:nvSpPr>
            <p:spPr bwMode="auto">
              <a:xfrm>
                <a:off x="4421469" y="4500561"/>
                <a:ext cx="905123" cy="2357439"/>
              </a:xfrm>
              <a:custGeom>
                <a:avLst/>
                <a:gdLst>
                  <a:gd name="T0" fmla="*/ 188 w 2985"/>
                  <a:gd name="T1" fmla="*/ 0 h 3986"/>
                  <a:gd name="T2" fmla="*/ 422 w 2985"/>
                  <a:gd name="T3" fmla="*/ 1621 h 3986"/>
                  <a:gd name="T4" fmla="*/ 0 w 2985"/>
                  <a:gd name="T5" fmla="*/ 3986 h 3986"/>
                  <a:gd name="T6" fmla="*/ 2985 w 2985"/>
                  <a:gd name="T7" fmla="*/ 3986 h 3986"/>
                  <a:gd name="T8" fmla="*/ 1947 w 2985"/>
                  <a:gd name="T9" fmla="*/ 1956 h 3986"/>
                  <a:gd name="T10" fmla="*/ 188 w 2985"/>
                  <a:gd name="T11" fmla="*/ 0 h 3986"/>
                </a:gdLst>
                <a:ahLst/>
                <a:cxnLst>
                  <a:cxn ang="0">
                    <a:pos x="T0" y="T1"/>
                  </a:cxn>
                  <a:cxn ang="0">
                    <a:pos x="T2" y="T3"/>
                  </a:cxn>
                  <a:cxn ang="0">
                    <a:pos x="T4" y="T5"/>
                  </a:cxn>
                  <a:cxn ang="0">
                    <a:pos x="T6" y="T7"/>
                  </a:cxn>
                  <a:cxn ang="0">
                    <a:pos x="T8" y="T9"/>
                  </a:cxn>
                  <a:cxn ang="0">
                    <a:pos x="T10" y="T11"/>
                  </a:cxn>
                </a:cxnLst>
                <a:rect l="0" t="0" r="r" b="b"/>
                <a:pathLst>
                  <a:path w="2985" h="3986">
                    <a:moveTo>
                      <a:pt x="188" y="0"/>
                    </a:moveTo>
                    <a:cubicBezTo>
                      <a:pt x="324" y="531"/>
                      <a:pt x="413" y="1071"/>
                      <a:pt x="422" y="1621"/>
                    </a:cubicBezTo>
                    <a:cubicBezTo>
                      <a:pt x="436" y="2440"/>
                      <a:pt x="275" y="3227"/>
                      <a:pt x="0" y="3986"/>
                    </a:cubicBezTo>
                    <a:lnTo>
                      <a:pt x="2985" y="3986"/>
                    </a:lnTo>
                    <a:cubicBezTo>
                      <a:pt x="2777" y="3291"/>
                      <a:pt x="2433" y="2609"/>
                      <a:pt x="1947" y="1956"/>
                    </a:cubicBezTo>
                    <a:cubicBezTo>
                      <a:pt x="1449" y="1286"/>
                      <a:pt x="812" y="643"/>
                      <a:pt x="188" y="0"/>
                    </a:cubicBezTo>
                  </a:path>
                </a:pathLst>
              </a:custGeom>
              <a:gradFill>
                <a:gsLst>
                  <a:gs pos="0">
                    <a:srgbClr val="D4DF33">
                      <a:lumMod val="40000"/>
                      <a:lumOff val="60000"/>
                    </a:srgbClr>
                  </a:gs>
                  <a:gs pos="57000">
                    <a:srgbClr val="D4DF33"/>
                  </a:gs>
                  <a:gs pos="100000">
                    <a:srgbClr val="008C4F"/>
                  </a:gs>
                </a:gsLst>
                <a:path path="circle">
                  <a:fillToRect l="50000" t="-80000" r="50000" b="180000"/>
                </a:path>
              </a:gra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757"/>
                  </a:solidFill>
                  <a:effectLst/>
                  <a:uLnTx/>
                  <a:uFillTx/>
                  <a:latin typeface="Calibri" panose="020F0502020204030204"/>
                  <a:ea typeface="+mn-ea"/>
                  <a:cs typeface="+mn-cs"/>
                </a:endParaRPr>
              </a:p>
            </p:txBody>
          </p:sp>
          <p:sp>
            <p:nvSpPr>
              <p:cNvPr id="30" name="Freeform 11">
                <a:extLst>
                  <a:ext uri="{FF2B5EF4-FFF2-40B4-BE49-F238E27FC236}">
                    <a16:creationId xmlns:a16="http://schemas.microsoft.com/office/drawing/2014/main" id="{49DC3AE0-4727-C4FA-3BCC-7F5F29C544AE}"/>
                  </a:ext>
                </a:extLst>
              </p:cNvPr>
              <p:cNvSpPr>
                <a:spLocks/>
              </p:cNvSpPr>
              <p:nvPr/>
            </p:nvSpPr>
            <p:spPr bwMode="auto">
              <a:xfrm>
                <a:off x="4083342" y="-2381"/>
                <a:ext cx="336789" cy="939731"/>
              </a:xfrm>
              <a:custGeom>
                <a:avLst/>
                <a:gdLst>
                  <a:gd name="T0" fmla="*/ 20 w 1110"/>
                  <a:gd name="T1" fmla="*/ 1572 h 1572"/>
                  <a:gd name="T2" fmla="*/ 1110 w 1110"/>
                  <a:gd name="T3" fmla="*/ 0 h 1572"/>
                  <a:gd name="T4" fmla="*/ 150 w 1110"/>
                  <a:gd name="T5" fmla="*/ 0 h 1572"/>
                  <a:gd name="T6" fmla="*/ 8 w 1110"/>
                  <a:gd name="T7" fmla="*/ 948 h 1572"/>
                  <a:gd name="T8" fmla="*/ 20 w 1110"/>
                  <a:gd name="T9" fmla="*/ 1572 h 1572"/>
                </a:gdLst>
                <a:ahLst/>
                <a:cxnLst>
                  <a:cxn ang="0">
                    <a:pos x="T0" y="T1"/>
                  </a:cxn>
                  <a:cxn ang="0">
                    <a:pos x="T2" y="T3"/>
                  </a:cxn>
                  <a:cxn ang="0">
                    <a:pos x="T4" y="T5"/>
                  </a:cxn>
                  <a:cxn ang="0">
                    <a:pos x="T6" y="T7"/>
                  </a:cxn>
                  <a:cxn ang="0">
                    <a:pos x="T8" y="T9"/>
                  </a:cxn>
                </a:cxnLst>
                <a:rect l="0" t="0" r="r" b="b"/>
                <a:pathLst>
                  <a:path w="1110" h="1572">
                    <a:moveTo>
                      <a:pt x="20" y="1572"/>
                    </a:moveTo>
                    <a:cubicBezTo>
                      <a:pt x="294" y="1032"/>
                      <a:pt x="667" y="504"/>
                      <a:pt x="1110" y="0"/>
                    </a:cubicBezTo>
                    <a:lnTo>
                      <a:pt x="150" y="0"/>
                    </a:lnTo>
                    <a:cubicBezTo>
                      <a:pt x="68" y="311"/>
                      <a:pt x="20" y="631"/>
                      <a:pt x="8" y="948"/>
                    </a:cubicBezTo>
                    <a:cubicBezTo>
                      <a:pt x="0" y="1157"/>
                      <a:pt x="5" y="1365"/>
                      <a:pt x="20" y="1572"/>
                    </a:cubicBezTo>
                  </a:path>
                </a:pathLst>
              </a:custGeom>
              <a:gradFill>
                <a:gsLst>
                  <a:gs pos="0">
                    <a:srgbClr val="D4DF33">
                      <a:lumMod val="40000"/>
                      <a:lumOff val="60000"/>
                    </a:srgbClr>
                  </a:gs>
                  <a:gs pos="57000">
                    <a:srgbClr val="D4DF33"/>
                  </a:gs>
                  <a:gs pos="100000">
                    <a:srgbClr val="008C4F"/>
                  </a:gs>
                </a:gsLst>
                <a:path path="circle">
                  <a:fillToRect l="50000" t="-80000" r="50000" b="180000"/>
                </a:path>
              </a:gra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757"/>
                  </a:solidFill>
                  <a:effectLst/>
                  <a:uLnTx/>
                  <a:uFillTx/>
                  <a:latin typeface="Calibri" panose="020F0502020204030204"/>
                  <a:ea typeface="+mn-ea"/>
                  <a:cs typeface="+mn-cs"/>
                </a:endParaRPr>
              </a:p>
            </p:txBody>
          </p:sp>
          <p:sp>
            <p:nvSpPr>
              <p:cNvPr id="31" name="Freeform 108">
                <a:extLst>
                  <a:ext uri="{FF2B5EF4-FFF2-40B4-BE49-F238E27FC236}">
                    <a16:creationId xmlns:a16="http://schemas.microsoft.com/office/drawing/2014/main" id="{A537E1D9-8905-838B-50DD-552B46784BF0}"/>
                  </a:ext>
                </a:extLst>
              </p:cNvPr>
              <p:cNvSpPr/>
              <p:nvPr/>
            </p:nvSpPr>
            <p:spPr>
              <a:xfrm flipH="1">
                <a:off x="0" y="0"/>
                <a:ext cx="4738175" cy="6858000"/>
              </a:xfrm>
              <a:custGeom>
                <a:avLst/>
                <a:gdLst>
                  <a:gd name="connsiteX0" fmla="*/ 569322 w 4442617"/>
                  <a:gd name="connsiteY0" fmla="*/ 0 h 6858000"/>
                  <a:gd name="connsiteX1" fmla="*/ 913161 w 4442617"/>
                  <a:gd name="connsiteY1" fmla="*/ 0 h 6858000"/>
                  <a:gd name="connsiteX2" fmla="*/ 1031764 w 4442617"/>
                  <a:gd name="connsiteY2" fmla="*/ 0 h 6858000"/>
                  <a:gd name="connsiteX3" fmla="*/ 1132194 w 4442617"/>
                  <a:gd name="connsiteY3" fmla="*/ 0 h 6858000"/>
                  <a:gd name="connsiteX4" fmla="*/ 1391220 w 4442617"/>
                  <a:gd name="connsiteY4" fmla="*/ 0 h 6858000"/>
                  <a:gd name="connsiteX5" fmla="*/ 2087445 w 4442617"/>
                  <a:gd name="connsiteY5" fmla="*/ 0 h 6858000"/>
                  <a:gd name="connsiteX6" fmla="*/ 2489993 w 4442617"/>
                  <a:gd name="connsiteY6" fmla="*/ 0 h 6858000"/>
                  <a:gd name="connsiteX7" fmla="*/ 2523414 w 4442617"/>
                  <a:gd name="connsiteY7" fmla="*/ 0 h 6858000"/>
                  <a:gd name="connsiteX8" fmla="*/ 2607549 w 4442617"/>
                  <a:gd name="connsiteY8" fmla="*/ 0 h 6858000"/>
                  <a:gd name="connsiteX9" fmla="*/ 4442617 w 4442617"/>
                  <a:gd name="connsiteY9" fmla="*/ 0 h 6858000"/>
                  <a:gd name="connsiteX10" fmla="*/ 4442617 w 4442617"/>
                  <a:gd name="connsiteY10" fmla="*/ 6858000 h 6858000"/>
                  <a:gd name="connsiteX11" fmla="*/ 2607549 w 4442617"/>
                  <a:gd name="connsiteY11" fmla="*/ 6858000 h 6858000"/>
                  <a:gd name="connsiteX12" fmla="*/ 2523414 w 4442617"/>
                  <a:gd name="connsiteY12" fmla="*/ 6858000 h 6858000"/>
                  <a:gd name="connsiteX13" fmla="*/ 2489993 w 4442617"/>
                  <a:gd name="connsiteY13" fmla="*/ 6858000 h 6858000"/>
                  <a:gd name="connsiteX14" fmla="*/ 2087445 w 4442617"/>
                  <a:gd name="connsiteY14" fmla="*/ 6858000 h 6858000"/>
                  <a:gd name="connsiteX15" fmla="*/ 1391220 w 4442617"/>
                  <a:gd name="connsiteY15" fmla="*/ 6858000 h 6858000"/>
                  <a:gd name="connsiteX16" fmla="*/ 1132194 w 4442617"/>
                  <a:gd name="connsiteY16" fmla="*/ 6858000 h 6858000"/>
                  <a:gd name="connsiteX17" fmla="*/ 1031764 w 4442617"/>
                  <a:gd name="connsiteY17" fmla="*/ 6858000 h 6858000"/>
                  <a:gd name="connsiteX18" fmla="*/ 913161 w 4442617"/>
                  <a:gd name="connsiteY18" fmla="*/ 6858000 h 6858000"/>
                  <a:gd name="connsiteX19" fmla="*/ 119931 w 4442617"/>
                  <a:gd name="connsiteY19" fmla="*/ 6858000 h 6858000"/>
                  <a:gd name="connsiteX20" fmla="*/ 207 w 4442617"/>
                  <a:gd name="connsiteY20" fmla="*/ 5460398 h 6858000"/>
                  <a:gd name="connsiteX21" fmla="*/ 66878 w 4442617"/>
                  <a:gd name="connsiteY21" fmla="*/ 4502465 h 6858000"/>
                  <a:gd name="connsiteX22" fmla="*/ 700111 w 4442617"/>
                  <a:gd name="connsiteY22" fmla="*/ 2708334 h 6858000"/>
                  <a:gd name="connsiteX23" fmla="*/ 606204 w 4442617"/>
                  <a:gd name="connsiteY23" fmla="*/ 928977 h 6858000"/>
                  <a:gd name="connsiteX24" fmla="*/ 609608 w 4442617"/>
                  <a:gd name="connsiteY24" fmla="*/ 560223 h 6858000"/>
                  <a:gd name="connsiteX25" fmla="*/ 569322 w 4442617"/>
                  <a:gd name="connsiteY2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4442617" h="6858000">
                    <a:moveTo>
                      <a:pt x="569322" y="0"/>
                    </a:moveTo>
                    <a:lnTo>
                      <a:pt x="913161" y="0"/>
                    </a:lnTo>
                    <a:lnTo>
                      <a:pt x="1031764" y="0"/>
                    </a:lnTo>
                    <a:lnTo>
                      <a:pt x="1132194" y="0"/>
                    </a:lnTo>
                    <a:lnTo>
                      <a:pt x="1391220" y="0"/>
                    </a:lnTo>
                    <a:lnTo>
                      <a:pt x="2087445" y="0"/>
                    </a:lnTo>
                    <a:lnTo>
                      <a:pt x="2489993" y="0"/>
                    </a:lnTo>
                    <a:lnTo>
                      <a:pt x="2523414" y="0"/>
                    </a:lnTo>
                    <a:lnTo>
                      <a:pt x="2607549" y="0"/>
                    </a:lnTo>
                    <a:lnTo>
                      <a:pt x="4442617" y="0"/>
                    </a:lnTo>
                    <a:lnTo>
                      <a:pt x="4442617" y="6858000"/>
                    </a:lnTo>
                    <a:lnTo>
                      <a:pt x="2607549" y="6858000"/>
                    </a:lnTo>
                    <a:lnTo>
                      <a:pt x="2523414" y="6858000"/>
                    </a:lnTo>
                    <a:lnTo>
                      <a:pt x="2489993" y="6858000"/>
                    </a:lnTo>
                    <a:lnTo>
                      <a:pt x="2087445" y="6858000"/>
                    </a:lnTo>
                    <a:lnTo>
                      <a:pt x="1391220" y="6858000"/>
                    </a:lnTo>
                    <a:lnTo>
                      <a:pt x="1132194" y="6858000"/>
                    </a:lnTo>
                    <a:lnTo>
                      <a:pt x="1031764" y="6858000"/>
                    </a:lnTo>
                    <a:lnTo>
                      <a:pt x="913161" y="6858000"/>
                    </a:lnTo>
                    <a:lnTo>
                      <a:pt x="119931" y="6858000"/>
                    </a:lnTo>
                    <a:cubicBezTo>
                      <a:pt x="42196" y="6409468"/>
                      <a:pt x="-3481" y="5944388"/>
                      <a:pt x="207" y="5460398"/>
                    </a:cubicBezTo>
                    <a:cubicBezTo>
                      <a:pt x="3044" y="5135375"/>
                      <a:pt x="28010" y="4816260"/>
                      <a:pt x="66878" y="4502465"/>
                    </a:cubicBezTo>
                    <a:cubicBezTo>
                      <a:pt x="335832" y="3925695"/>
                      <a:pt x="596842" y="3347153"/>
                      <a:pt x="700111" y="2708334"/>
                    </a:cubicBezTo>
                    <a:cubicBezTo>
                      <a:pt x="795720" y="2117382"/>
                      <a:pt x="747774" y="1510474"/>
                      <a:pt x="606204" y="928977"/>
                    </a:cubicBezTo>
                    <a:cubicBezTo>
                      <a:pt x="610460" y="806650"/>
                      <a:pt x="611879" y="683732"/>
                      <a:pt x="609608" y="560223"/>
                    </a:cubicBezTo>
                    <a:cubicBezTo>
                      <a:pt x="606204" y="372891"/>
                      <a:pt x="592586" y="183786"/>
                      <a:pt x="569322" y="0"/>
                    </a:cubicBezTo>
                    <a:close/>
                  </a:path>
                </a:pathLst>
              </a:custGeom>
              <a:gradFill flip="none" rotWithShape="1">
                <a:gsLst>
                  <a:gs pos="0">
                    <a:srgbClr val="008C4F"/>
                  </a:gs>
                  <a:gs pos="100000">
                    <a:srgbClr val="00693B"/>
                  </a:gs>
                </a:gsLst>
                <a:lin ang="13500000" scaled="1"/>
                <a:tileRect/>
              </a:gradFill>
              <a:ln w="10795" cap="flat" cmpd="sng" algn="ctr">
                <a:noFill/>
                <a:prstDash val="solid"/>
              </a:ln>
              <a:effectLst/>
            </p:spPr>
            <p:txBody>
              <a:bodyPr lIns="91440" tIns="91440" rIns="91440" bIns="91440" rtlCol="0" anchor="ctr"/>
              <a:lstStyle/>
              <a:p>
                <a:pPr marL="0" marR="0" lvl="0" indent="0" algn="ctr" defTabSz="914400" eaLnBrk="1" fontAlgn="auto" latinLnBrk="0" hangingPunct="1">
                  <a:lnSpc>
                    <a:spcPct val="95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grpSp>
        <p:sp>
          <p:nvSpPr>
            <p:cNvPr id="26" name="Rectangle 25">
              <a:extLst>
                <a:ext uri="{FF2B5EF4-FFF2-40B4-BE49-F238E27FC236}">
                  <a16:creationId xmlns:a16="http://schemas.microsoft.com/office/drawing/2014/main" id="{79730D1F-9362-B626-BEC2-DE8875D91B68}"/>
                </a:ext>
              </a:extLst>
            </p:cNvPr>
            <p:cNvSpPr/>
            <p:nvPr/>
          </p:nvSpPr>
          <p:spPr>
            <a:xfrm>
              <a:off x="313899" y="2877058"/>
              <a:ext cx="3129231" cy="914400"/>
            </a:xfrm>
            <a:prstGeom prst="rect">
              <a:avLst/>
            </a:prstGeom>
            <a:noFill/>
            <a:ln w="12700" cap="flat" cmpd="sng" algn="ctr">
              <a:noFill/>
              <a:prstDash val="solid"/>
              <a:miter lim="800000"/>
            </a:ln>
            <a:effectLst/>
            <a:extLst>
              <a:ext uri="{909E8E84-426E-40DD-AFC4-6F175D3DCCD1}">
                <a14:hiddenFill xmlns:a14="http://schemas.microsoft.com/office/drawing/2010/main">
                  <a:gradFill flip="none" rotWithShape="1">
                    <a:gsLst>
                      <a:gs pos="0">
                        <a:srgbClr val="FF0201"/>
                      </a:gs>
                      <a:gs pos="100000">
                        <a:srgbClr val="C00000"/>
                      </a:gs>
                    </a:gsLst>
                    <a:lin ang="13500000" scaled="1"/>
                    <a:tileRect/>
                  </a:gradFill>
                </a14:hiddenFill>
              </a:ext>
            </a:extLst>
          </p:spPr>
          <p:txBody>
            <a:bodyPr lIns="91440" tIns="91440" rIns="91440" bIns="91440" rtlCol="0" anchor="ctr"/>
            <a:lstStyle/>
            <a:p>
              <a:pPr marL="0" marR="0" lvl="0" indent="0" algn="ctr" defTabSz="914400" eaLnBrk="1" fontAlgn="auto" latinLnBrk="0" hangingPunct="1">
                <a:lnSpc>
                  <a:spcPct val="95000"/>
                </a:lnSpc>
                <a:spcBef>
                  <a:spcPts val="0"/>
                </a:spcBef>
                <a:spcAft>
                  <a:spcPts val="0"/>
                </a:spcAft>
                <a:buClrTx/>
                <a:buSzTx/>
                <a:buFontTx/>
                <a:buNone/>
                <a:tabLst/>
                <a:defRPr/>
              </a:pPr>
              <a:r>
                <a:rPr kumimoji="0" lang="en-US" sz="6000" b="0" i="0" u="none" strike="noStrike" kern="0" cap="none" spc="0" normalizeH="0" baseline="0" noProof="0" dirty="0">
                  <a:ln>
                    <a:noFill/>
                  </a:ln>
                  <a:solidFill>
                    <a:srgbClr val="FFFFFF"/>
                  </a:solidFill>
                  <a:effectLst/>
                  <a:uLnTx/>
                  <a:uFillTx/>
                  <a:latin typeface="Calibri" panose="020F0502020204030204"/>
                  <a:ea typeface="+mn-ea"/>
                  <a:cs typeface="+mn-cs"/>
                </a:rPr>
                <a:t>Agenda</a:t>
              </a:r>
            </a:p>
          </p:txBody>
        </p:sp>
      </p:grpSp>
      <p:sp>
        <p:nvSpPr>
          <p:cNvPr id="32" name="Rectangle 31">
            <a:extLst>
              <a:ext uri="{FF2B5EF4-FFF2-40B4-BE49-F238E27FC236}">
                <a16:creationId xmlns:a16="http://schemas.microsoft.com/office/drawing/2014/main" id="{C8D21BA8-5483-A221-4DA0-DCF1BAAA1367}"/>
              </a:ext>
            </a:extLst>
          </p:cNvPr>
          <p:cNvSpPr/>
          <p:nvPr/>
        </p:nvSpPr>
        <p:spPr>
          <a:xfrm>
            <a:off x="4722124" y="1032040"/>
            <a:ext cx="6534141" cy="1325399"/>
          </a:xfrm>
          <a:prstGeom prst="rect">
            <a:avLst/>
          </a:prstGeom>
          <a:noFill/>
          <a:ln w="9525" cap="rnd"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Calibri" panose="020F0502020204030204"/>
                <a:ea typeface="+mn-ea"/>
                <a:cs typeface="+mn-cs"/>
              </a:rPr>
              <a:t>Business </a:t>
            </a:r>
            <a:r>
              <a:rPr lang="en-US" sz="2000" b="1" kern="1200" dirty="0">
                <a:latin typeface="Calibri" panose="020F0502020204030204"/>
                <a:ea typeface="+mn-ea"/>
                <a:cs typeface="+mn-cs"/>
              </a:rPr>
              <a:t>Intelligence Report for an E-Commerce business</a:t>
            </a:r>
            <a:endParaRPr kumimoji="0" lang="en-US" sz="2000" b="1"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33" name="Rectangle 32">
            <a:extLst>
              <a:ext uri="{FF2B5EF4-FFF2-40B4-BE49-F238E27FC236}">
                <a16:creationId xmlns:a16="http://schemas.microsoft.com/office/drawing/2014/main" id="{FE16A399-1527-E4AC-2FFD-21B379C78283}"/>
              </a:ext>
            </a:extLst>
          </p:cNvPr>
          <p:cNvSpPr/>
          <p:nvPr/>
        </p:nvSpPr>
        <p:spPr>
          <a:xfrm>
            <a:off x="5606875" y="2427465"/>
            <a:ext cx="6427808" cy="358815"/>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Calibri" panose="020F0502020204030204"/>
                <a:ea typeface="+mn-ea"/>
                <a:cs typeface="+mn-cs"/>
              </a:rPr>
              <a:t>2. Step 1: Ask</a:t>
            </a:r>
          </a:p>
        </p:txBody>
      </p:sp>
      <p:sp>
        <p:nvSpPr>
          <p:cNvPr id="34" name="Rectangle 33">
            <a:extLst>
              <a:ext uri="{FF2B5EF4-FFF2-40B4-BE49-F238E27FC236}">
                <a16:creationId xmlns:a16="http://schemas.microsoft.com/office/drawing/2014/main" id="{8175F7B1-4111-8536-0468-E8B8DE70E84D}"/>
              </a:ext>
            </a:extLst>
          </p:cNvPr>
          <p:cNvSpPr/>
          <p:nvPr/>
        </p:nvSpPr>
        <p:spPr>
          <a:xfrm>
            <a:off x="5606873" y="1910002"/>
            <a:ext cx="6427809" cy="358815"/>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Calibri" panose="020F0502020204030204"/>
                <a:ea typeface="+mn-ea"/>
                <a:cs typeface="+mn-cs"/>
              </a:rPr>
              <a:t>1. </a:t>
            </a:r>
            <a:r>
              <a:rPr kumimoji="0" lang="en-SG" sz="2000" b="0" i="0" u="none" strike="noStrike" kern="1200" cap="none" spc="0" normalizeH="0" baseline="0" noProof="0" dirty="0">
                <a:ln>
                  <a:noFill/>
                </a:ln>
                <a:solidFill>
                  <a:srgbClr val="000000"/>
                </a:solidFill>
                <a:effectLst/>
                <a:uLnTx/>
                <a:uFillTx/>
                <a:latin typeface="Calibri" panose="020F0502020204030204" pitchFamily="34" charset="0"/>
                <a:ea typeface="Times New Roman" panose="02020603050405020304" pitchFamily="18" charset="0"/>
                <a:cs typeface="+mn-cs"/>
              </a:rPr>
              <a:t>Approach</a:t>
            </a:r>
            <a:endParaRPr kumimoji="0" lang="en-US" sz="20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35" name="Rectangle 34">
            <a:extLst>
              <a:ext uri="{FF2B5EF4-FFF2-40B4-BE49-F238E27FC236}">
                <a16:creationId xmlns:a16="http://schemas.microsoft.com/office/drawing/2014/main" id="{1AD992D7-59B0-B6BB-B1D4-124EBCC0266C}"/>
              </a:ext>
            </a:extLst>
          </p:cNvPr>
          <p:cNvSpPr/>
          <p:nvPr/>
        </p:nvSpPr>
        <p:spPr>
          <a:xfrm>
            <a:off x="5606875" y="3462391"/>
            <a:ext cx="6427808" cy="358815"/>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Calibri" panose="020F0502020204030204"/>
                <a:ea typeface="+mn-ea"/>
                <a:cs typeface="+mn-cs"/>
              </a:rPr>
              <a:t>4. Step 3: Process</a:t>
            </a:r>
          </a:p>
        </p:txBody>
      </p:sp>
      <p:sp>
        <p:nvSpPr>
          <p:cNvPr id="36" name="Rectangle 35">
            <a:extLst>
              <a:ext uri="{FF2B5EF4-FFF2-40B4-BE49-F238E27FC236}">
                <a16:creationId xmlns:a16="http://schemas.microsoft.com/office/drawing/2014/main" id="{D0A60DC4-9F14-FD1F-0639-B510D3F2D21C}"/>
              </a:ext>
            </a:extLst>
          </p:cNvPr>
          <p:cNvSpPr/>
          <p:nvPr/>
        </p:nvSpPr>
        <p:spPr>
          <a:xfrm>
            <a:off x="5606873" y="2944928"/>
            <a:ext cx="6427809" cy="358815"/>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Calibri" panose="020F0502020204030204"/>
                <a:ea typeface="+mn-ea"/>
                <a:cs typeface="+mn-cs"/>
              </a:rPr>
              <a:t>3. Step 2: </a:t>
            </a:r>
            <a:r>
              <a:rPr kumimoji="0" lang="en-SG" sz="2000" b="0" i="0" u="none" strike="noStrike" kern="1200" cap="none" spc="0" normalizeH="0" baseline="0" noProof="0" dirty="0">
                <a:ln>
                  <a:noFill/>
                </a:ln>
                <a:solidFill>
                  <a:srgbClr val="000000"/>
                </a:solidFill>
                <a:effectLst/>
                <a:uLnTx/>
                <a:uFillTx/>
                <a:latin typeface="Calibri" panose="020F0502020204030204" pitchFamily="34" charset="0"/>
                <a:ea typeface="Times New Roman" panose="02020603050405020304" pitchFamily="18" charset="0"/>
                <a:cs typeface="+mn-cs"/>
              </a:rPr>
              <a:t>Prepare</a:t>
            </a:r>
            <a:endParaRPr kumimoji="0" lang="en-US" sz="20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37" name="Rectangle 36">
            <a:extLst>
              <a:ext uri="{FF2B5EF4-FFF2-40B4-BE49-F238E27FC236}">
                <a16:creationId xmlns:a16="http://schemas.microsoft.com/office/drawing/2014/main" id="{F4B51D34-9ED0-9F8E-066B-7DEC625692D6}"/>
              </a:ext>
            </a:extLst>
          </p:cNvPr>
          <p:cNvSpPr/>
          <p:nvPr/>
        </p:nvSpPr>
        <p:spPr>
          <a:xfrm>
            <a:off x="5606875" y="4497317"/>
            <a:ext cx="6427808" cy="358815"/>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Calibri" panose="020F0502020204030204"/>
                <a:ea typeface="+mn-ea"/>
                <a:cs typeface="+mn-cs"/>
              </a:rPr>
              <a:t>6. Step 5: Share</a:t>
            </a:r>
          </a:p>
        </p:txBody>
      </p:sp>
      <p:sp>
        <p:nvSpPr>
          <p:cNvPr id="38" name="Rectangle 37">
            <a:extLst>
              <a:ext uri="{FF2B5EF4-FFF2-40B4-BE49-F238E27FC236}">
                <a16:creationId xmlns:a16="http://schemas.microsoft.com/office/drawing/2014/main" id="{A44C9307-F0E5-E24C-0CB7-BF61F494DD41}"/>
              </a:ext>
            </a:extLst>
          </p:cNvPr>
          <p:cNvSpPr/>
          <p:nvPr/>
        </p:nvSpPr>
        <p:spPr>
          <a:xfrm>
            <a:off x="5606873" y="3979854"/>
            <a:ext cx="6427809" cy="358815"/>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Calibri" panose="020F0502020204030204"/>
                <a:ea typeface="+mn-ea"/>
                <a:cs typeface="+mn-cs"/>
              </a:rPr>
              <a:t>5. Step 4: </a:t>
            </a:r>
            <a:r>
              <a:rPr kumimoji="0" lang="en-US" sz="2000" b="0" i="0" u="none" strike="noStrike" kern="1200" cap="none" spc="0" normalizeH="0" baseline="0" noProof="0" dirty="0">
                <a:ln>
                  <a:noFill/>
                </a:ln>
                <a:solidFill>
                  <a:srgbClr val="000000"/>
                </a:solidFill>
                <a:effectLst/>
                <a:uLnTx/>
                <a:uFillTx/>
                <a:latin typeface="Calibri" panose="020F0502020204030204" pitchFamily="34" charset="0"/>
                <a:ea typeface="Times New Roman" panose="02020603050405020304" pitchFamily="18" charset="0"/>
                <a:cs typeface="+mn-cs"/>
              </a:rPr>
              <a:t>Analyze</a:t>
            </a:r>
            <a:endParaRPr kumimoji="0" lang="en-US" sz="20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39" name="Rectangle 38">
            <a:extLst>
              <a:ext uri="{FF2B5EF4-FFF2-40B4-BE49-F238E27FC236}">
                <a16:creationId xmlns:a16="http://schemas.microsoft.com/office/drawing/2014/main" id="{9C3B1BA9-79CB-024C-DA5B-2E79FAFFA510}"/>
              </a:ext>
            </a:extLst>
          </p:cNvPr>
          <p:cNvSpPr/>
          <p:nvPr/>
        </p:nvSpPr>
        <p:spPr>
          <a:xfrm>
            <a:off x="5606875" y="5014780"/>
            <a:ext cx="6427808" cy="358815"/>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Calibri" panose="020F0502020204030204"/>
                <a:ea typeface="+mn-ea"/>
                <a:cs typeface="+mn-cs"/>
              </a:rPr>
              <a:t>7. Step 6: Act</a:t>
            </a:r>
          </a:p>
        </p:txBody>
      </p:sp>
    </p:spTree>
    <p:extLst>
      <p:ext uri="{BB962C8B-B14F-4D97-AF65-F5344CB8AC3E}">
        <p14:creationId xmlns:p14="http://schemas.microsoft.com/office/powerpoint/2010/main" val="128900106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7C46A7C3-1D97-3E92-1504-69C5EEFA2EEB}"/>
              </a:ext>
            </a:extLst>
          </p:cNvPr>
          <p:cNvSpPr txBox="1"/>
          <p:nvPr/>
        </p:nvSpPr>
        <p:spPr>
          <a:xfrm>
            <a:off x="3047134" y="117235"/>
            <a:ext cx="6094268" cy="36933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vi-VN" b="0" i="0">
                <a:solidFill>
                  <a:srgbClr val="575757"/>
                </a:solidFill>
                <a:effectLst/>
                <a:latin typeface="Times New Roman" panose="02020603050405020304" pitchFamily="18" charset="0"/>
              </a:rPr>
              <a:t> </a:t>
            </a:r>
            <a:endParaRPr lang="en-US">
              <a:solidFill>
                <a:srgbClr val="575757"/>
              </a:solidFill>
            </a:endParaRPr>
          </a:p>
        </p:txBody>
      </p:sp>
      <p:sp>
        <p:nvSpPr>
          <p:cNvPr id="8" name="Rectangle 7">
            <a:extLst>
              <a:ext uri="{FF2B5EF4-FFF2-40B4-BE49-F238E27FC236}">
                <a16:creationId xmlns:a16="http://schemas.microsoft.com/office/drawing/2014/main" id="{0B0B4A45-F973-6927-15A9-CBF61D9A1A13}"/>
              </a:ext>
            </a:extLst>
          </p:cNvPr>
          <p:cNvSpPr/>
          <p:nvPr/>
        </p:nvSpPr>
        <p:spPr>
          <a:xfrm flipV="1">
            <a:off x="0" y="0"/>
            <a:ext cx="12192000" cy="1287597"/>
          </a:xfrm>
          <a:prstGeom prst="rect">
            <a:avLst/>
          </a:prstGeom>
          <a:gradFill flip="none" rotWithShape="1">
            <a:gsLst>
              <a:gs pos="0">
                <a:srgbClr val="008C4F"/>
              </a:gs>
              <a:gs pos="100000">
                <a:srgbClr val="00693B"/>
              </a:gs>
            </a:gsLst>
            <a:lin ang="13500000" scaled="1"/>
            <a:tileRect/>
          </a:gradFill>
          <a:ln w="10795" cap="flat" cmpd="sng" algn="ctr">
            <a:noFill/>
            <a:prstDash val="solid"/>
          </a:ln>
          <a:effectLst/>
        </p:spPr>
        <p:txBody>
          <a:bodyPr lIns="91440" tIns="91440" rIns="91440" bIns="91440" rtlCol="0" anchor="ctr"/>
          <a:lstStyle/>
          <a:p>
            <a:pPr marL="0" marR="0" lvl="0" indent="0" algn="ctr" defTabSz="914400" eaLnBrk="1" fontAlgn="auto" latinLnBrk="0" hangingPunct="1">
              <a:lnSpc>
                <a:spcPct val="95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9" name="Title 1">
            <a:extLst>
              <a:ext uri="{FF2B5EF4-FFF2-40B4-BE49-F238E27FC236}">
                <a16:creationId xmlns:a16="http://schemas.microsoft.com/office/drawing/2014/main" id="{57C46344-C245-52B9-ABE1-B2C1CCA46D0B}"/>
              </a:ext>
            </a:extLst>
          </p:cNvPr>
          <p:cNvSpPr txBox="1">
            <a:spLocks/>
          </p:cNvSpPr>
          <p:nvPr/>
        </p:nvSpPr>
        <p:spPr>
          <a:xfrm>
            <a:off x="482082" y="27334"/>
            <a:ext cx="10933200" cy="1311088"/>
          </a:xfrm>
          <a:prstGeom prst="rect">
            <a:avLst/>
          </a:prstGeom>
          <a:noFill/>
          <a:ln>
            <a:noFill/>
          </a:ln>
        </p:spPr>
        <p:txBody>
          <a:bodyPr spcFirstLastPara="1" vert="horz" wrap="square" lIns="91425" tIns="45700" rIns="91425" bIns="45700" anchor="ctr" anchorCtr="0">
            <a:spAutoFit/>
          </a:bodyPr>
          <a:lstStyle>
            <a:defPPr marR="0" lvl="0" algn="l" rtl="0">
              <a:lnSpc>
                <a:spcPct val="100000"/>
              </a:lnSpc>
              <a:spcBef>
                <a:spcPts val="0"/>
              </a:spcBef>
              <a:spcAft>
                <a:spcPts val="0"/>
              </a:spcAft>
            </a:defPPr>
            <a:lvl1pPr marR="0" lvl="0" algn="l" rtl="0">
              <a:lnSpc>
                <a:spcPct val="90000"/>
              </a:lnSpc>
              <a:spcBef>
                <a:spcPts val="0"/>
              </a:spcBef>
              <a:spcAft>
                <a:spcPts val="0"/>
              </a:spcAft>
              <a:buClr>
                <a:schemeClr val="dk1"/>
              </a:buClr>
              <a:buSzPts val="1800"/>
              <a:buFont typeface="Calibri"/>
              <a:buNone/>
              <a:defRPr sz="44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r>
              <a:rPr lang="en-US" dirty="0">
                <a:solidFill>
                  <a:srgbClr val="D4DF33"/>
                </a:solidFill>
                <a:latin typeface="Calibri" panose="020F0502020204030204" pitchFamily="34" charset="0"/>
              </a:rPr>
              <a:t>5 – Fourth step: </a:t>
            </a:r>
            <a:r>
              <a:rPr lang="en-US" dirty="0">
                <a:solidFill>
                  <a:srgbClr val="FFFFFF"/>
                </a:solidFill>
                <a:latin typeface="Calibri" panose="020F0502020204030204" pitchFamily="34" charset="0"/>
              </a:rPr>
              <a:t>Deep dive on </a:t>
            </a:r>
            <a:r>
              <a:rPr lang="en-US" dirty="0" err="1">
                <a:solidFill>
                  <a:srgbClr val="FFFFFF"/>
                </a:solidFill>
                <a:latin typeface="Calibri" panose="020F0502020204030204" pitchFamily="34" charset="0"/>
              </a:rPr>
              <a:t>watches_gifts</a:t>
            </a:r>
            <a:r>
              <a:rPr lang="en-US" dirty="0">
                <a:solidFill>
                  <a:srgbClr val="FFFFFF"/>
                </a:solidFill>
                <a:latin typeface="Calibri" panose="020F0502020204030204" pitchFamily="34" charset="0"/>
              </a:rPr>
              <a:t> products</a:t>
            </a:r>
          </a:p>
        </p:txBody>
      </p:sp>
      <p:pic>
        <p:nvPicPr>
          <p:cNvPr id="14" name="Picture 13">
            <a:extLst>
              <a:ext uri="{FF2B5EF4-FFF2-40B4-BE49-F238E27FC236}">
                <a16:creationId xmlns:a16="http://schemas.microsoft.com/office/drawing/2014/main" id="{4EB26EBA-3933-C017-96A6-F08AB7DDCD86}"/>
              </a:ext>
            </a:extLst>
          </p:cNvPr>
          <p:cNvPicPr>
            <a:picLocks noChangeAspect="1"/>
          </p:cNvPicPr>
          <p:nvPr/>
        </p:nvPicPr>
        <p:blipFill>
          <a:blip r:embed="rId2"/>
          <a:stretch>
            <a:fillRect/>
          </a:stretch>
        </p:blipFill>
        <p:spPr>
          <a:xfrm>
            <a:off x="1111496" y="1314931"/>
            <a:ext cx="9787345" cy="5460697"/>
          </a:xfrm>
          <a:prstGeom prst="rect">
            <a:avLst/>
          </a:prstGeom>
        </p:spPr>
      </p:pic>
    </p:spTree>
    <p:extLst>
      <p:ext uri="{BB962C8B-B14F-4D97-AF65-F5344CB8AC3E}">
        <p14:creationId xmlns:p14="http://schemas.microsoft.com/office/powerpoint/2010/main" val="16241196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7C46A7C3-1D97-3E92-1504-69C5EEFA2EEB}"/>
              </a:ext>
            </a:extLst>
          </p:cNvPr>
          <p:cNvSpPr txBox="1"/>
          <p:nvPr/>
        </p:nvSpPr>
        <p:spPr>
          <a:xfrm>
            <a:off x="3047134" y="117235"/>
            <a:ext cx="6094268" cy="36933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vi-VN" b="0" i="0">
                <a:solidFill>
                  <a:srgbClr val="575757"/>
                </a:solidFill>
                <a:effectLst/>
                <a:latin typeface="Times New Roman" panose="02020603050405020304" pitchFamily="18" charset="0"/>
              </a:rPr>
              <a:t> </a:t>
            </a:r>
            <a:endParaRPr lang="en-US">
              <a:solidFill>
                <a:srgbClr val="575757"/>
              </a:solidFill>
            </a:endParaRPr>
          </a:p>
        </p:txBody>
      </p:sp>
      <p:sp>
        <p:nvSpPr>
          <p:cNvPr id="8" name="Rectangle 7">
            <a:extLst>
              <a:ext uri="{FF2B5EF4-FFF2-40B4-BE49-F238E27FC236}">
                <a16:creationId xmlns:a16="http://schemas.microsoft.com/office/drawing/2014/main" id="{0B0B4A45-F973-6927-15A9-CBF61D9A1A13}"/>
              </a:ext>
            </a:extLst>
          </p:cNvPr>
          <p:cNvSpPr/>
          <p:nvPr/>
        </p:nvSpPr>
        <p:spPr>
          <a:xfrm flipV="1">
            <a:off x="0" y="0"/>
            <a:ext cx="12192000" cy="1287597"/>
          </a:xfrm>
          <a:prstGeom prst="rect">
            <a:avLst/>
          </a:prstGeom>
          <a:gradFill flip="none" rotWithShape="1">
            <a:gsLst>
              <a:gs pos="0">
                <a:srgbClr val="008C4F"/>
              </a:gs>
              <a:gs pos="100000">
                <a:srgbClr val="00693B"/>
              </a:gs>
            </a:gsLst>
            <a:lin ang="13500000" scaled="1"/>
            <a:tileRect/>
          </a:gradFill>
          <a:ln w="10795" cap="flat" cmpd="sng" algn="ctr">
            <a:noFill/>
            <a:prstDash val="solid"/>
          </a:ln>
          <a:effectLst/>
        </p:spPr>
        <p:txBody>
          <a:bodyPr lIns="91440" tIns="91440" rIns="91440" bIns="91440" rtlCol="0" anchor="ctr"/>
          <a:lstStyle/>
          <a:p>
            <a:pPr marL="0" marR="0" lvl="0" indent="0" algn="ctr" defTabSz="914400" eaLnBrk="1" fontAlgn="auto" latinLnBrk="0" hangingPunct="1">
              <a:lnSpc>
                <a:spcPct val="95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9" name="Title 1">
            <a:extLst>
              <a:ext uri="{FF2B5EF4-FFF2-40B4-BE49-F238E27FC236}">
                <a16:creationId xmlns:a16="http://schemas.microsoft.com/office/drawing/2014/main" id="{57C46344-C245-52B9-ABE1-B2C1CCA46D0B}"/>
              </a:ext>
            </a:extLst>
          </p:cNvPr>
          <p:cNvSpPr txBox="1">
            <a:spLocks/>
          </p:cNvSpPr>
          <p:nvPr/>
        </p:nvSpPr>
        <p:spPr>
          <a:xfrm>
            <a:off x="482082" y="332033"/>
            <a:ext cx="10933200" cy="701690"/>
          </a:xfrm>
          <a:prstGeom prst="rect">
            <a:avLst/>
          </a:prstGeom>
          <a:noFill/>
          <a:ln>
            <a:noFill/>
          </a:ln>
        </p:spPr>
        <p:txBody>
          <a:bodyPr spcFirstLastPara="1" vert="horz" wrap="square" lIns="91425" tIns="45700" rIns="91425" bIns="45700" anchor="ctr" anchorCtr="0">
            <a:spAutoFit/>
          </a:bodyPr>
          <a:lstStyle>
            <a:defPPr marR="0" lvl="0" algn="l" rtl="0">
              <a:lnSpc>
                <a:spcPct val="100000"/>
              </a:lnSpc>
              <a:spcBef>
                <a:spcPts val="0"/>
              </a:spcBef>
              <a:spcAft>
                <a:spcPts val="0"/>
              </a:spcAft>
            </a:defPPr>
            <a:lvl1pPr marR="0" lvl="0" algn="l" rtl="0">
              <a:lnSpc>
                <a:spcPct val="90000"/>
              </a:lnSpc>
              <a:spcBef>
                <a:spcPts val="0"/>
              </a:spcBef>
              <a:spcAft>
                <a:spcPts val="0"/>
              </a:spcAft>
              <a:buClr>
                <a:schemeClr val="dk1"/>
              </a:buClr>
              <a:buSzPts val="1800"/>
              <a:buFont typeface="Calibri"/>
              <a:buNone/>
              <a:defRPr sz="44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r>
              <a:rPr lang="en-US" dirty="0">
                <a:solidFill>
                  <a:srgbClr val="D4DF33"/>
                </a:solidFill>
                <a:latin typeface="Calibri" panose="020F0502020204030204" pitchFamily="34" charset="0"/>
              </a:rPr>
              <a:t>5 – Fourth step: </a:t>
            </a:r>
            <a:r>
              <a:rPr lang="en-US" dirty="0">
                <a:solidFill>
                  <a:srgbClr val="FFFFFF"/>
                </a:solidFill>
                <a:latin typeface="Calibri" panose="020F0502020204030204" pitchFamily="34" charset="0"/>
              </a:rPr>
              <a:t>Visualization – Customer</a:t>
            </a:r>
          </a:p>
        </p:txBody>
      </p:sp>
      <p:pic>
        <p:nvPicPr>
          <p:cNvPr id="3" name="Picture 2">
            <a:extLst>
              <a:ext uri="{FF2B5EF4-FFF2-40B4-BE49-F238E27FC236}">
                <a16:creationId xmlns:a16="http://schemas.microsoft.com/office/drawing/2014/main" id="{5D03A2AB-FB40-8ADE-CE7C-54BED9E431BC}"/>
              </a:ext>
            </a:extLst>
          </p:cNvPr>
          <p:cNvPicPr>
            <a:picLocks noChangeAspect="1"/>
          </p:cNvPicPr>
          <p:nvPr/>
        </p:nvPicPr>
        <p:blipFill>
          <a:blip r:embed="rId2"/>
          <a:stretch>
            <a:fillRect/>
          </a:stretch>
        </p:blipFill>
        <p:spPr>
          <a:xfrm>
            <a:off x="1453403" y="1365756"/>
            <a:ext cx="9285194" cy="5157791"/>
          </a:xfrm>
          <a:prstGeom prst="rect">
            <a:avLst/>
          </a:prstGeom>
        </p:spPr>
      </p:pic>
    </p:spTree>
    <p:extLst>
      <p:ext uri="{BB962C8B-B14F-4D97-AF65-F5344CB8AC3E}">
        <p14:creationId xmlns:p14="http://schemas.microsoft.com/office/powerpoint/2010/main" val="10206827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Rectangle 110">
            <a:extLst>
              <a:ext uri="{FF2B5EF4-FFF2-40B4-BE49-F238E27FC236}">
                <a16:creationId xmlns:a16="http://schemas.microsoft.com/office/drawing/2014/main" id="{9DC81535-13E6-8A77-254B-A082FDD35E42}"/>
              </a:ext>
            </a:extLst>
          </p:cNvPr>
          <p:cNvSpPr/>
          <p:nvPr/>
        </p:nvSpPr>
        <p:spPr>
          <a:xfrm>
            <a:off x="0" y="1450803"/>
            <a:ext cx="11074400" cy="4408459"/>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 name="connsiteX4" fmla="*/ 0 w 12192000"/>
              <a:gd name="connsiteY4" fmla="*/ 0 h 6858000"/>
              <a:gd name="connsiteX0" fmla="*/ 0 w 12192000"/>
              <a:gd name="connsiteY0" fmla="*/ 0 h 6858000"/>
              <a:gd name="connsiteX1" fmla="*/ 12192000 w 12192000"/>
              <a:gd name="connsiteY1" fmla="*/ 6858000 h 6858000"/>
              <a:gd name="connsiteX2" fmla="*/ 0 w 12192000"/>
              <a:gd name="connsiteY2" fmla="*/ 6858000 h 6858000"/>
              <a:gd name="connsiteX3" fmla="*/ 0 w 12192000"/>
              <a:gd name="connsiteY3" fmla="*/ 0 h 6858000"/>
            </a:gdLst>
            <a:ahLst/>
            <a:cxnLst>
              <a:cxn ang="0">
                <a:pos x="connsiteX0" y="connsiteY0"/>
              </a:cxn>
              <a:cxn ang="0">
                <a:pos x="connsiteX1" y="connsiteY1"/>
              </a:cxn>
              <a:cxn ang="0">
                <a:pos x="connsiteX2" y="connsiteY2"/>
              </a:cxn>
              <a:cxn ang="0">
                <a:pos x="connsiteX3" y="connsiteY3"/>
              </a:cxn>
            </a:cxnLst>
            <a:rect l="l" t="t" r="r" b="b"/>
            <a:pathLst>
              <a:path w="12192000" h="6858000">
                <a:moveTo>
                  <a:pt x="0" y="0"/>
                </a:moveTo>
                <a:lnTo>
                  <a:pt x="12192000" y="6858000"/>
                </a:lnTo>
                <a:lnTo>
                  <a:pt x="0" y="6858000"/>
                </a:lnTo>
                <a:lnTo>
                  <a:pt x="0" y="0"/>
                </a:lnTo>
                <a:close/>
              </a:path>
            </a:pathLst>
          </a:custGeom>
          <a:solidFill>
            <a:schemeClr val="tx2"/>
          </a:solidFill>
          <a:ln w="9525" cap="rnd" cmpd="sng" algn="ctr">
            <a:solidFill>
              <a:schemeClr val="tx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51" name="Rectangle: Rounded Corners 89">
            <a:extLst>
              <a:ext uri="{FF2B5EF4-FFF2-40B4-BE49-F238E27FC236}">
                <a16:creationId xmlns:a16="http://schemas.microsoft.com/office/drawing/2014/main" id="{46D24184-AF1B-AE57-7858-1D87DB78CAE5}"/>
              </a:ext>
            </a:extLst>
          </p:cNvPr>
          <p:cNvSpPr/>
          <p:nvPr/>
        </p:nvSpPr>
        <p:spPr>
          <a:xfrm>
            <a:off x="499158" y="1630945"/>
            <a:ext cx="11068002" cy="4126732"/>
          </a:xfrm>
          <a:prstGeom prst="roundRect">
            <a:avLst>
              <a:gd name="adj" fmla="val 2439"/>
            </a:avLst>
          </a:prstGeom>
          <a:solidFill>
            <a:schemeClr val="bg1"/>
          </a:solidFill>
          <a:ln w="9525" cap="rnd" cmpd="sng" algn="ctr">
            <a:solidFill>
              <a:schemeClr val="tx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64" name="Round Same Side Corner Rectangle 59">
            <a:extLst>
              <a:ext uri="{FF2B5EF4-FFF2-40B4-BE49-F238E27FC236}">
                <a16:creationId xmlns:a16="http://schemas.microsoft.com/office/drawing/2014/main" id="{88B07C18-477C-56EA-29D7-C89B83D313D3}"/>
              </a:ext>
            </a:extLst>
          </p:cNvPr>
          <p:cNvSpPr/>
          <p:nvPr/>
        </p:nvSpPr>
        <p:spPr>
          <a:xfrm>
            <a:off x="768363" y="1630945"/>
            <a:ext cx="10646919" cy="275207"/>
          </a:xfrm>
          <a:prstGeom prst="round2SameRect">
            <a:avLst/>
          </a:prstGeom>
          <a:solidFill>
            <a:srgbClr val="008C4F"/>
          </a:solidFill>
          <a:ln w="9525" cap="rnd" cmpd="sng" algn="ctr">
            <a:solidFill>
              <a:srgbClr val="008C4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dirty="0">
                <a:solidFill>
                  <a:srgbClr val="FFFFFF"/>
                </a:solidFill>
              </a:rPr>
              <a:t>Summarize Key Insights</a:t>
            </a:r>
          </a:p>
        </p:txBody>
      </p:sp>
      <p:sp>
        <p:nvSpPr>
          <p:cNvPr id="65" name="Text Placeholder 2">
            <a:extLst>
              <a:ext uri="{FF2B5EF4-FFF2-40B4-BE49-F238E27FC236}">
                <a16:creationId xmlns:a16="http://schemas.microsoft.com/office/drawing/2014/main" id="{210059D3-21E3-8641-0AD5-DD03DFDEE2DD}"/>
              </a:ext>
            </a:extLst>
          </p:cNvPr>
          <p:cNvSpPr txBox="1">
            <a:spLocks/>
          </p:cNvSpPr>
          <p:nvPr/>
        </p:nvSpPr>
        <p:spPr>
          <a:xfrm>
            <a:off x="1073818" y="2157467"/>
            <a:ext cx="10109367" cy="3463403"/>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320040" indent="-219456" algn="l" defTabSz="914400" rtl="0" eaLnBrk="1" latinLnBrk="0" hangingPunct="1">
              <a:lnSpc>
                <a:spcPct val="100000"/>
              </a:lnSpc>
              <a:spcBef>
                <a:spcPts val="0"/>
              </a:spcBef>
              <a:spcAft>
                <a:spcPts val="0"/>
              </a:spcAft>
              <a:buClr>
                <a:schemeClr val="tx2"/>
              </a:buClr>
              <a:buFont typeface="Wingdings 3" panose="05040102010807070707" pitchFamily="18" charset="2"/>
              <a:buChar char="u"/>
              <a:defRPr lang="en-US" sz="1200" kern="1200">
                <a:solidFill>
                  <a:schemeClr val="tx1"/>
                </a:solidFill>
                <a:latin typeface="+mn-lt"/>
                <a:ea typeface="+mn-ea"/>
                <a:cs typeface="+mn-cs"/>
                <a:sym typeface="Trebuchet MS" panose="020B0603020202020204" pitchFamily="34" charset="0"/>
              </a:defRPr>
            </a:lvl2pPr>
            <a:lvl3pPr marL="649224" indent="-219456" algn="l" defTabSz="914400" rtl="0" eaLnBrk="1" latinLnBrk="0" hangingPunct="1">
              <a:lnSpc>
                <a:spcPct val="100000"/>
              </a:lnSpc>
              <a:spcBef>
                <a:spcPts val="0"/>
              </a:spcBef>
              <a:spcAft>
                <a:spcPts val="0"/>
              </a:spcAft>
              <a:buClr>
                <a:schemeClr val="tx2"/>
              </a:buClr>
              <a:buFont typeface="Wingdings 3" panose="05040102010807070707" pitchFamily="18" charset="2"/>
              <a:buChar char="u"/>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320040" indent="-219456" algn="l" defTabSz="914400" rtl="0" eaLnBrk="1" latinLnBrk="0" hangingPunct="1">
              <a:lnSpc>
                <a:spcPct val="90000"/>
              </a:lnSpc>
              <a:spcBef>
                <a:spcPts val="0"/>
              </a:spcBef>
              <a:spcAft>
                <a:spcPts val="600"/>
              </a:spcAft>
              <a:buClr>
                <a:schemeClr val="tx2"/>
              </a:buClr>
              <a:buFont typeface="Wingdings 3" panose="05040102010807070707" pitchFamily="18" charset="2"/>
              <a:buChar char="u"/>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buFont typeface="Trebuchet MS" panose="020B0603020202020204" pitchFamily="34" charset="0"/>
            </a:pPr>
            <a:r>
              <a:rPr lang="en-US" sz="1700" b="1" dirty="0">
                <a:solidFill>
                  <a:srgbClr val="000000"/>
                </a:solidFill>
              </a:rPr>
              <a:t>Business Performance:</a:t>
            </a:r>
          </a:p>
          <a:p>
            <a:pPr marL="342900" indent="-342900">
              <a:buFont typeface="+mj-lt"/>
              <a:buAutoNum type="arabicPeriod"/>
            </a:pPr>
            <a:r>
              <a:rPr lang="en-US" sz="1700" dirty="0">
                <a:solidFill>
                  <a:srgbClr val="000000"/>
                </a:solidFill>
              </a:rPr>
              <a:t>Comparing to previous year, Sales is almost doubled in every month (not counting from September onwards)</a:t>
            </a:r>
          </a:p>
          <a:p>
            <a:pPr marL="342900" indent="-342900">
              <a:buFont typeface="+mj-lt"/>
              <a:buAutoNum type="arabicPeriod"/>
            </a:pPr>
            <a:r>
              <a:rPr lang="en-US" sz="1700" dirty="0">
                <a:solidFill>
                  <a:srgbClr val="000000"/>
                </a:solidFill>
              </a:rPr>
              <a:t>From March to May, business reached its peak performance while having highest sales revenue comparing to other months</a:t>
            </a:r>
          </a:p>
          <a:p>
            <a:pPr marL="342900" indent="-342900">
              <a:buFont typeface="+mj-lt"/>
              <a:buAutoNum type="arabicPeriod"/>
            </a:pPr>
            <a:r>
              <a:rPr lang="en-US" sz="1700" dirty="0">
                <a:solidFill>
                  <a:srgbClr val="000000"/>
                </a:solidFill>
              </a:rPr>
              <a:t>Sao Paulo remains as a city having the highest sales revenue and total number of orders</a:t>
            </a:r>
          </a:p>
          <a:p>
            <a:pPr marL="342900" indent="-342900">
              <a:buFont typeface="+mj-lt"/>
              <a:buAutoNum type="arabicPeriod"/>
            </a:pPr>
            <a:r>
              <a:rPr lang="en-US" sz="1700" dirty="0">
                <a:solidFill>
                  <a:srgbClr val="000000"/>
                </a:solidFill>
              </a:rPr>
              <a:t>Health &amp; Beauty product is the most popular product while having highest sales revenue among other products. Also, it can be noticed that </a:t>
            </a:r>
            <a:r>
              <a:rPr lang="en-US" sz="1700" dirty="0" err="1">
                <a:solidFill>
                  <a:srgbClr val="000000"/>
                </a:solidFill>
              </a:rPr>
              <a:t>watches&amp;gifts</a:t>
            </a:r>
            <a:r>
              <a:rPr lang="en-US" sz="1700" dirty="0">
                <a:solidFill>
                  <a:srgbClr val="000000"/>
                </a:solidFill>
              </a:rPr>
              <a:t> products having the second highest sales whilst having significantly lower number of sold items comparing to </a:t>
            </a:r>
            <a:r>
              <a:rPr lang="en-US" sz="1700" dirty="0" err="1">
                <a:solidFill>
                  <a:srgbClr val="000000"/>
                </a:solidFill>
              </a:rPr>
              <a:t>Health&amp;Beauty</a:t>
            </a:r>
            <a:r>
              <a:rPr lang="en-US" sz="1700" dirty="0">
                <a:solidFill>
                  <a:srgbClr val="000000"/>
                </a:solidFill>
              </a:rPr>
              <a:t> items sold </a:t>
            </a:r>
          </a:p>
          <a:p>
            <a:pPr marL="342900" indent="-342900">
              <a:buFont typeface="+mj-lt"/>
              <a:buAutoNum type="arabicPeriod"/>
            </a:pPr>
            <a:r>
              <a:rPr lang="en-US" sz="1700" dirty="0">
                <a:solidFill>
                  <a:srgbClr val="000000"/>
                </a:solidFill>
              </a:rPr>
              <a:t>In terms of Orders, regarding orders categorized by reviews. Among orders categorized by review score, It can be pointed out that orders having 1 review score having highest average total price while having highest amount of time to process an order</a:t>
            </a:r>
          </a:p>
          <a:p>
            <a:pPr marL="342900" indent="-342900">
              <a:buFont typeface="+mj-lt"/>
              <a:buAutoNum type="arabicPeriod"/>
            </a:pPr>
            <a:r>
              <a:rPr lang="en-US" sz="1700" dirty="0">
                <a:solidFill>
                  <a:srgbClr val="000000"/>
                </a:solidFill>
              </a:rPr>
              <a:t>Last but not least, most of the orders are paid using Credit card, while cash come as the second most popular payment method</a:t>
            </a:r>
          </a:p>
          <a:p>
            <a:pPr>
              <a:buNone/>
            </a:pPr>
            <a:endParaRPr lang="en-US" sz="1800" dirty="0">
              <a:solidFill>
                <a:srgbClr val="000000"/>
              </a:solidFill>
            </a:endParaRPr>
          </a:p>
          <a:p>
            <a:pPr>
              <a:buFont typeface="Trebuchet MS" panose="020B0603020202020204" pitchFamily="34" charset="0"/>
            </a:pPr>
            <a:r>
              <a:rPr lang="en-US" sz="1600" b="1" dirty="0">
                <a:solidFill>
                  <a:srgbClr val="000000"/>
                </a:solidFill>
              </a:rPr>
              <a:t> </a:t>
            </a:r>
          </a:p>
        </p:txBody>
      </p:sp>
      <p:grpSp>
        <p:nvGrpSpPr>
          <p:cNvPr id="82" name="Group 81">
            <a:extLst>
              <a:ext uri="{FF2B5EF4-FFF2-40B4-BE49-F238E27FC236}">
                <a16:creationId xmlns:a16="http://schemas.microsoft.com/office/drawing/2014/main" id="{40A2D015-7161-6983-EE04-732FFABF8862}"/>
              </a:ext>
            </a:extLst>
          </p:cNvPr>
          <p:cNvGrpSpPr/>
          <p:nvPr/>
        </p:nvGrpSpPr>
        <p:grpSpPr>
          <a:xfrm>
            <a:off x="686987" y="2142199"/>
            <a:ext cx="309284" cy="301692"/>
            <a:chOff x="5940597" y="4257537"/>
            <a:chExt cx="309284" cy="301692"/>
          </a:xfrm>
        </p:grpSpPr>
        <p:sp>
          <p:nvSpPr>
            <p:cNvPr id="83" name="Freeform 18">
              <a:extLst>
                <a:ext uri="{FF2B5EF4-FFF2-40B4-BE49-F238E27FC236}">
                  <a16:creationId xmlns:a16="http://schemas.microsoft.com/office/drawing/2014/main" id="{36436AD4-6F38-D56D-B22D-97800639B3E0}"/>
                </a:ext>
              </a:extLst>
            </p:cNvPr>
            <p:cNvSpPr/>
            <p:nvPr/>
          </p:nvSpPr>
          <p:spPr>
            <a:xfrm>
              <a:off x="5940597" y="4257537"/>
              <a:ext cx="309284" cy="234596"/>
            </a:xfrm>
            <a:custGeom>
              <a:avLst/>
              <a:gdLst>
                <a:gd name="connsiteX0" fmla="*/ 0 w 596507"/>
                <a:gd name="connsiteY0" fmla="*/ 0 h 426732"/>
                <a:gd name="connsiteX1" fmla="*/ 383141 w 596507"/>
                <a:gd name="connsiteY1" fmla="*/ 0 h 426732"/>
                <a:gd name="connsiteX2" fmla="*/ 596507 w 596507"/>
                <a:gd name="connsiteY2" fmla="*/ 213366 h 426732"/>
                <a:gd name="connsiteX3" fmla="*/ 383141 w 596507"/>
                <a:gd name="connsiteY3" fmla="*/ 426732 h 426732"/>
                <a:gd name="connsiteX4" fmla="*/ 0 w 596507"/>
                <a:gd name="connsiteY4" fmla="*/ 426732 h 4267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6507" h="426732">
                  <a:moveTo>
                    <a:pt x="0" y="0"/>
                  </a:moveTo>
                  <a:lnTo>
                    <a:pt x="383141" y="0"/>
                  </a:lnTo>
                  <a:cubicBezTo>
                    <a:pt x="500980" y="0"/>
                    <a:pt x="596507" y="95527"/>
                    <a:pt x="596507" y="213366"/>
                  </a:cubicBezTo>
                  <a:cubicBezTo>
                    <a:pt x="596507" y="331205"/>
                    <a:pt x="500980" y="426732"/>
                    <a:pt x="383141" y="426732"/>
                  </a:cubicBezTo>
                  <a:lnTo>
                    <a:pt x="0" y="426732"/>
                  </a:lnTo>
                  <a:close/>
                </a:path>
              </a:pathLst>
            </a:custGeom>
            <a:solidFill>
              <a:srgbClr val="008C4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84" name="Isosceles Triangle 83">
              <a:extLst>
                <a:ext uri="{FF2B5EF4-FFF2-40B4-BE49-F238E27FC236}">
                  <a16:creationId xmlns:a16="http://schemas.microsoft.com/office/drawing/2014/main" id="{FF423926-B625-3E8D-BB6E-F7771897DA2D}"/>
                </a:ext>
              </a:extLst>
            </p:cNvPr>
            <p:cNvSpPr/>
            <p:nvPr/>
          </p:nvSpPr>
          <p:spPr>
            <a:xfrm rot="10800000" flipH="1">
              <a:off x="5940597" y="4492133"/>
              <a:ext cx="81377" cy="67096"/>
            </a:xfrm>
            <a:prstGeom prst="triangle">
              <a:avLst>
                <a:gd name="adj" fmla="val 98728"/>
              </a:avLst>
            </a:prstGeom>
            <a:solidFill>
              <a:schemeClr val="tx2">
                <a:lumMod val="50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85" name="Oval 20">
              <a:extLst>
                <a:ext uri="{FF2B5EF4-FFF2-40B4-BE49-F238E27FC236}">
                  <a16:creationId xmlns:a16="http://schemas.microsoft.com/office/drawing/2014/main" id="{F8D1CB14-D772-A1FA-D78F-9C5E17AB5FBE}"/>
                </a:ext>
              </a:extLst>
            </p:cNvPr>
            <p:cNvSpPr>
              <a:spLocks noChangeAspect="1" noChangeArrowheads="1"/>
            </p:cNvSpPr>
            <p:nvPr/>
          </p:nvSpPr>
          <p:spPr bwMode="auto">
            <a:xfrm>
              <a:off x="6049383" y="4299182"/>
              <a:ext cx="151306" cy="151306"/>
            </a:xfrm>
            <a:prstGeom prst="ellipse">
              <a:avLst/>
            </a:prstGeom>
            <a:solidFill>
              <a:srgbClr val="008C4F"/>
            </a:solidFill>
            <a:ln>
              <a:noFill/>
            </a:ln>
            <a:effectLst>
              <a:outerShdw blurRad="50800" dist="38100" algn="l" rotWithShape="0">
                <a:prstClr val="black">
                  <a:alpha val="40000"/>
                </a:prstClr>
              </a:outerShdw>
            </a:effectLst>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ea typeface="+mn-ea"/>
                <a:cs typeface="+mn-cs"/>
              </a:endParaRPr>
            </a:p>
          </p:txBody>
        </p:sp>
      </p:grpSp>
      <p:sp>
        <p:nvSpPr>
          <p:cNvPr id="94" name="TextBox 93">
            <a:extLst>
              <a:ext uri="{FF2B5EF4-FFF2-40B4-BE49-F238E27FC236}">
                <a16:creationId xmlns:a16="http://schemas.microsoft.com/office/drawing/2014/main" id="{5D937AD9-9705-C415-9EB3-C3C76B98EB4E}"/>
              </a:ext>
            </a:extLst>
          </p:cNvPr>
          <p:cNvSpPr txBox="1"/>
          <p:nvPr/>
        </p:nvSpPr>
        <p:spPr>
          <a:xfrm>
            <a:off x="630003" y="1540241"/>
            <a:ext cx="4538769" cy="246221"/>
          </a:xfrm>
          <a:prstGeom prst="rect">
            <a:avLst/>
          </a:prstGeom>
          <a:noFill/>
          <a:ln w="9525" cap="rnd">
            <a:noFill/>
            <a:prstDash val="solid"/>
            <a:round/>
          </a:ln>
          <a:extLst>
            <a:ext uri="{909E8E84-426E-40DD-AFC4-6F175D3DCCD1}">
              <a14:hiddenFill xmlns:a14="http://schemas.microsoft.com/office/drawing/2010/main">
                <a:solidFill>
                  <a:srgbClr val="EBC5D0"/>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endParaRPr lang="en-US" sz="1600">
              <a:solidFill>
                <a:srgbClr val="29BA74"/>
              </a:solidFill>
            </a:endParaRPr>
          </a:p>
        </p:txBody>
      </p:sp>
      <p:sp>
        <p:nvSpPr>
          <p:cNvPr id="101" name="Rectangle 100">
            <a:extLst>
              <a:ext uri="{FF2B5EF4-FFF2-40B4-BE49-F238E27FC236}">
                <a16:creationId xmlns:a16="http://schemas.microsoft.com/office/drawing/2014/main" id="{1F93C061-FE62-3EB0-E1A0-22F6C8584760}"/>
              </a:ext>
            </a:extLst>
          </p:cNvPr>
          <p:cNvSpPr/>
          <p:nvPr/>
        </p:nvSpPr>
        <p:spPr>
          <a:xfrm flipV="1">
            <a:off x="0" y="0"/>
            <a:ext cx="12192000" cy="1287597"/>
          </a:xfrm>
          <a:prstGeom prst="rect">
            <a:avLst/>
          </a:prstGeom>
          <a:gradFill flip="none" rotWithShape="1">
            <a:gsLst>
              <a:gs pos="0">
                <a:srgbClr val="008C4F"/>
              </a:gs>
              <a:gs pos="100000">
                <a:srgbClr val="00693B"/>
              </a:gs>
            </a:gsLst>
            <a:lin ang="13500000" scaled="1"/>
            <a:tileRect/>
          </a:gradFill>
          <a:ln w="10795" cap="flat" cmpd="sng" algn="ctr">
            <a:noFill/>
            <a:prstDash val="solid"/>
          </a:ln>
          <a:effectLst/>
        </p:spPr>
        <p:txBody>
          <a:bodyPr lIns="91440" tIns="91440" rIns="91440" bIns="91440" rtlCol="0" anchor="ctr"/>
          <a:lstStyle/>
          <a:p>
            <a:pPr marL="0" marR="0" lvl="0" indent="0" algn="ctr" defTabSz="914400" eaLnBrk="1" fontAlgn="auto" latinLnBrk="0" hangingPunct="1">
              <a:lnSpc>
                <a:spcPct val="95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02" name="Title 1">
            <a:extLst>
              <a:ext uri="{FF2B5EF4-FFF2-40B4-BE49-F238E27FC236}">
                <a16:creationId xmlns:a16="http://schemas.microsoft.com/office/drawing/2014/main" id="{82EF3842-0F94-9F3A-FBEC-D31B95E411B2}"/>
              </a:ext>
            </a:extLst>
          </p:cNvPr>
          <p:cNvSpPr txBox="1">
            <a:spLocks/>
          </p:cNvSpPr>
          <p:nvPr/>
        </p:nvSpPr>
        <p:spPr>
          <a:xfrm>
            <a:off x="482082" y="332033"/>
            <a:ext cx="10933200" cy="701690"/>
          </a:xfrm>
          <a:prstGeom prst="rect">
            <a:avLst/>
          </a:prstGeom>
          <a:noFill/>
          <a:ln>
            <a:noFill/>
          </a:ln>
        </p:spPr>
        <p:txBody>
          <a:bodyPr spcFirstLastPara="1" vert="horz" wrap="square" lIns="91425" tIns="45700" rIns="91425" bIns="45700" anchor="ctr" anchorCtr="0">
            <a:spAutoFit/>
          </a:bodyPr>
          <a:lstStyle>
            <a:defPPr marR="0" lvl="0" algn="l" rtl="0">
              <a:lnSpc>
                <a:spcPct val="100000"/>
              </a:lnSpc>
              <a:spcBef>
                <a:spcPts val="0"/>
              </a:spcBef>
              <a:spcAft>
                <a:spcPts val="0"/>
              </a:spcAft>
            </a:defPPr>
            <a:lvl1pPr marR="0" lvl="0" algn="l" rtl="0">
              <a:lnSpc>
                <a:spcPct val="90000"/>
              </a:lnSpc>
              <a:spcBef>
                <a:spcPts val="0"/>
              </a:spcBef>
              <a:spcAft>
                <a:spcPts val="0"/>
              </a:spcAft>
              <a:buClr>
                <a:schemeClr val="dk1"/>
              </a:buClr>
              <a:buSzPts val="1800"/>
              <a:buFont typeface="Calibri"/>
              <a:buNone/>
              <a:defRPr sz="44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r>
              <a:rPr lang="en-US" dirty="0">
                <a:solidFill>
                  <a:srgbClr val="D4DF33"/>
                </a:solidFill>
                <a:latin typeface="Calibri" panose="020F0502020204030204" pitchFamily="34" charset="0"/>
              </a:rPr>
              <a:t>6 – Fifth step: </a:t>
            </a:r>
            <a:r>
              <a:rPr lang="en-US" dirty="0">
                <a:solidFill>
                  <a:srgbClr val="FFFFFF"/>
                </a:solidFill>
                <a:latin typeface="Calibri" panose="020F0502020204030204" pitchFamily="34" charset="0"/>
              </a:rPr>
              <a:t>Share</a:t>
            </a:r>
          </a:p>
        </p:txBody>
      </p:sp>
    </p:spTree>
    <p:extLst>
      <p:ext uri="{BB962C8B-B14F-4D97-AF65-F5344CB8AC3E}">
        <p14:creationId xmlns:p14="http://schemas.microsoft.com/office/powerpoint/2010/main" val="16882627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Rectangle 110">
            <a:extLst>
              <a:ext uri="{FF2B5EF4-FFF2-40B4-BE49-F238E27FC236}">
                <a16:creationId xmlns:a16="http://schemas.microsoft.com/office/drawing/2014/main" id="{9DC81535-13E6-8A77-254B-A082FDD35E42}"/>
              </a:ext>
            </a:extLst>
          </p:cNvPr>
          <p:cNvSpPr/>
          <p:nvPr/>
        </p:nvSpPr>
        <p:spPr>
          <a:xfrm>
            <a:off x="0" y="1450803"/>
            <a:ext cx="11074400" cy="4408459"/>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 name="connsiteX4" fmla="*/ 0 w 12192000"/>
              <a:gd name="connsiteY4" fmla="*/ 0 h 6858000"/>
              <a:gd name="connsiteX0" fmla="*/ 0 w 12192000"/>
              <a:gd name="connsiteY0" fmla="*/ 0 h 6858000"/>
              <a:gd name="connsiteX1" fmla="*/ 12192000 w 12192000"/>
              <a:gd name="connsiteY1" fmla="*/ 6858000 h 6858000"/>
              <a:gd name="connsiteX2" fmla="*/ 0 w 12192000"/>
              <a:gd name="connsiteY2" fmla="*/ 6858000 h 6858000"/>
              <a:gd name="connsiteX3" fmla="*/ 0 w 12192000"/>
              <a:gd name="connsiteY3" fmla="*/ 0 h 6858000"/>
            </a:gdLst>
            <a:ahLst/>
            <a:cxnLst>
              <a:cxn ang="0">
                <a:pos x="connsiteX0" y="connsiteY0"/>
              </a:cxn>
              <a:cxn ang="0">
                <a:pos x="connsiteX1" y="connsiteY1"/>
              </a:cxn>
              <a:cxn ang="0">
                <a:pos x="connsiteX2" y="connsiteY2"/>
              </a:cxn>
              <a:cxn ang="0">
                <a:pos x="connsiteX3" y="connsiteY3"/>
              </a:cxn>
            </a:cxnLst>
            <a:rect l="l" t="t" r="r" b="b"/>
            <a:pathLst>
              <a:path w="12192000" h="6858000">
                <a:moveTo>
                  <a:pt x="0" y="0"/>
                </a:moveTo>
                <a:lnTo>
                  <a:pt x="12192000" y="6858000"/>
                </a:lnTo>
                <a:lnTo>
                  <a:pt x="0" y="6858000"/>
                </a:lnTo>
                <a:lnTo>
                  <a:pt x="0" y="0"/>
                </a:lnTo>
                <a:close/>
              </a:path>
            </a:pathLst>
          </a:custGeom>
          <a:solidFill>
            <a:schemeClr val="tx2"/>
          </a:solidFill>
          <a:ln w="9525" cap="rnd" cmpd="sng" algn="ctr">
            <a:solidFill>
              <a:schemeClr val="tx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51" name="Rectangle: Rounded Corners 89">
            <a:extLst>
              <a:ext uri="{FF2B5EF4-FFF2-40B4-BE49-F238E27FC236}">
                <a16:creationId xmlns:a16="http://schemas.microsoft.com/office/drawing/2014/main" id="{46D24184-AF1B-AE57-7858-1D87DB78CAE5}"/>
              </a:ext>
            </a:extLst>
          </p:cNvPr>
          <p:cNvSpPr/>
          <p:nvPr/>
        </p:nvSpPr>
        <p:spPr>
          <a:xfrm>
            <a:off x="499158" y="1630945"/>
            <a:ext cx="11068002" cy="4126732"/>
          </a:xfrm>
          <a:prstGeom prst="roundRect">
            <a:avLst>
              <a:gd name="adj" fmla="val 2439"/>
            </a:avLst>
          </a:prstGeom>
          <a:solidFill>
            <a:schemeClr val="bg1"/>
          </a:solidFill>
          <a:ln w="9525" cap="rnd" cmpd="sng" algn="ctr">
            <a:solidFill>
              <a:schemeClr val="tx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64" name="Round Same Side Corner Rectangle 59">
            <a:extLst>
              <a:ext uri="{FF2B5EF4-FFF2-40B4-BE49-F238E27FC236}">
                <a16:creationId xmlns:a16="http://schemas.microsoft.com/office/drawing/2014/main" id="{88B07C18-477C-56EA-29D7-C89B83D313D3}"/>
              </a:ext>
            </a:extLst>
          </p:cNvPr>
          <p:cNvSpPr/>
          <p:nvPr/>
        </p:nvSpPr>
        <p:spPr>
          <a:xfrm>
            <a:off x="768363" y="1630945"/>
            <a:ext cx="10646919" cy="275207"/>
          </a:xfrm>
          <a:prstGeom prst="round2SameRect">
            <a:avLst/>
          </a:prstGeom>
          <a:solidFill>
            <a:srgbClr val="008C4F"/>
          </a:solidFill>
          <a:ln w="9525" cap="rnd" cmpd="sng" algn="ctr">
            <a:solidFill>
              <a:srgbClr val="008C4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dirty="0">
                <a:solidFill>
                  <a:srgbClr val="FFFFFF"/>
                </a:solidFill>
              </a:rPr>
              <a:t>Summarize Key Insights</a:t>
            </a:r>
          </a:p>
        </p:txBody>
      </p:sp>
      <p:sp>
        <p:nvSpPr>
          <p:cNvPr id="65" name="Text Placeholder 2">
            <a:extLst>
              <a:ext uri="{FF2B5EF4-FFF2-40B4-BE49-F238E27FC236}">
                <a16:creationId xmlns:a16="http://schemas.microsoft.com/office/drawing/2014/main" id="{210059D3-21E3-8641-0AD5-DD03DFDEE2DD}"/>
              </a:ext>
            </a:extLst>
          </p:cNvPr>
          <p:cNvSpPr txBox="1">
            <a:spLocks/>
          </p:cNvSpPr>
          <p:nvPr/>
        </p:nvSpPr>
        <p:spPr>
          <a:xfrm>
            <a:off x="1073818" y="2157467"/>
            <a:ext cx="10109367" cy="3463403"/>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320040" indent="-219456" algn="l" defTabSz="914400" rtl="0" eaLnBrk="1" latinLnBrk="0" hangingPunct="1">
              <a:lnSpc>
                <a:spcPct val="100000"/>
              </a:lnSpc>
              <a:spcBef>
                <a:spcPts val="0"/>
              </a:spcBef>
              <a:spcAft>
                <a:spcPts val="0"/>
              </a:spcAft>
              <a:buClr>
                <a:schemeClr val="tx2"/>
              </a:buClr>
              <a:buFont typeface="Wingdings 3" panose="05040102010807070707" pitchFamily="18" charset="2"/>
              <a:buChar char="u"/>
              <a:defRPr lang="en-US" sz="1200" kern="1200">
                <a:solidFill>
                  <a:schemeClr val="tx1"/>
                </a:solidFill>
                <a:latin typeface="+mn-lt"/>
                <a:ea typeface="+mn-ea"/>
                <a:cs typeface="+mn-cs"/>
                <a:sym typeface="Trebuchet MS" panose="020B0603020202020204" pitchFamily="34" charset="0"/>
              </a:defRPr>
            </a:lvl2pPr>
            <a:lvl3pPr marL="649224" indent="-219456" algn="l" defTabSz="914400" rtl="0" eaLnBrk="1" latinLnBrk="0" hangingPunct="1">
              <a:lnSpc>
                <a:spcPct val="100000"/>
              </a:lnSpc>
              <a:spcBef>
                <a:spcPts val="0"/>
              </a:spcBef>
              <a:spcAft>
                <a:spcPts val="0"/>
              </a:spcAft>
              <a:buClr>
                <a:schemeClr val="tx2"/>
              </a:buClr>
              <a:buFont typeface="Wingdings 3" panose="05040102010807070707" pitchFamily="18" charset="2"/>
              <a:buChar char="u"/>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320040" indent="-219456" algn="l" defTabSz="914400" rtl="0" eaLnBrk="1" latinLnBrk="0" hangingPunct="1">
              <a:lnSpc>
                <a:spcPct val="90000"/>
              </a:lnSpc>
              <a:spcBef>
                <a:spcPts val="0"/>
              </a:spcBef>
              <a:spcAft>
                <a:spcPts val="600"/>
              </a:spcAft>
              <a:buClr>
                <a:schemeClr val="tx2"/>
              </a:buClr>
              <a:buFont typeface="Wingdings 3" panose="05040102010807070707" pitchFamily="18" charset="2"/>
              <a:buChar char="u"/>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buFont typeface="Trebuchet MS" panose="020B0603020202020204" pitchFamily="34" charset="0"/>
            </a:pPr>
            <a:r>
              <a:rPr lang="en-US" sz="1700" b="1" dirty="0">
                <a:solidFill>
                  <a:srgbClr val="000000"/>
                </a:solidFill>
              </a:rPr>
              <a:t>Customer Satisfaction:</a:t>
            </a:r>
          </a:p>
          <a:p>
            <a:pPr marL="342900" indent="-342900">
              <a:buFont typeface="+mj-lt"/>
              <a:buAutoNum type="arabicPeriod"/>
            </a:pPr>
            <a:r>
              <a:rPr lang="en-US" sz="1700" dirty="0">
                <a:solidFill>
                  <a:srgbClr val="000000"/>
                </a:solidFill>
              </a:rPr>
              <a:t>Over the years, total number of new customers keep growing while regular customer remains the same. Which also can be referred that customer tend to order only 1 time</a:t>
            </a:r>
          </a:p>
          <a:p>
            <a:pPr marL="342900" indent="-342900">
              <a:buFont typeface="+mj-lt"/>
              <a:buAutoNum type="arabicPeriod"/>
            </a:pPr>
            <a:r>
              <a:rPr lang="en-US" sz="1700" dirty="0">
                <a:solidFill>
                  <a:srgbClr val="000000"/>
                </a:solidFill>
              </a:rPr>
              <a:t>In terms of the review score, more than 50% of the orders were rated 5</a:t>
            </a:r>
          </a:p>
          <a:p>
            <a:pPr marL="342900" indent="-342900">
              <a:buFont typeface="+mj-lt"/>
              <a:buAutoNum type="arabicPeriod"/>
            </a:pPr>
            <a:r>
              <a:rPr lang="en-US" sz="1700" dirty="0">
                <a:solidFill>
                  <a:srgbClr val="000000"/>
                </a:solidFill>
              </a:rPr>
              <a:t>Furthermore, it can be positively pointed out that review scores over months are stable since most of them ranged from 3.5 to 4.5</a:t>
            </a:r>
          </a:p>
          <a:p>
            <a:pPr marL="342900" indent="-342900">
              <a:buFont typeface="+mj-lt"/>
              <a:buAutoNum type="arabicPeriod"/>
            </a:pPr>
            <a:endParaRPr lang="en-US" sz="1700" dirty="0">
              <a:solidFill>
                <a:srgbClr val="000000"/>
              </a:solidFill>
            </a:endParaRPr>
          </a:p>
          <a:p>
            <a:pPr>
              <a:buNone/>
            </a:pPr>
            <a:endParaRPr lang="en-US" sz="1800" dirty="0">
              <a:solidFill>
                <a:srgbClr val="000000"/>
              </a:solidFill>
            </a:endParaRPr>
          </a:p>
          <a:p>
            <a:pPr>
              <a:buFont typeface="Trebuchet MS" panose="020B0603020202020204" pitchFamily="34" charset="0"/>
            </a:pPr>
            <a:r>
              <a:rPr lang="en-US" sz="1600" b="1" dirty="0">
                <a:solidFill>
                  <a:srgbClr val="000000"/>
                </a:solidFill>
              </a:rPr>
              <a:t> </a:t>
            </a:r>
          </a:p>
        </p:txBody>
      </p:sp>
      <p:grpSp>
        <p:nvGrpSpPr>
          <p:cNvPr id="82" name="Group 81">
            <a:extLst>
              <a:ext uri="{FF2B5EF4-FFF2-40B4-BE49-F238E27FC236}">
                <a16:creationId xmlns:a16="http://schemas.microsoft.com/office/drawing/2014/main" id="{40A2D015-7161-6983-EE04-732FFABF8862}"/>
              </a:ext>
            </a:extLst>
          </p:cNvPr>
          <p:cNvGrpSpPr/>
          <p:nvPr/>
        </p:nvGrpSpPr>
        <p:grpSpPr>
          <a:xfrm>
            <a:off x="686987" y="2142199"/>
            <a:ext cx="309284" cy="301692"/>
            <a:chOff x="5940597" y="4257537"/>
            <a:chExt cx="309284" cy="301692"/>
          </a:xfrm>
        </p:grpSpPr>
        <p:sp>
          <p:nvSpPr>
            <p:cNvPr id="83" name="Freeform 18">
              <a:extLst>
                <a:ext uri="{FF2B5EF4-FFF2-40B4-BE49-F238E27FC236}">
                  <a16:creationId xmlns:a16="http://schemas.microsoft.com/office/drawing/2014/main" id="{36436AD4-6F38-D56D-B22D-97800639B3E0}"/>
                </a:ext>
              </a:extLst>
            </p:cNvPr>
            <p:cNvSpPr/>
            <p:nvPr/>
          </p:nvSpPr>
          <p:spPr>
            <a:xfrm>
              <a:off x="5940597" y="4257537"/>
              <a:ext cx="309284" cy="234596"/>
            </a:xfrm>
            <a:custGeom>
              <a:avLst/>
              <a:gdLst>
                <a:gd name="connsiteX0" fmla="*/ 0 w 596507"/>
                <a:gd name="connsiteY0" fmla="*/ 0 h 426732"/>
                <a:gd name="connsiteX1" fmla="*/ 383141 w 596507"/>
                <a:gd name="connsiteY1" fmla="*/ 0 h 426732"/>
                <a:gd name="connsiteX2" fmla="*/ 596507 w 596507"/>
                <a:gd name="connsiteY2" fmla="*/ 213366 h 426732"/>
                <a:gd name="connsiteX3" fmla="*/ 383141 w 596507"/>
                <a:gd name="connsiteY3" fmla="*/ 426732 h 426732"/>
                <a:gd name="connsiteX4" fmla="*/ 0 w 596507"/>
                <a:gd name="connsiteY4" fmla="*/ 426732 h 4267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6507" h="426732">
                  <a:moveTo>
                    <a:pt x="0" y="0"/>
                  </a:moveTo>
                  <a:lnTo>
                    <a:pt x="383141" y="0"/>
                  </a:lnTo>
                  <a:cubicBezTo>
                    <a:pt x="500980" y="0"/>
                    <a:pt x="596507" y="95527"/>
                    <a:pt x="596507" y="213366"/>
                  </a:cubicBezTo>
                  <a:cubicBezTo>
                    <a:pt x="596507" y="331205"/>
                    <a:pt x="500980" y="426732"/>
                    <a:pt x="383141" y="426732"/>
                  </a:cubicBezTo>
                  <a:lnTo>
                    <a:pt x="0" y="426732"/>
                  </a:lnTo>
                  <a:close/>
                </a:path>
              </a:pathLst>
            </a:custGeom>
            <a:solidFill>
              <a:srgbClr val="008C4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84" name="Isosceles Triangle 83">
              <a:extLst>
                <a:ext uri="{FF2B5EF4-FFF2-40B4-BE49-F238E27FC236}">
                  <a16:creationId xmlns:a16="http://schemas.microsoft.com/office/drawing/2014/main" id="{FF423926-B625-3E8D-BB6E-F7771897DA2D}"/>
                </a:ext>
              </a:extLst>
            </p:cNvPr>
            <p:cNvSpPr/>
            <p:nvPr/>
          </p:nvSpPr>
          <p:spPr>
            <a:xfrm rot="10800000" flipH="1">
              <a:off x="5940597" y="4492133"/>
              <a:ext cx="81377" cy="67096"/>
            </a:xfrm>
            <a:prstGeom prst="triangle">
              <a:avLst>
                <a:gd name="adj" fmla="val 98728"/>
              </a:avLst>
            </a:prstGeom>
            <a:solidFill>
              <a:schemeClr val="tx2">
                <a:lumMod val="50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85" name="Oval 20">
              <a:extLst>
                <a:ext uri="{FF2B5EF4-FFF2-40B4-BE49-F238E27FC236}">
                  <a16:creationId xmlns:a16="http://schemas.microsoft.com/office/drawing/2014/main" id="{F8D1CB14-D772-A1FA-D78F-9C5E17AB5FBE}"/>
                </a:ext>
              </a:extLst>
            </p:cNvPr>
            <p:cNvSpPr>
              <a:spLocks noChangeAspect="1" noChangeArrowheads="1"/>
            </p:cNvSpPr>
            <p:nvPr/>
          </p:nvSpPr>
          <p:spPr bwMode="auto">
            <a:xfrm>
              <a:off x="6049383" y="4299182"/>
              <a:ext cx="151306" cy="151306"/>
            </a:xfrm>
            <a:prstGeom prst="ellipse">
              <a:avLst/>
            </a:prstGeom>
            <a:solidFill>
              <a:srgbClr val="008C4F"/>
            </a:solidFill>
            <a:ln>
              <a:noFill/>
            </a:ln>
            <a:effectLst>
              <a:outerShdw blurRad="50800" dist="38100" algn="l" rotWithShape="0">
                <a:prstClr val="black">
                  <a:alpha val="40000"/>
                </a:prstClr>
              </a:outerShdw>
            </a:effectLst>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ea typeface="+mn-ea"/>
                <a:cs typeface="+mn-cs"/>
              </a:endParaRPr>
            </a:p>
          </p:txBody>
        </p:sp>
      </p:grpSp>
      <p:sp>
        <p:nvSpPr>
          <p:cNvPr id="94" name="TextBox 93">
            <a:extLst>
              <a:ext uri="{FF2B5EF4-FFF2-40B4-BE49-F238E27FC236}">
                <a16:creationId xmlns:a16="http://schemas.microsoft.com/office/drawing/2014/main" id="{5D937AD9-9705-C415-9EB3-C3C76B98EB4E}"/>
              </a:ext>
            </a:extLst>
          </p:cNvPr>
          <p:cNvSpPr txBox="1"/>
          <p:nvPr/>
        </p:nvSpPr>
        <p:spPr>
          <a:xfrm>
            <a:off x="630003" y="1540241"/>
            <a:ext cx="4538769" cy="246221"/>
          </a:xfrm>
          <a:prstGeom prst="rect">
            <a:avLst/>
          </a:prstGeom>
          <a:noFill/>
          <a:ln w="9525" cap="rnd">
            <a:noFill/>
            <a:prstDash val="solid"/>
            <a:round/>
          </a:ln>
          <a:extLst>
            <a:ext uri="{909E8E84-426E-40DD-AFC4-6F175D3DCCD1}">
              <a14:hiddenFill xmlns:a14="http://schemas.microsoft.com/office/drawing/2010/main">
                <a:solidFill>
                  <a:srgbClr val="EBC5D0"/>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endParaRPr lang="en-US" sz="1600">
              <a:solidFill>
                <a:srgbClr val="29BA74"/>
              </a:solidFill>
            </a:endParaRPr>
          </a:p>
        </p:txBody>
      </p:sp>
      <p:sp>
        <p:nvSpPr>
          <p:cNvPr id="3" name="Rectangle 2">
            <a:extLst>
              <a:ext uri="{FF2B5EF4-FFF2-40B4-BE49-F238E27FC236}">
                <a16:creationId xmlns:a16="http://schemas.microsoft.com/office/drawing/2014/main" id="{965C6847-54C6-9933-6FB7-859B84A04585}"/>
              </a:ext>
            </a:extLst>
          </p:cNvPr>
          <p:cNvSpPr/>
          <p:nvPr/>
        </p:nvSpPr>
        <p:spPr>
          <a:xfrm flipV="1">
            <a:off x="0" y="0"/>
            <a:ext cx="12192000" cy="1287597"/>
          </a:xfrm>
          <a:prstGeom prst="rect">
            <a:avLst/>
          </a:prstGeom>
          <a:gradFill flip="none" rotWithShape="1">
            <a:gsLst>
              <a:gs pos="0">
                <a:srgbClr val="008C4F"/>
              </a:gs>
              <a:gs pos="100000">
                <a:srgbClr val="00693B"/>
              </a:gs>
            </a:gsLst>
            <a:lin ang="13500000" scaled="1"/>
            <a:tileRect/>
          </a:gradFill>
          <a:ln w="10795" cap="flat" cmpd="sng" algn="ctr">
            <a:noFill/>
            <a:prstDash val="solid"/>
          </a:ln>
          <a:effectLst/>
        </p:spPr>
        <p:txBody>
          <a:bodyPr lIns="91440" tIns="91440" rIns="91440" bIns="91440" rtlCol="0" anchor="ctr"/>
          <a:lstStyle/>
          <a:p>
            <a:pPr marL="0" marR="0" lvl="0" indent="0" algn="ctr" defTabSz="914400" eaLnBrk="1" fontAlgn="auto" latinLnBrk="0" hangingPunct="1">
              <a:lnSpc>
                <a:spcPct val="95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4" name="Title 1">
            <a:extLst>
              <a:ext uri="{FF2B5EF4-FFF2-40B4-BE49-F238E27FC236}">
                <a16:creationId xmlns:a16="http://schemas.microsoft.com/office/drawing/2014/main" id="{47D0280D-852E-32FA-01E0-575F00188A09}"/>
              </a:ext>
            </a:extLst>
          </p:cNvPr>
          <p:cNvSpPr txBox="1">
            <a:spLocks/>
          </p:cNvSpPr>
          <p:nvPr/>
        </p:nvSpPr>
        <p:spPr>
          <a:xfrm>
            <a:off x="482082" y="332033"/>
            <a:ext cx="10933200" cy="701690"/>
          </a:xfrm>
          <a:prstGeom prst="rect">
            <a:avLst/>
          </a:prstGeom>
          <a:noFill/>
          <a:ln>
            <a:noFill/>
          </a:ln>
        </p:spPr>
        <p:txBody>
          <a:bodyPr spcFirstLastPara="1" vert="horz" wrap="square" lIns="91425" tIns="45700" rIns="91425" bIns="45700" anchor="ctr" anchorCtr="0">
            <a:spAutoFit/>
          </a:bodyPr>
          <a:lstStyle>
            <a:defPPr marR="0" lvl="0" algn="l" rtl="0">
              <a:lnSpc>
                <a:spcPct val="100000"/>
              </a:lnSpc>
              <a:spcBef>
                <a:spcPts val="0"/>
              </a:spcBef>
              <a:spcAft>
                <a:spcPts val="0"/>
              </a:spcAft>
            </a:defPPr>
            <a:lvl1pPr marR="0" lvl="0" algn="l" rtl="0">
              <a:lnSpc>
                <a:spcPct val="90000"/>
              </a:lnSpc>
              <a:spcBef>
                <a:spcPts val="0"/>
              </a:spcBef>
              <a:spcAft>
                <a:spcPts val="0"/>
              </a:spcAft>
              <a:buClr>
                <a:schemeClr val="dk1"/>
              </a:buClr>
              <a:buSzPts val="1800"/>
              <a:buFont typeface="Calibri"/>
              <a:buNone/>
              <a:defRPr sz="44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r>
              <a:rPr lang="en-US" dirty="0">
                <a:solidFill>
                  <a:srgbClr val="D4DF33"/>
                </a:solidFill>
                <a:latin typeface="Calibri" panose="020F0502020204030204" pitchFamily="34" charset="0"/>
              </a:rPr>
              <a:t>6 – Fifth step: </a:t>
            </a:r>
            <a:r>
              <a:rPr lang="en-US" dirty="0">
                <a:solidFill>
                  <a:srgbClr val="FFFFFF"/>
                </a:solidFill>
                <a:latin typeface="Calibri" panose="020F0502020204030204" pitchFamily="34" charset="0"/>
              </a:rPr>
              <a:t>Share</a:t>
            </a:r>
          </a:p>
        </p:txBody>
      </p:sp>
    </p:spTree>
    <p:extLst>
      <p:ext uri="{BB962C8B-B14F-4D97-AF65-F5344CB8AC3E}">
        <p14:creationId xmlns:p14="http://schemas.microsoft.com/office/powerpoint/2010/main" val="35350397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DAF87CE-1EC8-9D20-ED89-4AFADB202B9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6" name="Object 5" hidden="1">
                        <a:extLst>
                          <a:ext uri="{FF2B5EF4-FFF2-40B4-BE49-F238E27FC236}">
                            <a16:creationId xmlns:a16="http://schemas.microsoft.com/office/drawing/2014/main" id="{0DAF87CE-1EC8-9D20-ED89-4AFADB202B9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5" name="Rectangle 110">
            <a:extLst>
              <a:ext uri="{FF2B5EF4-FFF2-40B4-BE49-F238E27FC236}">
                <a16:creationId xmlns:a16="http://schemas.microsoft.com/office/drawing/2014/main" id="{8BED13D4-5F35-4C66-AC3E-9AEB9BE362BA}"/>
              </a:ext>
            </a:extLst>
          </p:cNvPr>
          <p:cNvSpPr/>
          <p:nvPr/>
        </p:nvSpPr>
        <p:spPr>
          <a:xfrm>
            <a:off x="-13589" y="1808992"/>
            <a:ext cx="11074400" cy="4408459"/>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 name="connsiteX4" fmla="*/ 0 w 12192000"/>
              <a:gd name="connsiteY4" fmla="*/ 0 h 6858000"/>
              <a:gd name="connsiteX0" fmla="*/ 0 w 12192000"/>
              <a:gd name="connsiteY0" fmla="*/ 0 h 6858000"/>
              <a:gd name="connsiteX1" fmla="*/ 12192000 w 12192000"/>
              <a:gd name="connsiteY1" fmla="*/ 6858000 h 6858000"/>
              <a:gd name="connsiteX2" fmla="*/ 0 w 12192000"/>
              <a:gd name="connsiteY2" fmla="*/ 6858000 h 6858000"/>
              <a:gd name="connsiteX3" fmla="*/ 0 w 12192000"/>
              <a:gd name="connsiteY3" fmla="*/ 0 h 6858000"/>
            </a:gdLst>
            <a:ahLst/>
            <a:cxnLst>
              <a:cxn ang="0">
                <a:pos x="connsiteX0" y="connsiteY0"/>
              </a:cxn>
              <a:cxn ang="0">
                <a:pos x="connsiteX1" y="connsiteY1"/>
              </a:cxn>
              <a:cxn ang="0">
                <a:pos x="connsiteX2" y="connsiteY2"/>
              </a:cxn>
              <a:cxn ang="0">
                <a:pos x="connsiteX3" y="connsiteY3"/>
              </a:cxn>
            </a:cxnLst>
            <a:rect l="l" t="t" r="r" b="b"/>
            <a:pathLst>
              <a:path w="12192000" h="6858000">
                <a:moveTo>
                  <a:pt x="0" y="0"/>
                </a:moveTo>
                <a:lnTo>
                  <a:pt x="12192000" y="6858000"/>
                </a:lnTo>
                <a:lnTo>
                  <a:pt x="0" y="6858000"/>
                </a:lnTo>
                <a:lnTo>
                  <a:pt x="0" y="0"/>
                </a:lnTo>
                <a:close/>
              </a:path>
            </a:pathLst>
          </a:custGeom>
          <a:solidFill>
            <a:schemeClr val="tx2"/>
          </a:solidFill>
          <a:ln w="9525" cap="rnd" cmpd="sng" algn="ctr">
            <a:solidFill>
              <a:schemeClr val="tx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latin typeface="+mj-lt"/>
            </a:endParaRPr>
          </a:p>
        </p:txBody>
      </p:sp>
      <p:sp>
        <p:nvSpPr>
          <p:cNvPr id="28" name="Rectangle: Rounded Corners 89">
            <a:extLst>
              <a:ext uri="{FF2B5EF4-FFF2-40B4-BE49-F238E27FC236}">
                <a16:creationId xmlns:a16="http://schemas.microsoft.com/office/drawing/2014/main" id="{EDFB638B-181A-493A-B09F-F353189D30FA}"/>
              </a:ext>
            </a:extLst>
          </p:cNvPr>
          <p:cNvSpPr/>
          <p:nvPr/>
        </p:nvSpPr>
        <p:spPr>
          <a:xfrm>
            <a:off x="499158" y="1450802"/>
            <a:ext cx="11068002" cy="4692546"/>
          </a:xfrm>
          <a:prstGeom prst="roundRect">
            <a:avLst>
              <a:gd name="adj" fmla="val 2439"/>
            </a:avLst>
          </a:prstGeom>
          <a:solidFill>
            <a:schemeClr val="bg1"/>
          </a:solidFill>
          <a:ln w="9525" cap="rnd" cmpd="sng" algn="ctr">
            <a:solidFill>
              <a:schemeClr val="tx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latin typeface="+mj-lt"/>
            </a:endParaRPr>
          </a:p>
        </p:txBody>
      </p:sp>
      <p:grpSp>
        <p:nvGrpSpPr>
          <p:cNvPr id="12" name="Group 11"/>
          <p:cNvGrpSpPr/>
          <p:nvPr/>
        </p:nvGrpSpPr>
        <p:grpSpPr>
          <a:xfrm>
            <a:off x="5494012" y="1808992"/>
            <a:ext cx="306171" cy="3619977"/>
            <a:chOff x="5976847" y="2096443"/>
            <a:chExt cx="306171" cy="3619977"/>
          </a:xfrm>
        </p:grpSpPr>
        <p:cxnSp>
          <p:nvCxnSpPr>
            <p:cNvPr id="50" name="Straight Connector 49">
              <a:extLst>
                <a:ext uri="{FF2B5EF4-FFF2-40B4-BE49-F238E27FC236}">
                  <a16:creationId xmlns:a16="http://schemas.microsoft.com/office/drawing/2014/main" id="{6DC1F3D4-A296-49ED-A04F-EC067A97913B}"/>
                </a:ext>
              </a:extLst>
            </p:cNvPr>
            <p:cNvCxnSpPr/>
            <p:nvPr/>
          </p:nvCxnSpPr>
          <p:spPr>
            <a:xfrm>
              <a:off x="6129932" y="2096443"/>
              <a:ext cx="0" cy="3619977"/>
            </a:xfrm>
            <a:prstGeom prst="line">
              <a:avLst/>
            </a:prstGeom>
            <a:ln w="9525"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grpSp>
          <p:nvGrpSpPr>
            <p:cNvPr id="52" name="Group 51">
              <a:extLst>
                <a:ext uri="{FF2B5EF4-FFF2-40B4-BE49-F238E27FC236}">
                  <a16:creationId xmlns:a16="http://schemas.microsoft.com/office/drawing/2014/main" id="{A3713112-11C7-4C46-BF2E-770A38716B4D}"/>
                </a:ext>
              </a:extLst>
            </p:cNvPr>
            <p:cNvGrpSpPr/>
            <p:nvPr/>
          </p:nvGrpSpPr>
          <p:grpSpPr>
            <a:xfrm>
              <a:off x="5976847" y="3752976"/>
              <a:ext cx="306171" cy="306910"/>
              <a:chOff x="6017648" y="3824971"/>
              <a:chExt cx="306171" cy="306910"/>
            </a:xfrm>
          </p:grpSpPr>
          <p:sp>
            <p:nvSpPr>
              <p:cNvPr id="53" name="Freeform 94">
                <a:extLst>
                  <a:ext uri="{FF2B5EF4-FFF2-40B4-BE49-F238E27FC236}">
                    <a16:creationId xmlns:a16="http://schemas.microsoft.com/office/drawing/2014/main" id="{C6C89AF7-9E74-4FF7-BD2A-B1CBA49FEF91}"/>
                  </a:ext>
                </a:extLst>
              </p:cNvPr>
              <p:cNvSpPr>
                <a:spLocks/>
              </p:cNvSpPr>
              <p:nvPr/>
            </p:nvSpPr>
            <p:spPr bwMode="gray">
              <a:xfrm>
                <a:off x="6017648" y="3824971"/>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tx2"/>
              </a:solidFill>
              <a:ln>
                <a:solidFill>
                  <a:schemeClr val="tx2"/>
                </a:solidFill>
              </a:ln>
            </p:spPr>
            <p:txBody>
              <a:bodyPr vert="horz" wrap="square" lIns="88641" tIns="44321" rIns="88641" bIns="44321" numCol="1" anchor="t" anchorCtr="0" compatLnSpc="1">
                <a:prstTxWarp prst="textNoShape">
                  <a:avLst/>
                </a:prstTxWarp>
              </a:bodyPr>
              <a:lstStyle/>
              <a:p>
                <a:endParaRPr lang="en-US">
                  <a:solidFill>
                    <a:srgbClr val="6E6F73"/>
                  </a:solidFill>
                  <a:latin typeface="+mj-lt"/>
                </a:endParaRPr>
              </a:p>
            </p:txBody>
          </p:sp>
          <p:sp>
            <p:nvSpPr>
              <p:cNvPr id="54" name="Freeform 95">
                <a:extLst>
                  <a:ext uri="{FF2B5EF4-FFF2-40B4-BE49-F238E27FC236}">
                    <a16:creationId xmlns:a16="http://schemas.microsoft.com/office/drawing/2014/main" id="{BF45FDB1-B5F4-4F35-9BE7-92FFEE65C6CD}"/>
                  </a:ext>
                </a:extLst>
              </p:cNvPr>
              <p:cNvSpPr>
                <a:spLocks/>
              </p:cNvSpPr>
              <p:nvPr/>
            </p:nvSpPr>
            <p:spPr bwMode="gray">
              <a:xfrm>
                <a:off x="6134079" y="3867231"/>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endParaRPr lang="en-US">
                  <a:solidFill>
                    <a:srgbClr val="6E6F73"/>
                  </a:solidFill>
                  <a:latin typeface="+mj-lt"/>
                </a:endParaRPr>
              </a:p>
            </p:txBody>
          </p:sp>
        </p:grpSp>
      </p:grpSp>
      <p:sp>
        <p:nvSpPr>
          <p:cNvPr id="7" name="Round Same Side Corner Rectangle 59">
            <a:extLst>
              <a:ext uri="{FF2B5EF4-FFF2-40B4-BE49-F238E27FC236}">
                <a16:creationId xmlns:a16="http://schemas.microsoft.com/office/drawing/2014/main" id="{BF3E05C6-6FAE-EC26-FEF5-3A80A933EBC6}"/>
              </a:ext>
            </a:extLst>
          </p:cNvPr>
          <p:cNvSpPr/>
          <p:nvPr/>
        </p:nvSpPr>
        <p:spPr>
          <a:xfrm>
            <a:off x="5940038" y="1522520"/>
            <a:ext cx="5559634" cy="275207"/>
          </a:xfrm>
          <a:prstGeom prst="round2SameRect">
            <a:avLst/>
          </a:prstGeom>
          <a:solidFill>
            <a:srgbClr val="008C4F"/>
          </a:solidFill>
          <a:ln w="9525" cap="rnd" cmpd="sng" algn="ctr">
            <a:solidFill>
              <a:srgbClr val="008C4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dirty="0">
                <a:solidFill>
                  <a:srgbClr val="FFFFFF"/>
                </a:solidFill>
                <a:latin typeface="+mj-lt"/>
              </a:rPr>
              <a:t>Recommendations/Actionable Items</a:t>
            </a:r>
          </a:p>
        </p:txBody>
      </p:sp>
      <p:sp>
        <p:nvSpPr>
          <p:cNvPr id="8" name="Text Placeholder 2">
            <a:extLst>
              <a:ext uri="{FF2B5EF4-FFF2-40B4-BE49-F238E27FC236}">
                <a16:creationId xmlns:a16="http://schemas.microsoft.com/office/drawing/2014/main" id="{D37DC910-0D94-B882-D4DB-A97808FA16E4}"/>
              </a:ext>
            </a:extLst>
          </p:cNvPr>
          <p:cNvSpPr txBox="1">
            <a:spLocks/>
          </p:cNvSpPr>
          <p:nvPr/>
        </p:nvSpPr>
        <p:spPr>
          <a:xfrm>
            <a:off x="5974609" y="1869445"/>
            <a:ext cx="5559633" cy="3000821"/>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0"/>
              </a:spcBef>
              <a:spcAft>
                <a:spcPts val="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320040" indent="-219456" algn="l" defTabSz="914400" rtl="0" eaLnBrk="1" latinLnBrk="0" hangingPunct="1">
              <a:lnSpc>
                <a:spcPct val="100000"/>
              </a:lnSpc>
              <a:spcBef>
                <a:spcPts val="0"/>
              </a:spcBef>
              <a:spcAft>
                <a:spcPts val="0"/>
              </a:spcAft>
              <a:buClr>
                <a:schemeClr val="tx2"/>
              </a:buClr>
              <a:buFont typeface="Wingdings 3" panose="05040102010807070707" pitchFamily="18" charset="2"/>
              <a:buChar char="u"/>
              <a:defRPr lang="en-US" sz="1200" kern="1200">
                <a:solidFill>
                  <a:schemeClr val="tx1"/>
                </a:solidFill>
                <a:latin typeface="+mn-lt"/>
                <a:ea typeface="+mn-ea"/>
                <a:cs typeface="+mn-cs"/>
                <a:sym typeface="Trebuchet MS" panose="020B0603020202020204" pitchFamily="34" charset="0"/>
              </a:defRPr>
            </a:lvl2pPr>
            <a:lvl3pPr marL="649224" indent="-219456" algn="l" defTabSz="914400" rtl="0" eaLnBrk="1" latinLnBrk="0" hangingPunct="1">
              <a:lnSpc>
                <a:spcPct val="100000"/>
              </a:lnSpc>
              <a:spcBef>
                <a:spcPts val="0"/>
              </a:spcBef>
              <a:spcAft>
                <a:spcPts val="0"/>
              </a:spcAft>
              <a:buClr>
                <a:schemeClr val="tx2"/>
              </a:buClr>
              <a:buFont typeface="Wingdings 3" panose="05040102010807070707" pitchFamily="18" charset="2"/>
              <a:buChar char="u"/>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320040" indent="-219456" algn="l" defTabSz="914400" rtl="0" eaLnBrk="1" latinLnBrk="0" hangingPunct="1">
              <a:lnSpc>
                <a:spcPct val="90000"/>
              </a:lnSpc>
              <a:spcBef>
                <a:spcPts val="0"/>
              </a:spcBef>
              <a:spcAft>
                <a:spcPts val="600"/>
              </a:spcAft>
              <a:buClr>
                <a:schemeClr val="tx2"/>
              </a:buClr>
              <a:buFont typeface="Wingdings 3" panose="05040102010807070707" pitchFamily="18" charset="2"/>
              <a:buChar char="u"/>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buNone/>
            </a:pPr>
            <a:r>
              <a:rPr lang="en-US" sz="1300" dirty="0">
                <a:solidFill>
                  <a:schemeClr val="tx1"/>
                </a:solidFill>
                <a:latin typeface="Calibri" panose="020F0502020204030204" pitchFamily="34" charset="0"/>
                <a:cs typeface="Calibri" panose="020F0502020204030204" pitchFamily="34" charset="0"/>
                <a:sym typeface="Calibri" panose="020F0502020204030204" pitchFamily="34" charset="0"/>
              </a:rPr>
              <a:t>1. To encourage customers to buy more than 1 item, creating deals or bundles for customers when purchasing more than 1 item within an Order </a:t>
            </a:r>
          </a:p>
          <a:p>
            <a:r>
              <a:rPr lang="en-US" sz="1300" dirty="0">
                <a:solidFill>
                  <a:schemeClr val="tx1"/>
                </a:solidFill>
                <a:latin typeface="Calibri" panose="020F0502020204030204" pitchFamily="34" charset="0"/>
                <a:cs typeface="Calibri" panose="020F0502020204030204" pitchFamily="34" charset="0"/>
                <a:sym typeface="Calibri" panose="020F0502020204030204" pitchFamily="34" charset="0"/>
              </a:rPr>
              <a:t>2. Creating campaigns to promote business’s activities in other cities</a:t>
            </a:r>
          </a:p>
          <a:p>
            <a:r>
              <a:rPr lang="en-US" sz="1300" dirty="0">
                <a:solidFill>
                  <a:schemeClr val="tx1"/>
                </a:solidFill>
                <a:latin typeface="Calibri" panose="020F0502020204030204" pitchFamily="34" charset="0"/>
                <a:cs typeface="Calibri" panose="020F0502020204030204" pitchFamily="34" charset="0"/>
                <a:sym typeface="Calibri" panose="020F0502020204030204" pitchFamily="34" charset="0"/>
              </a:rPr>
              <a:t>3. Collaborate with other digital payment vendors to promote their e-payment solutions</a:t>
            </a:r>
          </a:p>
          <a:p>
            <a:r>
              <a:rPr lang="en-US" sz="1300" dirty="0">
                <a:solidFill>
                  <a:schemeClr val="tx1"/>
                </a:solidFill>
                <a:latin typeface="Calibri" panose="020F0502020204030204" pitchFamily="34" charset="0"/>
                <a:cs typeface="Calibri" panose="020F0502020204030204" pitchFamily="34" charset="0"/>
                <a:sym typeface="Calibri" panose="020F0502020204030204" pitchFamily="34" charset="0"/>
              </a:rPr>
              <a:t>4. Creating campaigns to promote </a:t>
            </a:r>
            <a:r>
              <a:rPr lang="en-US" sz="1300" dirty="0" err="1">
                <a:solidFill>
                  <a:schemeClr val="tx1"/>
                </a:solidFill>
                <a:latin typeface="Calibri" panose="020F0502020204030204" pitchFamily="34" charset="0"/>
                <a:cs typeface="Calibri" panose="020F0502020204030204" pitchFamily="34" charset="0"/>
                <a:sym typeface="Calibri" panose="020F0502020204030204" pitchFamily="34" charset="0"/>
              </a:rPr>
              <a:t>watches_gifts</a:t>
            </a:r>
            <a:r>
              <a:rPr lang="en-US" sz="1300" dirty="0">
                <a:solidFill>
                  <a:schemeClr val="tx1"/>
                </a:solidFill>
                <a:latin typeface="Calibri" panose="020F0502020204030204" pitchFamily="34" charset="0"/>
                <a:cs typeface="Calibri" panose="020F0502020204030204" pitchFamily="34" charset="0"/>
                <a:sym typeface="Calibri" panose="020F0502020204030204" pitchFamily="34" charset="0"/>
              </a:rPr>
              <a:t> products</a:t>
            </a:r>
          </a:p>
          <a:p>
            <a:r>
              <a:rPr lang="en-US" sz="1300" dirty="0">
                <a:solidFill>
                  <a:schemeClr val="tx1"/>
                </a:solidFill>
                <a:latin typeface="Calibri" panose="020F0502020204030204" pitchFamily="34" charset="0"/>
                <a:cs typeface="Calibri" panose="020F0502020204030204" pitchFamily="34" charset="0"/>
                <a:sym typeface="Calibri" panose="020F0502020204030204" pitchFamily="34" charset="0"/>
              </a:rPr>
              <a:t>5. Considering improve Operations’ activities to reduce order processing days for orders having high value</a:t>
            </a:r>
          </a:p>
          <a:p>
            <a:r>
              <a:rPr lang="en-US" sz="1300" dirty="0">
                <a:solidFill>
                  <a:schemeClr val="tx1"/>
                </a:solidFill>
                <a:latin typeface="Calibri" panose="020F0502020204030204" pitchFamily="34" charset="0"/>
                <a:cs typeface="Calibri" panose="020F0502020204030204" pitchFamily="34" charset="0"/>
                <a:sym typeface="Calibri" panose="020F0502020204030204" pitchFamily="34" charset="0"/>
              </a:rPr>
              <a:t>6. Improve or implement new customer journey to encourage customers to order after the first purchase</a:t>
            </a:r>
          </a:p>
          <a:p>
            <a:r>
              <a:rPr lang="en-US" sz="1300" dirty="0">
                <a:solidFill>
                  <a:schemeClr val="tx1"/>
                </a:solidFill>
                <a:latin typeface="Calibri" panose="020F0502020204030204" pitchFamily="34" charset="0"/>
                <a:cs typeface="Calibri" panose="020F0502020204030204" pitchFamily="34" charset="0"/>
                <a:sym typeface="Calibri" panose="020F0502020204030204" pitchFamily="34" charset="0"/>
              </a:rPr>
              <a:t>7. Create campaigns to promote the benefits of being regular customers</a:t>
            </a:r>
          </a:p>
          <a:p>
            <a:r>
              <a:rPr lang="en-US" sz="1300" dirty="0">
                <a:solidFill>
                  <a:schemeClr val="tx1"/>
                </a:solidFill>
                <a:latin typeface="Calibri" panose="020F0502020204030204" pitchFamily="34" charset="0"/>
                <a:cs typeface="Calibri" panose="020F0502020204030204" pitchFamily="34" charset="0"/>
                <a:sym typeface="Calibri" panose="020F0502020204030204" pitchFamily="34" charset="0"/>
              </a:rPr>
              <a:t>8. Create campaigns or require customers to fill in their personal information while conducting registration</a:t>
            </a:r>
          </a:p>
          <a:p>
            <a:r>
              <a:rPr lang="en-US" sz="1300" dirty="0">
                <a:solidFill>
                  <a:schemeClr val="tx1"/>
                </a:solidFill>
                <a:latin typeface="Calibri" panose="020F0502020204030204" pitchFamily="34" charset="0"/>
                <a:cs typeface="Calibri" panose="020F0502020204030204" pitchFamily="34" charset="0"/>
                <a:sym typeface="Calibri" panose="020F0502020204030204" pitchFamily="34" charset="0"/>
              </a:rPr>
              <a:t>9. Keep all the customers, especially who have given 5 stars review, to be updated on the promotions or deals of the business. </a:t>
            </a:r>
          </a:p>
        </p:txBody>
      </p:sp>
      <p:sp>
        <p:nvSpPr>
          <p:cNvPr id="48" name="TextBox 47">
            <a:extLst>
              <a:ext uri="{FF2B5EF4-FFF2-40B4-BE49-F238E27FC236}">
                <a16:creationId xmlns:a16="http://schemas.microsoft.com/office/drawing/2014/main" id="{36CBFBC8-A8D1-3FF2-612E-C5550ACFFE1C}"/>
              </a:ext>
            </a:extLst>
          </p:cNvPr>
          <p:cNvSpPr txBox="1"/>
          <p:nvPr/>
        </p:nvSpPr>
        <p:spPr>
          <a:xfrm>
            <a:off x="630003" y="1540241"/>
            <a:ext cx="4538769" cy="246221"/>
          </a:xfrm>
          <a:prstGeom prst="rect">
            <a:avLst/>
          </a:prstGeom>
          <a:noFill/>
          <a:ln w="9525" cap="rnd">
            <a:noFill/>
            <a:prstDash val="solid"/>
            <a:round/>
          </a:ln>
          <a:extLst>
            <a:ext uri="{909E8E84-426E-40DD-AFC4-6F175D3DCCD1}">
              <a14:hiddenFill xmlns:a14="http://schemas.microsoft.com/office/drawing/2010/main">
                <a:solidFill>
                  <a:srgbClr val="EBC5D0"/>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endParaRPr lang="en-US" sz="1600">
              <a:solidFill>
                <a:srgbClr val="29BA74"/>
              </a:solidFill>
              <a:latin typeface="+mj-lt"/>
            </a:endParaRPr>
          </a:p>
        </p:txBody>
      </p:sp>
      <p:sp>
        <p:nvSpPr>
          <p:cNvPr id="4" name="Round Same Side Corner Rectangle 59">
            <a:extLst>
              <a:ext uri="{FF2B5EF4-FFF2-40B4-BE49-F238E27FC236}">
                <a16:creationId xmlns:a16="http://schemas.microsoft.com/office/drawing/2014/main" id="{E155BE5F-5C7F-1311-2585-3D76FB252B6D}"/>
              </a:ext>
            </a:extLst>
          </p:cNvPr>
          <p:cNvSpPr/>
          <p:nvPr/>
        </p:nvSpPr>
        <p:spPr>
          <a:xfrm>
            <a:off x="624840" y="1522519"/>
            <a:ext cx="4844172" cy="275207"/>
          </a:xfrm>
          <a:prstGeom prst="round2SameRect">
            <a:avLst/>
          </a:prstGeom>
          <a:solidFill>
            <a:srgbClr val="008C4F"/>
          </a:solidFill>
          <a:ln w="9525" cap="rnd" cmpd="sng" algn="ctr">
            <a:solidFill>
              <a:srgbClr val="008C4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dirty="0">
                <a:solidFill>
                  <a:srgbClr val="FFFFFF"/>
                </a:solidFill>
                <a:latin typeface="+mj-lt"/>
              </a:rPr>
              <a:t>Key Insights/Issues</a:t>
            </a:r>
          </a:p>
        </p:txBody>
      </p:sp>
      <p:sp>
        <p:nvSpPr>
          <p:cNvPr id="13" name="Text Placeholder 2">
            <a:extLst>
              <a:ext uri="{FF2B5EF4-FFF2-40B4-BE49-F238E27FC236}">
                <a16:creationId xmlns:a16="http://schemas.microsoft.com/office/drawing/2014/main" id="{04BE04DC-AC55-5EB7-6346-64263EF6CA9D}"/>
              </a:ext>
            </a:extLst>
          </p:cNvPr>
          <p:cNvSpPr txBox="1">
            <a:spLocks/>
          </p:cNvSpPr>
          <p:nvPr/>
        </p:nvSpPr>
        <p:spPr>
          <a:xfrm>
            <a:off x="718874" y="1713647"/>
            <a:ext cx="4388807" cy="4508927"/>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0"/>
              </a:spcBef>
              <a:spcAft>
                <a:spcPts val="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320040" indent="-219456" algn="l" defTabSz="914400" rtl="0" eaLnBrk="1" latinLnBrk="0" hangingPunct="1">
              <a:lnSpc>
                <a:spcPct val="100000"/>
              </a:lnSpc>
              <a:spcBef>
                <a:spcPts val="0"/>
              </a:spcBef>
              <a:spcAft>
                <a:spcPts val="0"/>
              </a:spcAft>
              <a:buClr>
                <a:schemeClr val="tx2"/>
              </a:buClr>
              <a:buFont typeface="Wingdings 3" panose="05040102010807070707" pitchFamily="18" charset="2"/>
              <a:buChar char="u"/>
              <a:defRPr lang="en-US" sz="1200" kern="1200">
                <a:solidFill>
                  <a:schemeClr val="tx1"/>
                </a:solidFill>
                <a:latin typeface="+mn-lt"/>
                <a:ea typeface="+mn-ea"/>
                <a:cs typeface="+mn-cs"/>
                <a:sym typeface="Trebuchet MS" panose="020B0603020202020204" pitchFamily="34" charset="0"/>
              </a:defRPr>
            </a:lvl2pPr>
            <a:lvl3pPr marL="649224" indent="-219456" algn="l" defTabSz="914400" rtl="0" eaLnBrk="1" latinLnBrk="0" hangingPunct="1">
              <a:lnSpc>
                <a:spcPct val="100000"/>
              </a:lnSpc>
              <a:spcBef>
                <a:spcPts val="0"/>
              </a:spcBef>
              <a:spcAft>
                <a:spcPts val="0"/>
              </a:spcAft>
              <a:buClr>
                <a:schemeClr val="tx2"/>
              </a:buClr>
              <a:buFont typeface="Wingdings 3" panose="05040102010807070707" pitchFamily="18" charset="2"/>
              <a:buChar char="u"/>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320040" indent="-219456" algn="l" defTabSz="914400" rtl="0" eaLnBrk="1" latinLnBrk="0" hangingPunct="1">
              <a:lnSpc>
                <a:spcPct val="90000"/>
              </a:lnSpc>
              <a:spcBef>
                <a:spcPts val="0"/>
              </a:spcBef>
              <a:spcAft>
                <a:spcPts val="600"/>
              </a:spcAft>
              <a:buClr>
                <a:schemeClr val="tx2"/>
              </a:buClr>
              <a:buFont typeface="Wingdings 3" panose="05040102010807070707" pitchFamily="18" charset="2"/>
              <a:buChar char="u"/>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endParaRPr lang="en-US" sz="1100" dirty="0">
              <a:solidFill>
                <a:schemeClr val="tx1"/>
              </a:solidFill>
              <a:latin typeface="Calibri" panose="020F0502020204030204" pitchFamily="34" charset="0"/>
              <a:cs typeface="Calibri" panose="020F0502020204030204" pitchFamily="34" charset="0"/>
              <a:sym typeface="Calibri" panose="020F0502020204030204" pitchFamily="34" charset="0"/>
            </a:endParaRPr>
          </a:p>
          <a:p>
            <a:pPr marL="228600" indent="-228600">
              <a:buAutoNum type="arabicPeriod"/>
            </a:pPr>
            <a:r>
              <a:rPr lang="en-US" sz="1300" dirty="0">
                <a:solidFill>
                  <a:schemeClr val="tx1"/>
                </a:solidFill>
                <a:latin typeface="Calibri" panose="020F0502020204030204" pitchFamily="34" charset="0"/>
                <a:cs typeface="Calibri" panose="020F0502020204030204" pitchFamily="34" charset="0"/>
                <a:sym typeface="Calibri" panose="020F0502020204030204" pitchFamily="34" charset="0"/>
              </a:rPr>
              <a:t>Customers tend to order approximately only 1 item per order </a:t>
            </a:r>
          </a:p>
          <a:p>
            <a:pPr marL="228600" indent="-228600">
              <a:buAutoNum type="arabicPeriod"/>
            </a:pPr>
            <a:r>
              <a:rPr lang="en-US" sz="1300" dirty="0">
                <a:solidFill>
                  <a:schemeClr val="tx1"/>
                </a:solidFill>
                <a:latin typeface="Calibri" panose="020F0502020204030204" pitchFamily="34" charset="0"/>
                <a:cs typeface="Calibri" panose="020F0502020204030204" pitchFamily="34" charset="0"/>
                <a:sym typeface="Calibri" panose="020F0502020204030204" pitchFamily="34" charset="0"/>
              </a:rPr>
              <a:t>Sales Revenue in Sao Paulo is much higher than the Sales amount in other cities. Noticeably it is almost doubled when comparing to the sales amount in Rio de Janeiro, which came as the second highest sales revenue</a:t>
            </a:r>
          </a:p>
          <a:p>
            <a:pPr marL="228600" indent="-228600">
              <a:buAutoNum type="arabicPeriod"/>
            </a:pPr>
            <a:r>
              <a:rPr lang="en-US" sz="1300" dirty="0">
                <a:solidFill>
                  <a:schemeClr val="tx1"/>
                </a:solidFill>
                <a:latin typeface="Calibri" panose="020F0502020204030204" pitchFamily="34" charset="0"/>
                <a:cs typeface="Calibri" panose="020F0502020204030204" pitchFamily="34" charset="0"/>
                <a:sym typeface="Calibri" panose="020F0502020204030204" pitchFamily="34" charset="0"/>
              </a:rPr>
              <a:t>Credit card is the most popular payment method: 78% of payment transactions were made using Credit card</a:t>
            </a:r>
          </a:p>
          <a:p>
            <a:pPr marL="228600" indent="-228600">
              <a:buAutoNum type="arabicPeriod"/>
            </a:pPr>
            <a:r>
              <a:rPr lang="en-US" sz="1300" dirty="0">
                <a:solidFill>
                  <a:schemeClr val="tx1"/>
                </a:solidFill>
                <a:latin typeface="Calibri" panose="020F0502020204030204" pitchFamily="34" charset="0"/>
                <a:cs typeface="Calibri" panose="020F0502020204030204" pitchFamily="34" charset="0"/>
                <a:sym typeface="Calibri" panose="020F0502020204030204" pitchFamily="34" charset="0"/>
              </a:rPr>
              <a:t>In terms of Product Categories, among other top 5 products having highest sales revenue, the sales amount of </a:t>
            </a:r>
            <a:r>
              <a:rPr lang="en-US" sz="1300" dirty="0" err="1">
                <a:solidFill>
                  <a:schemeClr val="tx1"/>
                </a:solidFill>
                <a:latin typeface="Calibri" panose="020F0502020204030204" pitchFamily="34" charset="0"/>
                <a:cs typeface="Calibri" panose="020F0502020204030204" pitchFamily="34" charset="0"/>
                <a:sym typeface="Calibri" panose="020F0502020204030204" pitchFamily="34" charset="0"/>
              </a:rPr>
              <a:t>watches_gifts</a:t>
            </a:r>
            <a:r>
              <a:rPr lang="en-US" sz="1300" dirty="0">
                <a:solidFill>
                  <a:schemeClr val="tx1"/>
                </a:solidFill>
                <a:latin typeface="Calibri" panose="020F0502020204030204" pitchFamily="34" charset="0"/>
                <a:cs typeface="Calibri" panose="020F0502020204030204" pitchFamily="34" charset="0"/>
                <a:sym typeface="Calibri" panose="020F0502020204030204" pitchFamily="34" charset="0"/>
              </a:rPr>
              <a:t> came as second while its total numbers of sold items is significantly lower than others’</a:t>
            </a:r>
          </a:p>
          <a:p>
            <a:pPr marL="228600" indent="-228600">
              <a:buAutoNum type="arabicPeriod"/>
            </a:pPr>
            <a:r>
              <a:rPr lang="en-US" sz="1300" dirty="0">
                <a:solidFill>
                  <a:schemeClr val="tx1"/>
                </a:solidFill>
                <a:latin typeface="Calibri" panose="020F0502020204030204" pitchFamily="34" charset="0"/>
                <a:cs typeface="Calibri" panose="020F0502020204030204" pitchFamily="34" charset="0"/>
                <a:sym typeface="Calibri" panose="020F0502020204030204" pitchFamily="34" charset="0"/>
              </a:rPr>
              <a:t> Comparing to other orders categorized by </a:t>
            </a:r>
            <a:r>
              <a:rPr lang="en-US" sz="1300" dirty="0" err="1">
                <a:solidFill>
                  <a:schemeClr val="tx1"/>
                </a:solidFill>
                <a:latin typeface="Calibri" panose="020F0502020204030204" pitchFamily="34" charset="0"/>
                <a:cs typeface="Calibri" panose="020F0502020204030204" pitchFamily="34" charset="0"/>
                <a:sym typeface="Calibri" panose="020F0502020204030204" pitchFamily="34" charset="0"/>
              </a:rPr>
              <a:t>review_score</a:t>
            </a:r>
            <a:r>
              <a:rPr lang="en-US" sz="1300" dirty="0">
                <a:solidFill>
                  <a:schemeClr val="tx1"/>
                </a:solidFill>
                <a:latin typeface="Calibri" panose="020F0502020204030204" pitchFamily="34" charset="0"/>
                <a:cs typeface="Calibri" panose="020F0502020204030204" pitchFamily="34" charset="0"/>
                <a:sym typeface="Calibri" panose="020F0502020204030204" pitchFamily="34" charset="0"/>
              </a:rPr>
              <a:t>, orders having review score as 1 have the highest orders processing days while average total price of those orders is the highest</a:t>
            </a:r>
          </a:p>
          <a:p>
            <a:pPr marL="228600" indent="-228600">
              <a:buAutoNum type="arabicPeriod"/>
            </a:pPr>
            <a:r>
              <a:rPr lang="en-US" sz="1300" dirty="0">
                <a:solidFill>
                  <a:schemeClr val="tx1"/>
                </a:solidFill>
                <a:latin typeface="Calibri" panose="020F0502020204030204" pitchFamily="34" charset="0"/>
                <a:cs typeface="Calibri" panose="020F0502020204030204" pitchFamily="34" charset="0"/>
                <a:sym typeface="Calibri" panose="020F0502020204030204" pitchFamily="34" charset="0"/>
              </a:rPr>
              <a:t>All customers only had 1 purchase in this platform</a:t>
            </a:r>
          </a:p>
          <a:p>
            <a:pPr marL="228600" indent="-228600">
              <a:buAutoNum type="arabicPeriod"/>
            </a:pPr>
            <a:r>
              <a:rPr lang="en-US" sz="1300" dirty="0">
                <a:solidFill>
                  <a:schemeClr val="tx1"/>
                </a:solidFill>
                <a:latin typeface="Calibri" panose="020F0502020204030204" pitchFamily="34" charset="0"/>
                <a:cs typeface="Calibri" panose="020F0502020204030204" pitchFamily="34" charset="0"/>
                <a:sym typeface="Calibri" panose="020F0502020204030204" pitchFamily="34" charset="0"/>
              </a:rPr>
              <a:t>There is no regular customers (customers having more than 3 orders can be treated as regular)</a:t>
            </a:r>
          </a:p>
          <a:p>
            <a:pPr marL="228600" indent="-228600">
              <a:buAutoNum type="arabicPeriod"/>
            </a:pPr>
            <a:r>
              <a:rPr lang="en-US" sz="1300" dirty="0">
                <a:solidFill>
                  <a:schemeClr val="tx1"/>
                </a:solidFill>
                <a:latin typeface="Calibri" panose="020F0502020204030204" pitchFamily="34" charset="0"/>
                <a:cs typeface="Calibri" panose="020F0502020204030204" pitchFamily="34" charset="0"/>
                <a:sym typeface="Calibri" panose="020F0502020204030204" pitchFamily="34" charset="0"/>
              </a:rPr>
              <a:t>Customers are not clearly segmented for analysis purposes</a:t>
            </a:r>
          </a:p>
          <a:p>
            <a:pPr marL="228600" indent="-228600">
              <a:buAutoNum type="arabicPeriod"/>
            </a:pPr>
            <a:r>
              <a:rPr lang="en-US" sz="1300" dirty="0">
                <a:solidFill>
                  <a:schemeClr val="tx1"/>
                </a:solidFill>
                <a:latin typeface="Calibri" panose="020F0502020204030204" pitchFamily="34" charset="0"/>
                <a:cs typeface="Calibri" panose="020F0502020204030204" pitchFamily="34" charset="0"/>
                <a:sym typeface="Calibri" panose="020F0502020204030204" pitchFamily="34" charset="0"/>
              </a:rPr>
              <a:t>Majority of the reviews were scored 5</a:t>
            </a:r>
          </a:p>
          <a:p>
            <a:endParaRPr lang="en-US" sz="1100" b="1" dirty="0">
              <a:solidFill>
                <a:schemeClr val="tx1"/>
              </a:solidFill>
              <a:latin typeface="Calibri" panose="020F0502020204030204" pitchFamily="34" charset="0"/>
              <a:cs typeface="Calibri" panose="020F0502020204030204" pitchFamily="34" charset="0"/>
              <a:sym typeface="Calibri" panose="020F0502020204030204" pitchFamily="34" charset="0"/>
            </a:endParaRPr>
          </a:p>
          <a:p>
            <a:endParaRPr lang="en-US" sz="1100" dirty="0">
              <a:solidFill>
                <a:schemeClr val="tx1"/>
              </a:solidFill>
              <a:latin typeface="Calibri" panose="020F0502020204030204" pitchFamily="34" charset="0"/>
              <a:cs typeface="Calibri" panose="020F0502020204030204" pitchFamily="34" charset="0"/>
              <a:sym typeface="Calibri" panose="020F0502020204030204" pitchFamily="34" charset="0"/>
            </a:endParaRPr>
          </a:p>
        </p:txBody>
      </p:sp>
      <p:sp>
        <p:nvSpPr>
          <p:cNvPr id="17" name="Rectangle 16">
            <a:extLst>
              <a:ext uri="{FF2B5EF4-FFF2-40B4-BE49-F238E27FC236}">
                <a16:creationId xmlns:a16="http://schemas.microsoft.com/office/drawing/2014/main" id="{555477FE-631A-C9E2-8020-1DDFA8FF1A02}"/>
              </a:ext>
            </a:extLst>
          </p:cNvPr>
          <p:cNvSpPr/>
          <p:nvPr/>
        </p:nvSpPr>
        <p:spPr>
          <a:xfrm flipV="1">
            <a:off x="0" y="0"/>
            <a:ext cx="12192000" cy="1287597"/>
          </a:xfrm>
          <a:prstGeom prst="rect">
            <a:avLst/>
          </a:prstGeom>
          <a:gradFill flip="none" rotWithShape="1">
            <a:gsLst>
              <a:gs pos="0">
                <a:srgbClr val="008C4F"/>
              </a:gs>
              <a:gs pos="100000">
                <a:srgbClr val="00693B"/>
              </a:gs>
            </a:gsLst>
            <a:lin ang="13500000" scaled="1"/>
            <a:tileRect/>
          </a:gradFill>
          <a:ln w="10795" cap="flat" cmpd="sng" algn="ctr">
            <a:noFill/>
            <a:prstDash val="solid"/>
          </a:ln>
          <a:effectLst/>
        </p:spPr>
        <p:txBody>
          <a:bodyPr lIns="91440" tIns="91440" rIns="91440" bIns="91440" rtlCol="0" anchor="ctr"/>
          <a:lstStyle/>
          <a:p>
            <a:pPr marL="0" marR="0" lvl="0" indent="0" algn="ctr" defTabSz="914400" eaLnBrk="1" fontAlgn="auto" latinLnBrk="0" hangingPunct="1">
              <a:lnSpc>
                <a:spcPct val="95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8" name="Title 1">
            <a:extLst>
              <a:ext uri="{FF2B5EF4-FFF2-40B4-BE49-F238E27FC236}">
                <a16:creationId xmlns:a16="http://schemas.microsoft.com/office/drawing/2014/main" id="{F6D1DC85-80AA-3ED7-20BE-0B27E2508E78}"/>
              </a:ext>
            </a:extLst>
          </p:cNvPr>
          <p:cNvSpPr txBox="1">
            <a:spLocks/>
          </p:cNvSpPr>
          <p:nvPr/>
        </p:nvSpPr>
        <p:spPr>
          <a:xfrm>
            <a:off x="482082" y="332033"/>
            <a:ext cx="10933200" cy="701690"/>
          </a:xfrm>
          <a:prstGeom prst="rect">
            <a:avLst/>
          </a:prstGeom>
          <a:noFill/>
          <a:ln>
            <a:noFill/>
          </a:ln>
        </p:spPr>
        <p:txBody>
          <a:bodyPr spcFirstLastPara="1" vert="horz" wrap="square" lIns="91425" tIns="45700" rIns="91425" bIns="45700" anchor="ctr" anchorCtr="0">
            <a:spAutoFit/>
          </a:bodyPr>
          <a:lstStyle>
            <a:defPPr marR="0" lvl="0" algn="l" rtl="0">
              <a:lnSpc>
                <a:spcPct val="100000"/>
              </a:lnSpc>
              <a:spcBef>
                <a:spcPts val="0"/>
              </a:spcBef>
              <a:spcAft>
                <a:spcPts val="0"/>
              </a:spcAft>
            </a:defPPr>
            <a:lvl1pPr marR="0" lvl="0" algn="l" rtl="0">
              <a:lnSpc>
                <a:spcPct val="90000"/>
              </a:lnSpc>
              <a:spcBef>
                <a:spcPts val="0"/>
              </a:spcBef>
              <a:spcAft>
                <a:spcPts val="0"/>
              </a:spcAft>
              <a:buClr>
                <a:schemeClr val="dk1"/>
              </a:buClr>
              <a:buSzPts val="1800"/>
              <a:buFont typeface="Calibri"/>
              <a:buNone/>
              <a:defRPr sz="44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r>
              <a:rPr lang="en-US" dirty="0">
                <a:solidFill>
                  <a:srgbClr val="D4DF33"/>
                </a:solidFill>
                <a:latin typeface="Calibri" panose="020F0502020204030204" pitchFamily="34" charset="0"/>
              </a:rPr>
              <a:t>7 – Sixth step: </a:t>
            </a:r>
            <a:r>
              <a:rPr lang="en-US" dirty="0">
                <a:solidFill>
                  <a:srgbClr val="FFFFFF"/>
                </a:solidFill>
                <a:latin typeface="Calibri" panose="020F0502020204030204" pitchFamily="34" charset="0"/>
              </a:rPr>
              <a:t>Act</a:t>
            </a:r>
          </a:p>
        </p:txBody>
      </p:sp>
    </p:spTree>
    <p:extLst>
      <p:ext uri="{BB962C8B-B14F-4D97-AF65-F5344CB8AC3E}">
        <p14:creationId xmlns:p14="http://schemas.microsoft.com/office/powerpoint/2010/main" val="11718877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717BA85-E356-36BA-5719-68373BD69592}"/>
              </a:ext>
            </a:extLst>
          </p:cNvPr>
          <p:cNvPicPr>
            <a:picLocks noChangeAspect="1"/>
          </p:cNvPicPr>
          <p:nvPr/>
        </p:nvPicPr>
        <p:blipFill rotWithShape="1">
          <a:blip r:embed="rId3"/>
          <a:srcRect l="26331" t="1" r="34016" b="300"/>
          <a:stretch/>
        </p:blipFill>
        <p:spPr>
          <a:xfrm>
            <a:off x="-5553" y="0"/>
            <a:ext cx="4091363" cy="6858000"/>
          </a:xfrm>
          <a:prstGeom prst="rect">
            <a:avLst/>
          </a:prstGeom>
        </p:spPr>
      </p:pic>
      <p:sp>
        <p:nvSpPr>
          <p:cNvPr id="5" name="GradientOverlay">
            <a:extLst>
              <a:ext uri="{FF2B5EF4-FFF2-40B4-BE49-F238E27FC236}">
                <a16:creationId xmlns:a16="http://schemas.microsoft.com/office/drawing/2014/main" id="{89E93E84-E707-7F64-42A0-7728B1C66B53}"/>
              </a:ext>
            </a:extLst>
          </p:cNvPr>
          <p:cNvSpPr/>
          <p:nvPr>
            <p:custDataLst>
              <p:tags r:id="rId1"/>
            </p:custDataLst>
          </p:nvPr>
        </p:nvSpPr>
        <p:spPr>
          <a:xfrm>
            <a:off x="0" y="0"/>
            <a:ext cx="4078286" cy="6858000"/>
          </a:xfrm>
          <a:prstGeom prst="rect">
            <a:avLst/>
          </a:prstGeom>
          <a:solidFill>
            <a:srgbClr val="000000">
              <a:alpha val="60000"/>
            </a:srgbClr>
          </a:solidFill>
          <a:ln w="9525" cap="flat" cmpd="sng" algn="ctr">
            <a:noFill/>
            <a:prstDash val="solid"/>
            <a:miter lim="800000"/>
          </a:ln>
          <a:effectLst/>
        </p:spPr>
        <p:txBody>
          <a:bodyPr rtlCol="0" anchor="ctr"/>
          <a:lstStyle/>
          <a:p>
            <a:pPr marL="0" marR="0" lvl="0" indent="0" algn="ctr" defTabSz="914400" eaLnBrk="1" fontAlgn="auto" latinLnBrk="0" hangingPunct="1">
              <a:lnSpc>
                <a:spcPct val="90000"/>
              </a:lnSpc>
              <a:spcBef>
                <a:spcPts val="0"/>
              </a:spcBef>
              <a:spcAft>
                <a:spcPts val="100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6" name="bcgIcons_Capitol Building ">
            <a:extLst>
              <a:ext uri="{FF2B5EF4-FFF2-40B4-BE49-F238E27FC236}">
                <a16:creationId xmlns:a16="http://schemas.microsoft.com/office/drawing/2014/main" id="{B958C774-7AC4-762C-7AE6-879F7FA4DA50}"/>
              </a:ext>
            </a:extLst>
          </p:cNvPr>
          <p:cNvGrpSpPr>
            <a:grpSpLocks noChangeAspect="1"/>
          </p:cNvGrpSpPr>
          <p:nvPr/>
        </p:nvGrpSpPr>
        <p:grpSpPr>
          <a:xfrm>
            <a:off x="1218262" y="824147"/>
            <a:ext cx="1641762" cy="1643283"/>
            <a:chOff x="5273799" y="2606040"/>
            <a:chExt cx="1644396" cy="1645920"/>
          </a:xfrm>
        </p:grpSpPr>
        <p:sp>
          <p:nvSpPr>
            <p:cNvPr id="7" name="AutoShape 8">
              <a:extLst>
                <a:ext uri="{FF2B5EF4-FFF2-40B4-BE49-F238E27FC236}">
                  <a16:creationId xmlns:a16="http://schemas.microsoft.com/office/drawing/2014/main" id="{FA9C2199-310C-92F0-D5F7-7FF31312019A}"/>
                </a:ext>
              </a:extLst>
            </p:cNvPr>
            <p:cNvSpPr>
              <a:spLocks noChangeAspect="1" noChangeArrowheads="1" noTextEdit="1"/>
            </p:cNvSpPr>
            <p:nvPr/>
          </p:nvSpPr>
          <p:spPr bwMode="auto">
            <a:xfrm>
              <a:off x="5273799" y="2606040"/>
              <a:ext cx="1644396"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buClrTx/>
                <a:buFontTx/>
                <a:buNone/>
              </a:pPr>
              <a:endParaRPr lang="en-US" sz="1800" kern="1200">
                <a:latin typeface="Calibri" panose="020F0502020204030204"/>
                <a:ea typeface="+mn-ea"/>
                <a:cs typeface="+mn-cs"/>
              </a:endParaRPr>
            </a:p>
          </p:txBody>
        </p:sp>
        <p:grpSp>
          <p:nvGrpSpPr>
            <p:cNvPr id="8" name="Group 7">
              <a:extLst>
                <a:ext uri="{FF2B5EF4-FFF2-40B4-BE49-F238E27FC236}">
                  <a16:creationId xmlns:a16="http://schemas.microsoft.com/office/drawing/2014/main" id="{E7E5D7AF-D18D-7F4B-48DB-2D972880A5EC}"/>
                </a:ext>
              </a:extLst>
            </p:cNvPr>
            <p:cNvGrpSpPr/>
            <p:nvPr/>
          </p:nvGrpSpPr>
          <p:grpSpPr>
            <a:xfrm>
              <a:off x="5497065" y="2719578"/>
              <a:ext cx="1197864" cy="1361694"/>
              <a:chOff x="5497065" y="2719578"/>
              <a:chExt cx="1197864" cy="1361694"/>
            </a:xfrm>
          </p:grpSpPr>
          <p:sp>
            <p:nvSpPr>
              <p:cNvPr id="9" name="Freeform 10">
                <a:extLst>
                  <a:ext uri="{FF2B5EF4-FFF2-40B4-BE49-F238E27FC236}">
                    <a16:creationId xmlns:a16="http://schemas.microsoft.com/office/drawing/2014/main" id="{9D516F6C-AD98-F3A6-A196-016B35B86D4F}"/>
                  </a:ext>
                </a:extLst>
              </p:cNvPr>
              <p:cNvSpPr>
                <a:spLocks noEditPoints="1"/>
              </p:cNvSpPr>
              <p:nvPr/>
            </p:nvSpPr>
            <p:spPr bwMode="auto">
              <a:xfrm>
                <a:off x="5497065" y="3014091"/>
                <a:ext cx="1197864" cy="1067181"/>
              </a:xfrm>
              <a:custGeom>
                <a:avLst/>
                <a:gdLst>
                  <a:gd name="T0" fmla="*/ 1656 w 1678"/>
                  <a:gd name="T1" fmla="*/ 1332 h 1494"/>
                  <a:gd name="T2" fmla="*/ 1568 w 1678"/>
                  <a:gd name="T3" fmla="*/ 1332 h 1494"/>
                  <a:gd name="T4" fmla="*/ 1568 w 1678"/>
                  <a:gd name="T5" fmla="*/ 1288 h 1494"/>
                  <a:gd name="T6" fmla="*/ 1546 w 1678"/>
                  <a:gd name="T7" fmla="*/ 1266 h 1494"/>
                  <a:gd name="T8" fmla="*/ 132 w 1678"/>
                  <a:gd name="T9" fmla="*/ 1266 h 1494"/>
                  <a:gd name="T10" fmla="*/ 110 w 1678"/>
                  <a:gd name="T11" fmla="*/ 1288 h 1494"/>
                  <a:gd name="T12" fmla="*/ 110 w 1678"/>
                  <a:gd name="T13" fmla="*/ 1332 h 1494"/>
                  <a:gd name="T14" fmla="*/ 22 w 1678"/>
                  <a:gd name="T15" fmla="*/ 1332 h 1494"/>
                  <a:gd name="T16" fmla="*/ 0 w 1678"/>
                  <a:gd name="T17" fmla="*/ 1354 h 1494"/>
                  <a:gd name="T18" fmla="*/ 0 w 1678"/>
                  <a:gd name="T19" fmla="*/ 1472 h 1494"/>
                  <a:gd name="T20" fmla="*/ 22 w 1678"/>
                  <a:gd name="T21" fmla="*/ 1494 h 1494"/>
                  <a:gd name="T22" fmla="*/ 1656 w 1678"/>
                  <a:gd name="T23" fmla="*/ 1494 h 1494"/>
                  <a:gd name="T24" fmla="*/ 1678 w 1678"/>
                  <a:gd name="T25" fmla="*/ 1472 h 1494"/>
                  <a:gd name="T26" fmla="*/ 1678 w 1678"/>
                  <a:gd name="T27" fmla="*/ 1354 h 1494"/>
                  <a:gd name="T28" fmla="*/ 1656 w 1678"/>
                  <a:gd name="T29" fmla="*/ 1332 h 1494"/>
                  <a:gd name="T30" fmla="*/ 1645 w 1678"/>
                  <a:gd name="T31" fmla="*/ 375 h 1494"/>
                  <a:gd name="T32" fmla="*/ 1314 w 1678"/>
                  <a:gd name="T33" fmla="*/ 375 h 1494"/>
                  <a:gd name="T34" fmla="*/ 1147 w 1678"/>
                  <a:gd name="T35" fmla="*/ 109 h 1494"/>
                  <a:gd name="T36" fmla="*/ 839 w 1678"/>
                  <a:gd name="T37" fmla="*/ 0 h 1494"/>
                  <a:gd name="T38" fmla="*/ 532 w 1678"/>
                  <a:gd name="T39" fmla="*/ 108 h 1494"/>
                  <a:gd name="T40" fmla="*/ 364 w 1678"/>
                  <a:gd name="T41" fmla="*/ 375 h 1494"/>
                  <a:gd name="T42" fmla="*/ 33 w 1678"/>
                  <a:gd name="T43" fmla="*/ 375 h 1494"/>
                  <a:gd name="T44" fmla="*/ 11 w 1678"/>
                  <a:gd name="T45" fmla="*/ 397 h 1494"/>
                  <a:gd name="T46" fmla="*/ 11 w 1678"/>
                  <a:gd name="T47" fmla="*/ 528 h 1494"/>
                  <a:gd name="T48" fmla="*/ 33 w 1678"/>
                  <a:gd name="T49" fmla="*/ 550 h 1494"/>
                  <a:gd name="T50" fmla="*/ 1645 w 1678"/>
                  <a:gd name="T51" fmla="*/ 550 h 1494"/>
                  <a:gd name="T52" fmla="*/ 1667 w 1678"/>
                  <a:gd name="T53" fmla="*/ 528 h 1494"/>
                  <a:gd name="T54" fmla="*/ 1667 w 1678"/>
                  <a:gd name="T55" fmla="*/ 397 h 1494"/>
                  <a:gd name="T56" fmla="*/ 1645 w 1678"/>
                  <a:gd name="T57" fmla="*/ 375 h 1494"/>
                  <a:gd name="T58" fmla="*/ 839 w 1678"/>
                  <a:gd name="T59" fmla="*/ 44 h 1494"/>
                  <a:gd name="T60" fmla="*/ 1269 w 1678"/>
                  <a:gd name="T61" fmla="*/ 375 h 1494"/>
                  <a:gd name="T62" fmla="*/ 409 w 1678"/>
                  <a:gd name="T63" fmla="*/ 375 h 1494"/>
                  <a:gd name="T64" fmla="*/ 839 w 1678"/>
                  <a:gd name="T65" fmla="*/ 44 h 1494"/>
                  <a:gd name="T66" fmla="*/ 1623 w 1678"/>
                  <a:gd name="T67" fmla="*/ 506 h 1494"/>
                  <a:gd name="T68" fmla="*/ 55 w 1678"/>
                  <a:gd name="T69" fmla="*/ 506 h 1494"/>
                  <a:gd name="T70" fmla="*/ 55 w 1678"/>
                  <a:gd name="T71" fmla="*/ 419 h 1494"/>
                  <a:gd name="T72" fmla="*/ 1623 w 1678"/>
                  <a:gd name="T73" fmla="*/ 419 h 1494"/>
                  <a:gd name="T74" fmla="*/ 1623 w 1678"/>
                  <a:gd name="T75" fmla="*/ 506 h 14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678" h="1494">
                    <a:moveTo>
                      <a:pt x="1656" y="1332"/>
                    </a:moveTo>
                    <a:cubicBezTo>
                      <a:pt x="1568" y="1332"/>
                      <a:pt x="1568" y="1332"/>
                      <a:pt x="1568" y="1332"/>
                    </a:cubicBezTo>
                    <a:cubicBezTo>
                      <a:pt x="1568" y="1288"/>
                      <a:pt x="1568" y="1288"/>
                      <a:pt x="1568" y="1288"/>
                    </a:cubicBezTo>
                    <a:cubicBezTo>
                      <a:pt x="1568" y="1276"/>
                      <a:pt x="1558" y="1266"/>
                      <a:pt x="1546" y="1266"/>
                    </a:cubicBezTo>
                    <a:cubicBezTo>
                      <a:pt x="132" y="1266"/>
                      <a:pt x="132" y="1266"/>
                      <a:pt x="132" y="1266"/>
                    </a:cubicBezTo>
                    <a:cubicBezTo>
                      <a:pt x="120" y="1266"/>
                      <a:pt x="110" y="1276"/>
                      <a:pt x="110" y="1288"/>
                    </a:cubicBezTo>
                    <a:cubicBezTo>
                      <a:pt x="110" y="1332"/>
                      <a:pt x="110" y="1332"/>
                      <a:pt x="110" y="1332"/>
                    </a:cubicBezTo>
                    <a:cubicBezTo>
                      <a:pt x="22" y="1332"/>
                      <a:pt x="22" y="1332"/>
                      <a:pt x="22" y="1332"/>
                    </a:cubicBezTo>
                    <a:cubicBezTo>
                      <a:pt x="10" y="1332"/>
                      <a:pt x="0" y="1342"/>
                      <a:pt x="0" y="1354"/>
                    </a:cubicBezTo>
                    <a:cubicBezTo>
                      <a:pt x="0" y="1472"/>
                      <a:pt x="0" y="1472"/>
                      <a:pt x="0" y="1472"/>
                    </a:cubicBezTo>
                    <a:cubicBezTo>
                      <a:pt x="0" y="1484"/>
                      <a:pt x="10" y="1494"/>
                      <a:pt x="22" y="1494"/>
                    </a:cubicBezTo>
                    <a:cubicBezTo>
                      <a:pt x="1656" y="1494"/>
                      <a:pt x="1656" y="1494"/>
                      <a:pt x="1656" y="1494"/>
                    </a:cubicBezTo>
                    <a:cubicBezTo>
                      <a:pt x="1668" y="1494"/>
                      <a:pt x="1678" y="1484"/>
                      <a:pt x="1678" y="1472"/>
                    </a:cubicBezTo>
                    <a:cubicBezTo>
                      <a:pt x="1678" y="1354"/>
                      <a:pt x="1678" y="1354"/>
                      <a:pt x="1678" y="1354"/>
                    </a:cubicBezTo>
                    <a:cubicBezTo>
                      <a:pt x="1678" y="1342"/>
                      <a:pt x="1668" y="1332"/>
                      <a:pt x="1656" y="1332"/>
                    </a:cubicBezTo>
                    <a:close/>
                    <a:moveTo>
                      <a:pt x="1645" y="375"/>
                    </a:moveTo>
                    <a:cubicBezTo>
                      <a:pt x="1314" y="375"/>
                      <a:pt x="1314" y="375"/>
                      <a:pt x="1314" y="375"/>
                    </a:cubicBezTo>
                    <a:cubicBezTo>
                      <a:pt x="1289" y="271"/>
                      <a:pt x="1230" y="177"/>
                      <a:pt x="1147" y="109"/>
                    </a:cubicBezTo>
                    <a:cubicBezTo>
                      <a:pt x="1060" y="38"/>
                      <a:pt x="951" y="0"/>
                      <a:pt x="839" y="0"/>
                    </a:cubicBezTo>
                    <a:cubicBezTo>
                      <a:pt x="728" y="0"/>
                      <a:pt x="619" y="38"/>
                      <a:pt x="532" y="108"/>
                    </a:cubicBezTo>
                    <a:cubicBezTo>
                      <a:pt x="448" y="176"/>
                      <a:pt x="389" y="271"/>
                      <a:pt x="364" y="375"/>
                    </a:cubicBezTo>
                    <a:cubicBezTo>
                      <a:pt x="33" y="375"/>
                      <a:pt x="33" y="375"/>
                      <a:pt x="33" y="375"/>
                    </a:cubicBezTo>
                    <a:cubicBezTo>
                      <a:pt x="21" y="375"/>
                      <a:pt x="11" y="385"/>
                      <a:pt x="11" y="397"/>
                    </a:cubicBezTo>
                    <a:cubicBezTo>
                      <a:pt x="11" y="528"/>
                      <a:pt x="11" y="528"/>
                      <a:pt x="11" y="528"/>
                    </a:cubicBezTo>
                    <a:cubicBezTo>
                      <a:pt x="11" y="540"/>
                      <a:pt x="21" y="550"/>
                      <a:pt x="33" y="550"/>
                    </a:cubicBezTo>
                    <a:cubicBezTo>
                      <a:pt x="1645" y="550"/>
                      <a:pt x="1645" y="550"/>
                      <a:pt x="1645" y="550"/>
                    </a:cubicBezTo>
                    <a:cubicBezTo>
                      <a:pt x="1657" y="550"/>
                      <a:pt x="1667" y="540"/>
                      <a:pt x="1667" y="528"/>
                    </a:cubicBezTo>
                    <a:cubicBezTo>
                      <a:pt x="1667" y="397"/>
                      <a:pt x="1667" y="397"/>
                      <a:pt x="1667" y="397"/>
                    </a:cubicBezTo>
                    <a:cubicBezTo>
                      <a:pt x="1667" y="385"/>
                      <a:pt x="1657" y="375"/>
                      <a:pt x="1645" y="375"/>
                    </a:cubicBezTo>
                    <a:close/>
                    <a:moveTo>
                      <a:pt x="839" y="44"/>
                    </a:moveTo>
                    <a:cubicBezTo>
                      <a:pt x="1040" y="44"/>
                      <a:pt x="1218" y="182"/>
                      <a:pt x="1269" y="375"/>
                    </a:cubicBezTo>
                    <a:cubicBezTo>
                      <a:pt x="409" y="375"/>
                      <a:pt x="409" y="375"/>
                      <a:pt x="409" y="375"/>
                    </a:cubicBezTo>
                    <a:cubicBezTo>
                      <a:pt x="460" y="179"/>
                      <a:pt x="635" y="44"/>
                      <a:pt x="839" y="44"/>
                    </a:cubicBezTo>
                    <a:close/>
                    <a:moveTo>
                      <a:pt x="1623" y="506"/>
                    </a:moveTo>
                    <a:cubicBezTo>
                      <a:pt x="55" y="506"/>
                      <a:pt x="55" y="506"/>
                      <a:pt x="55" y="506"/>
                    </a:cubicBezTo>
                    <a:cubicBezTo>
                      <a:pt x="55" y="419"/>
                      <a:pt x="55" y="419"/>
                      <a:pt x="55" y="419"/>
                    </a:cubicBezTo>
                    <a:cubicBezTo>
                      <a:pt x="1623" y="419"/>
                      <a:pt x="1623" y="419"/>
                      <a:pt x="1623" y="419"/>
                    </a:cubicBezTo>
                    <a:lnTo>
                      <a:pt x="1623" y="5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buClrTx/>
                  <a:buFontTx/>
                  <a:buNone/>
                </a:pPr>
                <a:endParaRPr lang="en-US" sz="1800" kern="1200">
                  <a:latin typeface="Calibri" panose="020F0502020204030204"/>
                  <a:ea typeface="+mn-ea"/>
                  <a:cs typeface="+mn-cs"/>
                </a:endParaRPr>
              </a:p>
            </p:txBody>
          </p:sp>
          <p:sp>
            <p:nvSpPr>
              <p:cNvPr id="10" name="Freeform 11">
                <a:extLst>
                  <a:ext uri="{FF2B5EF4-FFF2-40B4-BE49-F238E27FC236}">
                    <a16:creationId xmlns:a16="http://schemas.microsoft.com/office/drawing/2014/main" id="{AF6778CA-E6B1-C71B-7FBA-8EABFC2F9AC9}"/>
                  </a:ext>
                </a:extLst>
              </p:cNvPr>
              <p:cNvSpPr>
                <a:spLocks noEditPoints="1"/>
              </p:cNvSpPr>
              <p:nvPr/>
            </p:nvSpPr>
            <p:spPr bwMode="auto">
              <a:xfrm>
                <a:off x="5594982" y="2719578"/>
                <a:ext cx="1002030" cy="1155954"/>
              </a:xfrm>
              <a:custGeom>
                <a:avLst/>
                <a:gdLst>
                  <a:gd name="T0" fmla="*/ 12 w 1404"/>
                  <a:gd name="T1" fmla="*/ 1032 h 1618"/>
                  <a:gd name="T2" fmla="*/ 105 w 1404"/>
                  <a:gd name="T3" fmla="*/ 1022 h 1618"/>
                  <a:gd name="T4" fmla="*/ 127 w 1404"/>
                  <a:gd name="T5" fmla="*/ 1608 h 1618"/>
                  <a:gd name="T6" fmla="*/ 10 w 1404"/>
                  <a:gd name="T7" fmla="*/ 1618 h 1618"/>
                  <a:gd name="T8" fmla="*/ 1031 w 1404"/>
                  <a:gd name="T9" fmla="*/ 1618 h 1618"/>
                  <a:gd name="T10" fmla="*/ 1149 w 1404"/>
                  <a:gd name="T11" fmla="*/ 1608 h 1618"/>
                  <a:gd name="T12" fmla="*/ 1127 w 1404"/>
                  <a:gd name="T13" fmla="*/ 1022 h 1618"/>
                  <a:gd name="T14" fmla="*/ 1033 w 1404"/>
                  <a:gd name="T15" fmla="*/ 1032 h 1618"/>
                  <a:gd name="T16" fmla="*/ 1031 w 1404"/>
                  <a:gd name="T17" fmla="*/ 1618 h 1618"/>
                  <a:gd name="T18" fmla="*/ 1394 w 1404"/>
                  <a:gd name="T19" fmla="*/ 1618 h 1618"/>
                  <a:gd name="T20" fmla="*/ 1392 w 1404"/>
                  <a:gd name="T21" fmla="*/ 1032 h 1618"/>
                  <a:gd name="T22" fmla="*/ 1299 w 1404"/>
                  <a:gd name="T23" fmla="*/ 1022 h 1618"/>
                  <a:gd name="T24" fmla="*/ 1277 w 1404"/>
                  <a:gd name="T25" fmla="*/ 1608 h 1618"/>
                  <a:gd name="T26" fmla="*/ 776 w 1404"/>
                  <a:gd name="T27" fmla="*/ 1618 h 1618"/>
                  <a:gd name="T28" fmla="*/ 894 w 1404"/>
                  <a:gd name="T29" fmla="*/ 1608 h 1618"/>
                  <a:gd name="T30" fmla="*/ 871 w 1404"/>
                  <a:gd name="T31" fmla="*/ 1022 h 1618"/>
                  <a:gd name="T32" fmla="*/ 778 w 1404"/>
                  <a:gd name="T33" fmla="*/ 1032 h 1618"/>
                  <a:gd name="T34" fmla="*/ 776 w 1404"/>
                  <a:gd name="T35" fmla="*/ 1618 h 1618"/>
                  <a:gd name="T36" fmla="*/ 628 w 1404"/>
                  <a:gd name="T37" fmla="*/ 1618 h 1618"/>
                  <a:gd name="T38" fmla="*/ 626 w 1404"/>
                  <a:gd name="T39" fmla="*/ 1032 h 1618"/>
                  <a:gd name="T40" fmla="*/ 533 w 1404"/>
                  <a:gd name="T41" fmla="*/ 1022 h 1618"/>
                  <a:gd name="T42" fmla="*/ 510 w 1404"/>
                  <a:gd name="T43" fmla="*/ 1608 h 1618"/>
                  <a:gd name="T44" fmla="*/ 265 w 1404"/>
                  <a:gd name="T45" fmla="*/ 1618 h 1618"/>
                  <a:gd name="T46" fmla="*/ 383 w 1404"/>
                  <a:gd name="T47" fmla="*/ 1608 h 1618"/>
                  <a:gd name="T48" fmla="*/ 361 w 1404"/>
                  <a:gd name="T49" fmla="*/ 1022 h 1618"/>
                  <a:gd name="T50" fmla="*/ 267 w 1404"/>
                  <a:gd name="T51" fmla="*/ 1032 h 1618"/>
                  <a:gd name="T52" fmla="*/ 265 w 1404"/>
                  <a:gd name="T53" fmla="*/ 1618 h 1618"/>
                  <a:gd name="T54" fmla="*/ 702 w 1404"/>
                  <a:gd name="T55" fmla="*/ 368 h 1618"/>
                  <a:gd name="T56" fmla="*/ 727 w 1404"/>
                  <a:gd name="T57" fmla="*/ 200 h 1618"/>
                  <a:gd name="T58" fmla="*/ 1036 w 1404"/>
                  <a:gd name="T59" fmla="*/ 193 h 1618"/>
                  <a:gd name="T60" fmla="*/ 959 w 1404"/>
                  <a:gd name="T61" fmla="*/ 101 h 1618"/>
                  <a:gd name="T62" fmla="*/ 1040 w 1404"/>
                  <a:gd name="T63" fmla="*/ 11 h 1618"/>
                  <a:gd name="T64" fmla="*/ 720 w 1404"/>
                  <a:gd name="T65" fmla="*/ 0 h 1618"/>
                  <a:gd name="T66" fmla="*/ 681 w 1404"/>
                  <a:gd name="T67" fmla="*/ 0 h 1618"/>
                  <a:gd name="T68" fmla="*/ 675 w 1404"/>
                  <a:gd name="T69" fmla="*/ 193 h 1618"/>
                  <a:gd name="T70" fmla="*/ 675 w 1404"/>
                  <a:gd name="T71" fmla="*/ 368 h 16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404" h="1618">
                    <a:moveTo>
                      <a:pt x="0" y="1608"/>
                    </a:moveTo>
                    <a:cubicBezTo>
                      <a:pt x="12" y="1032"/>
                      <a:pt x="12" y="1032"/>
                      <a:pt x="12" y="1032"/>
                    </a:cubicBezTo>
                    <a:cubicBezTo>
                      <a:pt x="12" y="1027"/>
                      <a:pt x="16" y="1022"/>
                      <a:pt x="22" y="1022"/>
                    </a:cubicBezTo>
                    <a:cubicBezTo>
                      <a:pt x="105" y="1022"/>
                      <a:pt x="105" y="1022"/>
                      <a:pt x="105" y="1022"/>
                    </a:cubicBezTo>
                    <a:cubicBezTo>
                      <a:pt x="111" y="1022"/>
                      <a:pt x="115" y="1027"/>
                      <a:pt x="115" y="1032"/>
                    </a:cubicBezTo>
                    <a:cubicBezTo>
                      <a:pt x="127" y="1608"/>
                      <a:pt x="127" y="1608"/>
                      <a:pt x="127" y="1608"/>
                    </a:cubicBezTo>
                    <a:cubicBezTo>
                      <a:pt x="127" y="1613"/>
                      <a:pt x="123" y="1618"/>
                      <a:pt x="117" y="1618"/>
                    </a:cubicBezTo>
                    <a:cubicBezTo>
                      <a:pt x="10" y="1618"/>
                      <a:pt x="10" y="1618"/>
                      <a:pt x="10" y="1618"/>
                    </a:cubicBezTo>
                    <a:cubicBezTo>
                      <a:pt x="4" y="1618"/>
                      <a:pt x="0" y="1613"/>
                      <a:pt x="0" y="1608"/>
                    </a:cubicBezTo>
                    <a:close/>
                    <a:moveTo>
                      <a:pt x="1031" y="1618"/>
                    </a:moveTo>
                    <a:cubicBezTo>
                      <a:pt x="1139" y="1618"/>
                      <a:pt x="1139" y="1618"/>
                      <a:pt x="1139" y="1618"/>
                    </a:cubicBezTo>
                    <a:cubicBezTo>
                      <a:pt x="1144" y="1618"/>
                      <a:pt x="1149" y="1613"/>
                      <a:pt x="1149" y="1608"/>
                    </a:cubicBezTo>
                    <a:cubicBezTo>
                      <a:pt x="1137" y="1032"/>
                      <a:pt x="1137" y="1032"/>
                      <a:pt x="1137" y="1032"/>
                    </a:cubicBezTo>
                    <a:cubicBezTo>
                      <a:pt x="1137" y="1027"/>
                      <a:pt x="1132" y="1022"/>
                      <a:pt x="1127" y="1022"/>
                    </a:cubicBezTo>
                    <a:cubicBezTo>
                      <a:pt x="1043" y="1022"/>
                      <a:pt x="1043" y="1022"/>
                      <a:pt x="1043" y="1022"/>
                    </a:cubicBezTo>
                    <a:cubicBezTo>
                      <a:pt x="1038" y="1022"/>
                      <a:pt x="1033" y="1027"/>
                      <a:pt x="1033" y="1032"/>
                    </a:cubicBezTo>
                    <a:cubicBezTo>
                      <a:pt x="1021" y="1608"/>
                      <a:pt x="1021" y="1608"/>
                      <a:pt x="1021" y="1608"/>
                    </a:cubicBezTo>
                    <a:cubicBezTo>
                      <a:pt x="1021" y="1613"/>
                      <a:pt x="1026" y="1618"/>
                      <a:pt x="1031" y="1618"/>
                    </a:cubicBezTo>
                    <a:close/>
                    <a:moveTo>
                      <a:pt x="1287" y="1618"/>
                    </a:moveTo>
                    <a:cubicBezTo>
                      <a:pt x="1394" y="1618"/>
                      <a:pt x="1394" y="1618"/>
                      <a:pt x="1394" y="1618"/>
                    </a:cubicBezTo>
                    <a:cubicBezTo>
                      <a:pt x="1400" y="1618"/>
                      <a:pt x="1404" y="1613"/>
                      <a:pt x="1404" y="1608"/>
                    </a:cubicBezTo>
                    <a:cubicBezTo>
                      <a:pt x="1392" y="1032"/>
                      <a:pt x="1392" y="1032"/>
                      <a:pt x="1392" y="1032"/>
                    </a:cubicBezTo>
                    <a:cubicBezTo>
                      <a:pt x="1392" y="1027"/>
                      <a:pt x="1388" y="1022"/>
                      <a:pt x="1382" y="1022"/>
                    </a:cubicBezTo>
                    <a:cubicBezTo>
                      <a:pt x="1299" y="1022"/>
                      <a:pt x="1299" y="1022"/>
                      <a:pt x="1299" y="1022"/>
                    </a:cubicBezTo>
                    <a:cubicBezTo>
                      <a:pt x="1293" y="1022"/>
                      <a:pt x="1289" y="1027"/>
                      <a:pt x="1289" y="1032"/>
                    </a:cubicBezTo>
                    <a:cubicBezTo>
                      <a:pt x="1277" y="1608"/>
                      <a:pt x="1277" y="1608"/>
                      <a:pt x="1277" y="1608"/>
                    </a:cubicBezTo>
                    <a:cubicBezTo>
                      <a:pt x="1277" y="1613"/>
                      <a:pt x="1281" y="1618"/>
                      <a:pt x="1287" y="1618"/>
                    </a:cubicBezTo>
                    <a:close/>
                    <a:moveTo>
                      <a:pt x="776" y="1618"/>
                    </a:moveTo>
                    <a:cubicBezTo>
                      <a:pt x="883" y="1618"/>
                      <a:pt x="883" y="1618"/>
                      <a:pt x="883" y="1618"/>
                    </a:cubicBezTo>
                    <a:cubicBezTo>
                      <a:pt x="889" y="1618"/>
                      <a:pt x="894" y="1613"/>
                      <a:pt x="894" y="1608"/>
                    </a:cubicBezTo>
                    <a:cubicBezTo>
                      <a:pt x="881" y="1032"/>
                      <a:pt x="881" y="1032"/>
                      <a:pt x="881" y="1032"/>
                    </a:cubicBezTo>
                    <a:cubicBezTo>
                      <a:pt x="881" y="1027"/>
                      <a:pt x="877" y="1022"/>
                      <a:pt x="871" y="1022"/>
                    </a:cubicBezTo>
                    <a:cubicBezTo>
                      <a:pt x="788" y="1022"/>
                      <a:pt x="788" y="1022"/>
                      <a:pt x="788" y="1022"/>
                    </a:cubicBezTo>
                    <a:cubicBezTo>
                      <a:pt x="782" y="1022"/>
                      <a:pt x="778" y="1027"/>
                      <a:pt x="778" y="1032"/>
                    </a:cubicBezTo>
                    <a:cubicBezTo>
                      <a:pt x="766" y="1608"/>
                      <a:pt x="766" y="1608"/>
                      <a:pt x="766" y="1608"/>
                    </a:cubicBezTo>
                    <a:cubicBezTo>
                      <a:pt x="766" y="1613"/>
                      <a:pt x="770" y="1618"/>
                      <a:pt x="776" y="1618"/>
                    </a:cubicBezTo>
                    <a:close/>
                    <a:moveTo>
                      <a:pt x="521" y="1618"/>
                    </a:moveTo>
                    <a:cubicBezTo>
                      <a:pt x="628" y="1618"/>
                      <a:pt x="628" y="1618"/>
                      <a:pt x="628" y="1618"/>
                    </a:cubicBezTo>
                    <a:cubicBezTo>
                      <a:pt x="634" y="1618"/>
                      <a:pt x="638" y="1613"/>
                      <a:pt x="638" y="1608"/>
                    </a:cubicBezTo>
                    <a:cubicBezTo>
                      <a:pt x="626" y="1032"/>
                      <a:pt x="626" y="1032"/>
                      <a:pt x="626" y="1032"/>
                    </a:cubicBezTo>
                    <a:cubicBezTo>
                      <a:pt x="626" y="1027"/>
                      <a:pt x="622" y="1022"/>
                      <a:pt x="616" y="1022"/>
                    </a:cubicBezTo>
                    <a:cubicBezTo>
                      <a:pt x="533" y="1022"/>
                      <a:pt x="533" y="1022"/>
                      <a:pt x="533" y="1022"/>
                    </a:cubicBezTo>
                    <a:cubicBezTo>
                      <a:pt x="527" y="1022"/>
                      <a:pt x="523" y="1027"/>
                      <a:pt x="523" y="1032"/>
                    </a:cubicBezTo>
                    <a:cubicBezTo>
                      <a:pt x="510" y="1608"/>
                      <a:pt x="510" y="1608"/>
                      <a:pt x="510" y="1608"/>
                    </a:cubicBezTo>
                    <a:cubicBezTo>
                      <a:pt x="510" y="1613"/>
                      <a:pt x="515" y="1618"/>
                      <a:pt x="521" y="1618"/>
                    </a:cubicBezTo>
                    <a:close/>
                    <a:moveTo>
                      <a:pt x="265" y="1618"/>
                    </a:moveTo>
                    <a:cubicBezTo>
                      <a:pt x="373" y="1618"/>
                      <a:pt x="373" y="1618"/>
                      <a:pt x="373" y="1618"/>
                    </a:cubicBezTo>
                    <a:cubicBezTo>
                      <a:pt x="378" y="1618"/>
                      <a:pt x="383" y="1613"/>
                      <a:pt x="383" y="1608"/>
                    </a:cubicBezTo>
                    <a:cubicBezTo>
                      <a:pt x="371" y="1032"/>
                      <a:pt x="371" y="1032"/>
                      <a:pt x="371" y="1032"/>
                    </a:cubicBezTo>
                    <a:cubicBezTo>
                      <a:pt x="371" y="1027"/>
                      <a:pt x="366" y="1022"/>
                      <a:pt x="361" y="1022"/>
                    </a:cubicBezTo>
                    <a:cubicBezTo>
                      <a:pt x="277" y="1022"/>
                      <a:pt x="277" y="1022"/>
                      <a:pt x="277" y="1022"/>
                    </a:cubicBezTo>
                    <a:cubicBezTo>
                      <a:pt x="272" y="1022"/>
                      <a:pt x="267" y="1027"/>
                      <a:pt x="267" y="1032"/>
                    </a:cubicBezTo>
                    <a:cubicBezTo>
                      <a:pt x="255" y="1608"/>
                      <a:pt x="255" y="1608"/>
                      <a:pt x="255" y="1608"/>
                    </a:cubicBezTo>
                    <a:cubicBezTo>
                      <a:pt x="255" y="1613"/>
                      <a:pt x="260" y="1618"/>
                      <a:pt x="265" y="1618"/>
                    </a:cubicBezTo>
                    <a:close/>
                    <a:moveTo>
                      <a:pt x="675" y="368"/>
                    </a:moveTo>
                    <a:cubicBezTo>
                      <a:pt x="684" y="368"/>
                      <a:pt x="693" y="368"/>
                      <a:pt x="702" y="368"/>
                    </a:cubicBezTo>
                    <a:cubicBezTo>
                      <a:pt x="710" y="368"/>
                      <a:pt x="718" y="368"/>
                      <a:pt x="727" y="368"/>
                    </a:cubicBezTo>
                    <a:cubicBezTo>
                      <a:pt x="727" y="200"/>
                      <a:pt x="727" y="200"/>
                      <a:pt x="727" y="200"/>
                    </a:cubicBezTo>
                    <a:cubicBezTo>
                      <a:pt x="727" y="196"/>
                      <a:pt x="730" y="193"/>
                      <a:pt x="733" y="193"/>
                    </a:cubicBezTo>
                    <a:cubicBezTo>
                      <a:pt x="1036" y="193"/>
                      <a:pt x="1036" y="193"/>
                      <a:pt x="1036" y="193"/>
                    </a:cubicBezTo>
                    <a:cubicBezTo>
                      <a:pt x="1042" y="193"/>
                      <a:pt x="1044" y="186"/>
                      <a:pt x="1040" y="182"/>
                    </a:cubicBezTo>
                    <a:cubicBezTo>
                      <a:pt x="959" y="101"/>
                      <a:pt x="959" y="101"/>
                      <a:pt x="959" y="101"/>
                    </a:cubicBezTo>
                    <a:cubicBezTo>
                      <a:pt x="957" y="99"/>
                      <a:pt x="957" y="95"/>
                      <a:pt x="959" y="92"/>
                    </a:cubicBezTo>
                    <a:cubicBezTo>
                      <a:pt x="1040" y="11"/>
                      <a:pt x="1040" y="11"/>
                      <a:pt x="1040" y="11"/>
                    </a:cubicBezTo>
                    <a:cubicBezTo>
                      <a:pt x="1044" y="7"/>
                      <a:pt x="1042" y="0"/>
                      <a:pt x="1036" y="0"/>
                    </a:cubicBezTo>
                    <a:cubicBezTo>
                      <a:pt x="720" y="0"/>
                      <a:pt x="720" y="0"/>
                      <a:pt x="720" y="0"/>
                    </a:cubicBezTo>
                    <a:cubicBezTo>
                      <a:pt x="681" y="0"/>
                      <a:pt x="681" y="0"/>
                      <a:pt x="681" y="0"/>
                    </a:cubicBezTo>
                    <a:cubicBezTo>
                      <a:pt x="681" y="0"/>
                      <a:pt x="681" y="0"/>
                      <a:pt x="681" y="0"/>
                    </a:cubicBezTo>
                    <a:cubicBezTo>
                      <a:pt x="678" y="0"/>
                      <a:pt x="675" y="3"/>
                      <a:pt x="675" y="7"/>
                    </a:cubicBezTo>
                    <a:cubicBezTo>
                      <a:pt x="675" y="193"/>
                      <a:pt x="675" y="193"/>
                      <a:pt x="675" y="193"/>
                    </a:cubicBezTo>
                    <a:cubicBezTo>
                      <a:pt x="675" y="193"/>
                      <a:pt x="675" y="193"/>
                      <a:pt x="675" y="193"/>
                    </a:cubicBezTo>
                    <a:lnTo>
                      <a:pt x="675" y="36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buClrTx/>
                  <a:buFontTx/>
                  <a:buNone/>
                </a:pPr>
                <a:endParaRPr lang="en-US" sz="1800" kern="1200">
                  <a:latin typeface="Calibri" panose="020F0502020204030204"/>
                  <a:ea typeface="+mn-ea"/>
                  <a:cs typeface="+mn-cs"/>
                </a:endParaRPr>
              </a:p>
            </p:txBody>
          </p:sp>
        </p:grpSp>
      </p:grpSp>
      <p:sp>
        <p:nvSpPr>
          <p:cNvPr id="13" name="Rectangle 12">
            <a:extLst>
              <a:ext uri="{FF2B5EF4-FFF2-40B4-BE49-F238E27FC236}">
                <a16:creationId xmlns:a16="http://schemas.microsoft.com/office/drawing/2014/main" id="{74BDA5B0-B4C0-6E0E-B7E7-CBD8B891112A}"/>
              </a:ext>
            </a:extLst>
          </p:cNvPr>
          <p:cNvSpPr/>
          <p:nvPr/>
        </p:nvSpPr>
        <p:spPr>
          <a:xfrm>
            <a:off x="5179811" y="2469458"/>
            <a:ext cx="2754152" cy="369332"/>
          </a:xfrm>
          <a:prstGeom prst="rect">
            <a:avLst/>
          </a:prstGeom>
        </p:spPr>
        <p:txBody>
          <a:bodyPr wrap="none" lIns="0" tIns="0" rIns="0" bIns="0" anchor="ctr">
            <a:spAutoFit/>
          </a:bodyPr>
          <a:lstStyle/>
          <a:p>
            <a:pPr>
              <a:buClrTx/>
              <a:buFontTx/>
              <a:buNone/>
            </a:pPr>
            <a:r>
              <a:rPr lang="en-US" sz="2400" kern="1200" dirty="0">
                <a:latin typeface="Calibri" panose="020F0502020204030204"/>
                <a:ea typeface="+mn-ea"/>
                <a:cs typeface="+mn-cs"/>
              </a:rPr>
              <a:t>Business Performance</a:t>
            </a:r>
          </a:p>
        </p:txBody>
      </p:sp>
      <p:sp>
        <p:nvSpPr>
          <p:cNvPr id="14" name="Rectangle 13">
            <a:extLst>
              <a:ext uri="{FF2B5EF4-FFF2-40B4-BE49-F238E27FC236}">
                <a16:creationId xmlns:a16="http://schemas.microsoft.com/office/drawing/2014/main" id="{547947ED-1B12-9F0F-795C-BEC26C61623D}"/>
              </a:ext>
            </a:extLst>
          </p:cNvPr>
          <p:cNvSpPr/>
          <p:nvPr/>
        </p:nvSpPr>
        <p:spPr>
          <a:xfrm>
            <a:off x="5179811" y="3925157"/>
            <a:ext cx="2718052" cy="369332"/>
          </a:xfrm>
          <a:prstGeom prst="rect">
            <a:avLst/>
          </a:prstGeom>
        </p:spPr>
        <p:txBody>
          <a:bodyPr wrap="none" lIns="0" tIns="0" rIns="0" bIns="0" anchor="ctr">
            <a:spAutoFit/>
          </a:bodyPr>
          <a:lstStyle/>
          <a:p>
            <a:pPr>
              <a:buClrTx/>
              <a:buFontTx/>
              <a:buNone/>
            </a:pPr>
            <a:r>
              <a:rPr lang="en-US" sz="2400" kern="1200" dirty="0">
                <a:latin typeface="Calibri" panose="020F0502020204030204"/>
                <a:ea typeface="+mn-ea"/>
                <a:cs typeface="+mn-cs"/>
              </a:rPr>
              <a:t>Customer Satisfaction</a:t>
            </a:r>
          </a:p>
        </p:txBody>
      </p:sp>
      <p:sp>
        <p:nvSpPr>
          <p:cNvPr id="15" name="Title 20">
            <a:extLst>
              <a:ext uri="{FF2B5EF4-FFF2-40B4-BE49-F238E27FC236}">
                <a16:creationId xmlns:a16="http://schemas.microsoft.com/office/drawing/2014/main" id="{FEF2CEF0-C879-9EF9-1710-47C70E55A587}"/>
              </a:ext>
            </a:extLst>
          </p:cNvPr>
          <p:cNvSpPr txBox="1">
            <a:spLocks/>
          </p:cNvSpPr>
          <p:nvPr/>
        </p:nvSpPr>
        <p:spPr>
          <a:xfrm>
            <a:off x="520115" y="2681288"/>
            <a:ext cx="3127375" cy="1717393"/>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br>
              <a:rPr kumimoji="0" lang="en-US" sz="6000" b="0" i="0" u="none" strike="noStrike" kern="1200" cap="none" spc="0" normalizeH="0" baseline="0" noProof="0" dirty="0">
                <a:ln>
                  <a:noFill/>
                </a:ln>
                <a:solidFill>
                  <a:srgbClr val="D4DF33"/>
                </a:solidFill>
                <a:effectLst/>
                <a:uLnTx/>
                <a:uFillTx/>
                <a:latin typeface="Calibri" panose="020F0502020204030204" pitchFamily="34" charset="0"/>
                <a:ea typeface="+mj-ea"/>
                <a:cs typeface="+mj-cs"/>
                <a:sym typeface="Trebuchet MS" panose="020B0603020202020204" pitchFamily="34" charset="0"/>
              </a:rPr>
            </a:br>
            <a:r>
              <a:rPr kumimoji="0" lang="en-US" sz="3200" b="0" i="0" u="none" strike="noStrike" kern="1200" cap="none" spc="0" normalizeH="0" baseline="0" noProof="0" dirty="0">
                <a:ln>
                  <a:noFill/>
                </a:ln>
                <a:solidFill>
                  <a:srgbClr val="FFFFFF"/>
                </a:solidFill>
                <a:effectLst/>
                <a:uLnTx/>
                <a:uFillTx/>
                <a:latin typeface="Calibri" panose="020F0502020204030204"/>
                <a:ea typeface="+mj-ea"/>
                <a:cs typeface="Arial" panose="020B0604020202020204" pitchFamily="34" charset="0"/>
                <a:sym typeface="Arial" panose="020B0604020202020204" pitchFamily="34" charset="0"/>
              </a:rPr>
              <a:t>Topics to be covered</a:t>
            </a:r>
            <a:endParaRPr kumimoji="0" lang="en-US" sz="3200" b="0" i="0" u="none" strike="noStrike" kern="1200" cap="none" spc="0" normalizeH="0" baseline="0" noProof="0" dirty="0">
              <a:ln>
                <a:noFill/>
              </a:ln>
              <a:solidFill>
                <a:srgbClr val="FFFFFF"/>
              </a:solidFill>
              <a:effectLst/>
              <a:uLnTx/>
              <a:uFillTx/>
              <a:latin typeface="Calibri" panose="020F0502020204030204"/>
              <a:ea typeface="+mj-ea"/>
              <a:cs typeface="+mj-cs"/>
              <a:sym typeface="Trebuchet MS" panose="020B0603020202020204" pitchFamily="34" charset="0"/>
            </a:endParaRPr>
          </a:p>
        </p:txBody>
      </p:sp>
      <p:sp>
        <p:nvSpPr>
          <p:cNvPr id="17" name="Parallelogram 16">
            <a:extLst>
              <a:ext uri="{FF2B5EF4-FFF2-40B4-BE49-F238E27FC236}">
                <a16:creationId xmlns:a16="http://schemas.microsoft.com/office/drawing/2014/main" id="{E1F94F8B-2A0C-0A69-EB16-62F394F533CA}"/>
              </a:ext>
            </a:extLst>
          </p:cNvPr>
          <p:cNvSpPr/>
          <p:nvPr/>
        </p:nvSpPr>
        <p:spPr>
          <a:xfrm>
            <a:off x="3763074" y="2128800"/>
            <a:ext cx="1397362" cy="1050648"/>
          </a:xfrm>
          <a:prstGeom prst="parallelogram">
            <a:avLst/>
          </a:prstGeom>
          <a:solidFill>
            <a:srgbClr val="008C4F"/>
          </a:solidFill>
          <a:ln w="15875" cap="rnd" cmpd="sng" algn="ctr">
            <a:solidFill>
              <a:srgbClr val="008C4F"/>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8" name="Parallelogram 17">
            <a:extLst>
              <a:ext uri="{FF2B5EF4-FFF2-40B4-BE49-F238E27FC236}">
                <a16:creationId xmlns:a16="http://schemas.microsoft.com/office/drawing/2014/main" id="{9D8C3723-CD34-51EF-2CAD-7DF3CBA3D007}"/>
              </a:ext>
            </a:extLst>
          </p:cNvPr>
          <p:cNvSpPr/>
          <p:nvPr/>
        </p:nvSpPr>
        <p:spPr>
          <a:xfrm>
            <a:off x="3763074" y="3584500"/>
            <a:ext cx="1397362" cy="1050648"/>
          </a:xfrm>
          <a:prstGeom prst="parallelogram">
            <a:avLst/>
          </a:prstGeom>
          <a:solidFill>
            <a:srgbClr val="008C4F"/>
          </a:solidFill>
          <a:ln w="15875" cap="rnd" cmpd="sng" algn="ctr">
            <a:solidFill>
              <a:srgbClr val="008C4F"/>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0" name="Right Triangle 19">
            <a:extLst>
              <a:ext uri="{FF2B5EF4-FFF2-40B4-BE49-F238E27FC236}">
                <a16:creationId xmlns:a16="http://schemas.microsoft.com/office/drawing/2014/main" id="{7E3AD672-A323-64B0-BB2F-2DE358494B92}"/>
              </a:ext>
            </a:extLst>
          </p:cNvPr>
          <p:cNvSpPr/>
          <p:nvPr/>
        </p:nvSpPr>
        <p:spPr>
          <a:xfrm flipH="1" flipV="1">
            <a:off x="3763073" y="1723748"/>
            <a:ext cx="313627" cy="92253"/>
          </a:xfrm>
          <a:prstGeom prst="rtTriangle">
            <a:avLst/>
          </a:prstGeom>
          <a:solidFill>
            <a:srgbClr val="004E2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31" name="bcgIcons_Arrows Change 2 ">
            <a:extLst>
              <a:ext uri="{FF2B5EF4-FFF2-40B4-BE49-F238E27FC236}">
                <a16:creationId xmlns:a16="http://schemas.microsoft.com/office/drawing/2014/main" id="{93FDE487-D140-70A5-3C00-28A9A7213A23}"/>
              </a:ext>
            </a:extLst>
          </p:cNvPr>
          <p:cNvGrpSpPr>
            <a:grpSpLocks noChangeAspect="1"/>
          </p:cNvGrpSpPr>
          <p:nvPr/>
        </p:nvGrpSpPr>
        <p:grpSpPr>
          <a:xfrm>
            <a:off x="4029086" y="3676753"/>
            <a:ext cx="866140" cy="866140"/>
            <a:chOff x="6299993" y="2600325"/>
            <a:chExt cx="1657350" cy="1657350"/>
          </a:xfrm>
        </p:grpSpPr>
        <p:sp>
          <p:nvSpPr>
            <p:cNvPr id="32" name="AutoShape 9">
              <a:extLst>
                <a:ext uri="{FF2B5EF4-FFF2-40B4-BE49-F238E27FC236}">
                  <a16:creationId xmlns:a16="http://schemas.microsoft.com/office/drawing/2014/main" id="{77F96870-8935-9F14-1393-39414BDC1C27}"/>
                </a:ext>
              </a:extLst>
            </p:cNvPr>
            <p:cNvSpPr>
              <a:spLocks noChangeAspect="1" noChangeArrowheads="1" noTextEdit="1"/>
            </p:cNvSpPr>
            <p:nvPr/>
          </p:nvSpPr>
          <p:spPr bwMode="auto">
            <a:xfrm>
              <a:off x="6299993" y="2600325"/>
              <a:ext cx="1657350" cy="1657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buClrTx/>
                <a:buFontTx/>
                <a:buNone/>
              </a:pPr>
              <a:endParaRPr lang="en-US" sz="1800" kern="1200">
                <a:latin typeface="Calibri" panose="020F0502020204030204"/>
                <a:ea typeface="+mn-ea"/>
                <a:cs typeface="+mn-cs"/>
              </a:endParaRPr>
            </a:p>
          </p:txBody>
        </p:sp>
        <p:sp>
          <p:nvSpPr>
            <p:cNvPr id="33" name="Freeform 17">
              <a:extLst>
                <a:ext uri="{FF2B5EF4-FFF2-40B4-BE49-F238E27FC236}">
                  <a16:creationId xmlns:a16="http://schemas.microsoft.com/office/drawing/2014/main" id="{FF2CD526-CE01-CC7A-5FD7-49004854FC81}"/>
                </a:ext>
              </a:extLst>
            </p:cNvPr>
            <p:cNvSpPr>
              <a:spLocks/>
            </p:cNvSpPr>
            <p:nvPr/>
          </p:nvSpPr>
          <p:spPr bwMode="auto">
            <a:xfrm>
              <a:off x="6471443" y="2771775"/>
              <a:ext cx="1314451" cy="1082675"/>
            </a:xfrm>
            <a:custGeom>
              <a:avLst/>
              <a:gdLst>
                <a:gd name="connsiteX0" fmla="*/ 589643 w 1314451"/>
                <a:gd name="connsiteY0" fmla="*/ 765175 h 1082675"/>
                <a:gd name="connsiteX1" fmla="*/ 602602 w 1314451"/>
                <a:gd name="connsiteY1" fmla="*/ 811972 h 1082675"/>
                <a:gd name="connsiteX2" fmla="*/ 514768 w 1314451"/>
                <a:gd name="connsiteY2" fmla="*/ 917086 h 1082675"/>
                <a:gd name="connsiteX3" fmla="*/ 233986 w 1314451"/>
                <a:gd name="connsiteY3" fmla="*/ 1016439 h 1082675"/>
                <a:gd name="connsiteX4" fmla="*/ 47517 w 1314451"/>
                <a:gd name="connsiteY4" fmla="*/ 1016439 h 1082675"/>
                <a:gd name="connsiteX5" fmla="*/ 31678 w 1314451"/>
                <a:gd name="connsiteY5" fmla="*/ 1033718 h 1082675"/>
                <a:gd name="connsiteX6" fmla="*/ 47517 w 1314451"/>
                <a:gd name="connsiteY6" fmla="*/ 1050997 h 1082675"/>
                <a:gd name="connsiteX7" fmla="*/ 233986 w 1314451"/>
                <a:gd name="connsiteY7" fmla="*/ 1050997 h 1082675"/>
                <a:gd name="connsiteX8" fmla="*/ 534207 w 1314451"/>
                <a:gd name="connsiteY8" fmla="*/ 944444 h 1082675"/>
                <a:gd name="connsiteX9" fmla="*/ 617721 w 1314451"/>
                <a:gd name="connsiteY9" fmla="*/ 849410 h 1082675"/>
                <a:gd name="connsiteX10" fmla="*/ 631400 w 1314451"/>
                <a:gd name="connsiteY10" fmla="*/ 876048 h 1082675"/>
                <a:gd name="connsiteX11" fmla="*/ 635000 w 1314451"/>
                <a:gd name="connsiteY11" fmla="*/ 881088 h 1082675"/>
                <a:gd name="connsiteX12" fmla="*/ 554365 w 1314451"/>
                <a:gd name="connsiteY12" fmla="*/ 968922 h 1082675"/>
                <a:gd name="connsiteX13" fmla="*/ 233986 w 1314451"/>
                <a:gd name="connsiteY13" fmla="*/ 1082675 h 1082675"/>
                <a:gd name="connsiteX14" fmla="*/ 47517 w 1314451"/>
                <a:gd name="connsiteY14" fmla="*/ 1082675 h 1082675"/>
                <a:gd name="connsiteX15" fmla="*/ 0 w 1314451"/>
                <a:gd name="connsiteY15" fmla="*/ 1033718 h 1082675"/>
                <a:gd name="connsiteX16" fmla="*/ 47517 w 1314451"/>
                <a:gd name="connsiteY16" fmla="*/ 984761 h 1082675"/>
                <a:gd name="connsiteX17" fmla="*/ 233986 w 1314451"/>
                <a:gd name="connsiteY17" fmla="*/ 984761 h 1082675"/>
                <a:gd name="connsiteX18" fmla="*/ 494609 w 1314451"/>
                <a:gd name="connsiteY18" fmla="*/ 892607 h 1082675"/>
                <a:gd name="connsiteX19" fmla="*/ 589643 w 1314451"/>
                <a:gd name="connsiteY19" fmla="*/ 765175 h 1082675"/>
                <a:gd name="connsiteX20" fmla="*/ 1031098 w 1314451"/>
                <a:gd name="connsiteY20" fmla="*/ 0 h 1082675"/>
                <a:gd name="connsiteX21" fmla="*/ 1064180 w 1314451"/>
                <a:gd name="connsiteY21" fmla="*/ 13671 h 1082675"/>
                <a:gd name="connsiteX22" fmla="*/ 1300068 w 1314451"/>
                <a:gd name="connsiteY22" fmla="*/ 245369 h 1082675"/>
                <a:gd name="connsiteX23" fmla="*/ 1300068 w 1314451"/>
                <a:gd name="connsiteY23" fmla="*/ 246089 h 1082675"/>
                <a:gd name="connsiteX24" fmla="*/ 1302225 w 1314451"/>
                <a:gd name="connsiteY24" fmla="*/ 248247 h 1082675"/>
                <a:gd name="connsiteX25" fmla="*/ 1303664 w 1314451"/>
                <a:gd name="connsiteY25" fmla="*/ 249687 h 1082675"/>
                <a:gd name="connsiteX26" fmla="*/ 1305102 w 1314451"/>
                <a:gd name="connsiteY26" fmla="*/ 251845 h 1082675"/>
                <a:gd name="connsiteX27" fmla="*/ 1305821 w 1314451"/>
                <a:gd name="connsiteY27" fmla="*/ 253284 h 1082675"/>
                <a:gd name="connsiteX28" fmla="*/ 1307979 w 1314451"/>
                <a:gd name="connsiteY28" fmla="*/ 256882 h 1082675"/>
                <a:gd name="connsiteX29" fmla="*/ 1308698 w 1314451"/>
                <a:gd name="connsiteY29" fmla="*/ 257602 h 1082675"/>
                <a:gd name="connsiteX30" fmla="*/ 1314451 w 1314451"/>
                <a:gd name="connsiteY30" fmla="*/ 281347 h 1082675"/>
                <a:gd name="connsiteX31" fmla="*/ 1308698 w 1314451"/>
                <a:gd name="connsiteY31" fmla="*/ 304373 h 1082675"/>
                <a:gd name="connsiteX32" fmla="*/ 1307979 w 1314451"/>
                <a:gd name="connsiteY32" fmla="*/ 305812 h 1082675"/>
                <a:gd name="connsiteX33" fmla="*/ 1305821 w 1314451"/>
                <a:gd name="connsiteY33" fmla="*/ 308690 h 1082675"/>
                <a:gd name="connsiteX34" fmla="*/ 1305102 w 1314451"/>
                <a:gd name="connsiteY34" fmla="*/ 310129 h 1082675"/>
                <a:gd name="connsiteX35" fmla="*/ 1303664 w 1314451"/>
                <a:gd name="connsiteY35" fmla="*/ 312288 h 1082675"/>
                <a:gd name="connsiteX36" fmla="*/ 1302225 w 1314451"/>
                <a:gd name="connsiteY36" fmla="*/ 313727 h 1082675"/>
                <a:gd name="connsiteX37" fmla="*/ 1300068 w 1314451"/>
                <a:gd name="connsiteY37" fmla="*/ 315886 h 1082675"/>
                <a:gd name="connsiteX38" fmla="*/ 1300068 w 1314451"/>
                <a:gd name="connsiteY38" fmla="*/ 316605 h 1082675"/>
                <a:gd name="connsiteX39" fmla="*/ 1064180 w 1314451"/>
                <a:gd name="connsiteY39" fmla="*/ 548303 h 1082675"/>
                <a:gd name="connsiteX40" fmla="*/ 1031098 w 1314451"/>
                <a:gd name="connsiteY40" fmla="*/ 561975 h 1082675"/>
                <a:gd name="connsiteX41" fmla="*/ 997297 w 1314451"/>
                <a:gd name="connsiteY41" fmla="*/ 546864 h 1082675"/>
                <a:gd name="connsiteX42" fmla="*/ 998736 w 1314451"/>
                <a:gd name="connsiteY42" fmla="*/ 477787 h 1082675"/>
                <a:gd name="connsiteX43" fmla="*/ 1149042 w 1314451"/>
                <a:gd name="connsiteY43" fmla="*/ 330277 h 1082675"/>
                <a:gd name="connsiteX44" fmla="*/ 1065618 w 1314451"/>
                <a:gd name="connsiteY44" fmla="*/ 330277 h 1082675"/>
                <a:gd name="connsiteX45" fmla="*/ 850587 w 1314451"/>
                <a:gd name="connsiteY45" fmla="*/ 391440 h 1082675"/>
                <a:gd name="connsiteX46" fmla="*/ 721136 w 1314451"/>
                <a:gd name="connsiteY46" fmla="*/ 547584 h 1082675"/>
                <a:gd name="connsiteX47" fmla="*/ 706033 w 1314451"/>
                <a:gd name="connsiteY47" fmla="*/ 500812 h 1082675"/>
                <a:gd name="connsiteX48" fmla="*/ 833326 w 1314451"/>
                <a:gd name="connsiteY48" fmla="*/ 364816 h 1082675"/>
                <a:gd name="connsiteX49" fmla="*/ 1065618 w 1314451"/>
                <a:gd name="connsiteY49" fmla="*/ 298617 h 1082675"/>
                <a:gd name="connsiteX50" fmla="*/ 1149042 w 1314451"/>
                <a:gd name="connsiteY50" fmla="*/ 298617 h 1082675"/>
                <a:gd name="connsiteX51" fmla="*/ 1177809 w 1314451"/>
                <a:gd name="connsiteY51" fmla="*/ 318045 h 1082675"/>
                <a:gd name="connsiteX52" fmla="*/ 1170617 w 1314451"/>
                <a:gd name="connsiteY52" fmla="*/ 352583 h 1082675"/>
                <a:gd name="connsiteX53" fmla="*/ 1021030 w 1314451"/>
                <a:gd name="connsiteY53" fmla="*/ 500093 h 1082675"/>
                <a:gd name="connsiteX54" fmla="*/ 1020311 w 1314451"/>
                <a:gd name="connsiteY54" fmla="*/ 525277 h 1082675"/>
                <a:gd name="connsiteX55" fmla="*/ 1031098 w 1314451"/>
                <a:gd name="connsiteY55" fmla="*/ 530314 h 1082675"/>
                <a:gd name="connsiteX56" fmla="*/ 1041886 w 1314451"/>
                <a:gd name="connsiteY56" fmla="*/ 525997 h 1082675"/>
                <a:gd name="connsiteX57" fmla="*/ 1277054 w 1314451"/>
                <a:gd name="connsiteY57" fmla="*/ 294299 h 1082675"/>
                <a:gd name="connsiteX58" fmla="*/ 1277774 w 1314451"/>
                <a:gd name="connsiteY58" fmla="*/ 293580 h 1082675"/>
                <a:gd name="connsiteX59" fmla="*/ 1278493 w 1314451"/>
                <a:gd name="connsiteY59" fmla="*/ 293580 h 1082675"/>
                <a:gd name="connsiteX60" fmla="*/ 1278493 w 1314451"/>
                <a:gd name="connsiteY60" fmla="*/ 292860 h 1082675"/>
                <a:gd name="connsiteX61" fmla="*/ 1279212 w 1314451"/>
                <a:gd name="connsiteY61" fmla="*/ 292141 h 1082675"/>
                <a:gd name="connsiteX62" fmla="*/ 1279212 w 1314451"/>
                <a:gd name="connsiteY62" fmla="*/ 291421 h 1082675"/>
                <a:gd name="connsiteX63" fmla="*/ 1279931 w 1314451"/>
                <a:gd name="connsiteY63" fmla="*/ 290701 h 1082675"/>
                <a:gd name="connsiteX64" fmla="*/ 1280650 w 1314451"/>
                <a:gd name="connsiteY64" fmla="*/ 289982 h 1082675"/>
                <a:gd name="connsiteX65" fmla="*/ 1280650 w 1314451"/>
                <a:gd name="connsiteY65" fmla="*/ 289262 h 1082675"/>
                <a:gd name="connsiteX66" fmla="*/ 1282808 w 1314451"/>
                <a:gd name="connsiteY66" fmla="*/ 281347 h 1082675"/>
                <a:gd name="connsiteX67" fmla="*/ 1280650 w 1314451"/>
                <a:gd name="connsiteY67" fmla="*/ 272712 h 1082675"/>
                <a:gd name="connsiteX68" fmla="*/ 1280650 w 1314451"/>
                <a:gd name="connsiteY68" fmla="*/ 271993 h 1082675"/>
                <a:gd name="connsiteX69" fmla="*/ 1279931 w 1314451"/>
                <a:gd name="connsiteY69" fmla="*/ 271273 h 1082675"/>
                <a:gd name="connsiteX70" fmla="*/ 1279212 w 1314451"/>
                <a:gd name="connsiteY70" fmla="*/ 270554 h 1082675"/>
                <a:gd name="connsiteX71" fmla="*/ 1279212 w 1314451"/>
                <a:gd name="connsiteY71" fmla="*/ 269834 h 1082675"/>
                <a:gd name="connsiteX72" fmla="*/ 1278493 w 1314451"/>
                <a:gd name="connsiteY72" fmla="*/ 269115 h 1082675"/>
                <a:gd name="connsiteX73" fmla="*/ 1277774 w 1314451"/>
                <a:gd name="connsiteY73" fmla="*/ 268395 h 1082675"/>
                <a:gd name="connsiteX74" fmla="*/ 1277054 w 1314451"/>
                <a:gd name="connsiteY74" fmla="*/ 267676 h 1082675"/>
                <a:gd name="connsiteX75" fmla="*/ 1041886 w 1314451"/>
                <a:gd name="connsiteY75" fmla="*/ 35978 h 1082675"/>
                <a:gd name="connsiteX76" fmla="*/ 1031098 w 1314451"/>
                <a:gd name="connsiteY76" fmla="*/ 31660 h 1082675"/>
                <a:gd name="connsiteX77" fmla="*/ 1020311 w 1314451"/>
                <a:gd name="connsiteY77" fmla="*/ 36697 h 1082675"/>
                <a:gd name="connsiteX78" fmla="*/ 1021030 w 1314451"/>
                <a:gd name="connsiteY78" fmla="*/ 61882 h 1082675"/>
                <a:gd name="connsiteX79" fmla="*/ 1170617 w 1314451"/>
                <a:gd name="connsiteY79" fmla="*/ 209391 h 1082675"/>
                <a:gd name="connsiteX80" fmla="*/ 1177809 w 1314451"/>
                <a:gd name="connsiteY80" fmla="*/ 243930 h 1082675"/>
                <a:gd name="connsiteX81" fmla="*/ 1149042 w 1314451"/>
                <a:gd name="connsiteY81" fmla="*/ 264078 h 1082675"/>
                <a:gd name="connsiteX82" fmla="*/ 1065618 w 1314451"/>
                <a:gd name="connsiteY82" fmla="*/ 264078 h 1082675"/>
                <a:gd name="connsiteX83" fmla="*/ 817505 w 1314451"/>
                <a:gd name="connsiteY83" fmla="*/ 334594 h 1082675"/>
                <a:gd name="connsiteX84" fmla="*/ 689492 w 1314451"/>
                <a:gd name="connsiteY84" fmla="*/ 464115 h 1082675"/>
                <a:gd name="connsiteX85" fmla="*/ 671513 w 1314451"/>
                <a:gd name="connsiteY85" fmla="*/ 433174 h 1082675"/>
                <a:gd name="connsiteX86" fmla="*/ 800245 w 1314451"/>
                <a:gd name="connsiteY86" fmla="*/ 307971 h 1082675"/>
                <a:gd name="connsiteX87" fmla="*/ 1065618 w 1314451"/>
                <a:gd name="connsiteY87" fmla="*/ 232417 h 1082675"/>
                <a:gd name="connsiteX88" fmla="*/ 1149042 w 1314451"/>
                <a:gd name="connsiteY88" fmla="*/ 232417 h 1082675"/>
                <a:gd name="connsiteX89" fmla="*/ 998736 w 1314451"/>
                <a:gd name="connsiteY89" fmla="*/ 84188 h 1082675"/>
                <a:gd name="connsiteX90" fmla="*/ 997297 w 1314451"/>
                <a:gd name="connsiteY90" fmla="*/ 15111 h 1082675"/>
                <a:gd name="connsiteX91" fmla="*/ 1031098 w 1314451"/>
                <a:gd name="connsiteY91" fmla="*/ 0 h 1082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1314451" h="1082675">
                  <a:moveTo>
                    <a:pt x="589643" y="765175"/>
                  </a:moveTo>
                  <a:cubicBezTo>
                    <a:pt x="593243" y="781014"/>
                    <a:pt x="597563" y="796133"/>
                    <a:pt x="602602" y="811972"/>
                  </a:cubicBezTo>
                  <a:cubicBezTo>
                    <a:pt x="581724" y="850850"/>
                    <a:pt x="552205" y="886128"/>
                    <a:pt x="514768" y="917086"/>
                  </a:cubicBezTo>
                  <a:cubicBezTo>
                    <a:pt x="437733" y="981162"/>
                    <a:pt x="337659" y="1016439"/>
                    <a:pt x="233986" y="1016439"/>
                  </a:cubicBezTo>
                  <a:cubicBezTo>
                    <a:pt x="233986" y="1016439"/>
                    <a:pt x="233986" y="1016439"/>
                    <a:pt x="47517" y="1016439"/>
                  </a:cubicBezTo>
                  <a:cubicBezTo>
                    <a:pt x="38878" y="1016439"/>
                    <a:pt x="31678" y="1024359"/>
                    <a:pt x="31678" y="1033718"/>
                  </a:cubicBezTo>
                  <a:cubicBezTo>
                    <a:pt x="31678" y="1043798"/>
                    <a:pt x="38878" y="1050997"/>
                    <a:pt x="47517" y="1050997"/>
                  </a:cubicBezTo>
                  <a:cubicBezTo>
                    <a:pt x="47517" y="1050997"/>
                    <a:pt x="47517" y="1050997"/>
                    <a:pt x="233986" y="1050997"/>
                  </a:cubicBezTo>
                  <a:cubicBezTo>
                    <a:pt x="344859" y="1050997"/>
                    <a:pt x="451412" y="1013559"/>
                    <a:pt x="534207" y="944444"/>
                  </a:cubicBezTo>
                  <a:cubicBezTo>
                    <a:pt x="568044" y="916366"/>
                    <a:pt x="596123" y="883968"/>
                    <a:pt x="617721" y="849410"/>
                  </a:cubicBezTo>
                  <a:cubicBezTo>
                    <a:pt x="622041" y="858049"/>
                    <a:pt x="627081" y="867409"/>
                    <a:pt x="631400" y="876048"/>
                  </a:cubicBezTo>
                  <a:cubicBezTo>
                    <a:pt x="632840" y="877488"/>
                    <a:pt x="633560" y="879648"/>
                    <a:pt x="635000" y="881088"/>
                  </a:cubicBezTo>
                  <a:cubicBezTo>
                    <a:pt x="612682" y="913486"/>
                    <a:pt x="586043" y="942284"/>
                    <a:pt x="554365" y="968922"/>
                  </a:cubicBezTo>
                  <a:cubicBezTo>
                    <a:pt x="465811" y="1042358"/>
                    <a:pt x="352058" y="1082675"/>
                    <a:pt x="233986" y="1082675"/>
                  </a:cubicBezTo>
                  <a:cubicBezTo>
                    <a:pt x="233986" y="1082675"/>
                    <a:pt x="233986" y="1082675"/>
                    <a:pt x="47517" y="1082675"/>
                  </a:cubicBezTo>
                  <a:cubicBezTo>
                    <a:pt x="21599" y="1082675"/>
                    <a:pt x="0" y="1061077"/>
                    <a:pt x="0" y="1033718"/>
                  </a:cubicBezTo>
                  <a:cubicBezTo>
                    <a:pt x="0" y="1007080"/>
                    <a:pt x="21599" y="984761"/>
                    <a:pt x="47517" y="984761"/>
                  </a:cubicBezTo>
                  <a:cubicBezTo>
                    <a:pt x="47517" y="984761"/>
                    <a:pt x="47517" y="984761"/>
                    <a:pt x="233986" y="984761"/>
                  </a:cubicBezTo>
                  <a:cubicBezTo>
                    <a:pt x="330459" y="984761"/>
                    <a:pt x="423334" y="952363"/>
                    <a:pt x="494609" y="892607"/>
                  </a:cubicBezTo>
                  <a:cubicBezTo>
                    <a:pt x="539246" y="855889"/>
                    <a:pt x="570924" y="813412"/>
                    <a:pt x="589643" y="765175"/>
                  </a:cubicBezTo>
                  <a:close/>
                  <a:moveTo>
                    <a:pt x="1031098" y="0"/>
                  </a:moveTo>
                  <a:cubicBezTo>
                    <a:pt x="1043324" y="0"/>
                    <a:pt x="1054831" y="4317"/>
                    <a:pt x="1064180" y="13671"/>
                  </a:cubicBezTo>
                  <a:cubicBezTo>
                    <a:pt x="1064180" y="13671"/>
                    <a:pt x="1064180" y="13671"/>
                    <a:pt x="1300068" y="245369"/>
                  </a:cubicBezTo>
                  <a:cubicBezTo>
                    <a:pt x="1300068" y="246089"/>
                    <a:pt x="1300068" y="246089"/>
                    <a:pt x="1300068" y="246089"/>
                  </a:cubicBezTo>
                  <a:cubicBezTo>
                    <a:pt x="1300787" y="246808"/>
                    <a:pt x="1301506" y="247528"/>
                    <a:pt x="1302225" y="248247"/>
                  </a:cubicBezTo>
                  <a:cubicBezTo>
                    <a:pt x="1302225" y="248967"/>
                    <a:pt x="1302944" y="248967"/>
                    <a:pt x="1303664" y="249687"/>
                  </a:cubicBezTo>
                  <a:cubicBezTo>
                    <a:pt x="1303664" y="250406"/>
                    <a:pt x="1304383" y="251126"/>
                    <a:pt x="1305102" y="251845"/>
                  </a:cubicBezTo>
                  <a:cubicBezTo>
                    <a:pt x="1305102" y="252565"/>
                    <a:pt x="1305821" y="253284"/>
                    <a:pt x="1305821" y="253284"/>
                  </a:cubicBezTo>
                  <a:cubicBezTo>
                    <a:pt x="1306540" y="254723"/>
                    <a:pt x="1307260" y="255443"/>
                    <a:pt x="1307979" y="256882"/>
                  </a:cubicBezTo>
                  <a:cubicBezTo>
                    <a:pt x="1307979" y="256882"/>
                    <a:pt x="1308698" y="256882"/>
                    <a:pt x="1308698" y="257602"/>
                  </a:cubicBezTo>
                  <a:cubicBezTo>
                    <a:pt x="1312294" y="264797"/>
                    <a:pt x="1314451" y="272712"/>
                    <a:pt x="1314451" y="281347"/>
                  </a:cubicBezTo>
                  <a:cubicBezTo>
                    <a:pt x="1314451" y="289982"/>
                    <a:pt x="1312294" y="297897"/>
                    <a:pt x="1308698" y="304373"/>
                  </a:cubicBezTo>
                  <a:cubicBezTo>
                    <a:pt x="1308698" y="305093"/>
                    <a:pt x="1307979" y="305093"/>
                    <a:pt x="1307979" y="305812"/>
                  </a:cubicBezTo>
                  <a:cubicBezTo>
                    <a:pt x="1307260" y="306532"/>
                    <a:pt x="1306540" y="307971"/>
                    <a:pt x="1305821" y="308690"/>
                  </a:cubicBezTo>
                  <a:cubicBezTo>
                    <a:pt x="1305821" y="309410"/>
                    <a:pt x="1305102" y="309410"/>
                    <a:pt x="1305102" y="310129"/>
                  </a:cubicBezTo>
                  <a:cubicBezTo>
                    <a:pt x="1304383" y="310849"/>
                    <a:pt x="1303664" y="311569"/>
                    <a:pt x="1303664" y="312288"/>
                  </a:cubicBezTo>
                  <a:cubicBezTo>
                    <a:pt x="1302944" y="313008"/>
                    <a:pt x="1302225" y="313727"/>
                    <a:pt x="1302225" y="313727"/>
                  </a:cubicBezTo>
                  <a:cubicBezTo>
                    <a:pt x="1301506" y="314447"/>
                    <a:pt x="1300787" y="315166"/>
                    <a:pt x="1300068" y="315886"/>
                  </a:cubicBezTo>
                  <a:cubicBezTo>
                    <a:pt x="1300068" y="315886"/>
                    <a:pt x="1300068" y="316605"/>
                    <a:pt x="1300068" y="316605"/>
                  </a:cubicBezTo>
                  <a:cubicBezTo>
                    <a:pt x="1300068" y="316605"/>
                    <a:pt x="1300068" y="316605"/>
                    <a:pt x="1064180" y="548303"/>
                  </a:cubicBezTo>
                  <a:cubicBezTo>
                    <a:pt x="1054831" y="557657"/>
                    <a:pt x="1043324" y="561975"/>
                    <a:pt x="1031098" y="561975"/>
                  </a:cubicBezTo>
                  <a:cubicBezTo>
                    <a:pt x="1018872" y="561975"/>
                    <a:pt x="1006646" y="556938"/>
                    <a:pt x="997297" y="546864"/>
                  </a:cubicBezTo>
                  <a:cubicBezTo>
                    <a:pt x="979318" y="527436"/>
                    <a:pt x="980037" y="496495"/>
                    <a:pt x="998736" y="477787"/>
                  </a:cubicBezTo>
                  <a:cubicBezTo>
                    <a:pt x="998736" y="477787"/>
                    <a:pt x="998736" y="477787"/>
                    <a:pt x="1149042" y="330277"/>
                  </a:cubicBezTo>
                  <a:cubicBezTo>
                    <a:pt x="1149042" y="330277"/>
                    <a:pt x="1149042" y="330277"/>
                    <a:pt x="1065618" y="330277"/>
                  </a:cubicBezTo>
                  <a:cubicBezTo>
                    <a:pt x="987948" y="330277"/>
                    <a:pt x="913154" y="351144"/>
                    <a:pt x="850587" y="391440"/>
                  </a:cubicBezTo>
                  <a:cubicBezTo>
                    <a:pt x="785861" y="432454"/>
                    <a:pt x="742711" y="484263"/>
                    <a:pt x="721136" y="547584"/>
                  </a:cubicBezTo>
                  <a:cubicBezTo>
                    <a:pt x="716821" y="531753"/>
                    <a:pt x="711787" y="515923"/>
                    <a:pt x="706033" y="500812"/>
                  </a:cubicBezTo>
                  <a:cubicBezTo>
                    <a:pt x="732643" y="447565"/>
                    <a:pt x="775074" y="401513"/>
                    <a:pt x="833326" y="364816"/>
                  </a:cubicBezTo>
                  <a:cubicBezTo>
                    <a:pt x="901648" y="320923"/>
                    <a:pt x="981476" y="298617"/>
                    <a:pt x="1065618" y="298617"/>
                  </a:cubicBezTo>
                  <a:cubicBezTo>
                    <a:pt x="1065618" y="298617"/>
                    <a:pt x="1065618" y="298617"/>
                    <a:pt x="1149042" y="298617"/>
                  </a:cubicBezTo>
                  <a:cubicBezTo>
                    <a:pt x="1161268" y="298617"/>
                    <a:pt x="1173494" y="305812"/>
                    <a:pt x="1177809" y="318045"/>
                  </a:cubicBezTo>
                  <a:cubicBezTo>
                    <a:pt x="1182843" y="329558"/>
                    <a:pt x="1179966" y="343229"/>
                    <a:pt x="1170617" y="352583"/>
                  </a:cubicBezTo>
                  <a:cubicBezTo>
                    <a:pt x="1170617" y="352583"/>
                    <a:pt x="1170617" y="352583"/>
                    <a:pt x="1021030" y="500093"/>
                  </a:cubicBezTo>
                  <a:cubicBezTo>
                    <a:pt x="1013838" y="507288"/>
                    <a:pt x="1013838" y="518801"/>
                    <a:pt x="1020311" y="525277"/>
                  </a:cubicBezTo>
                  <a:cubicBezTo>
                    <a:pt x="1023187" y="528875"/>
                    <a:pt x="1027502" y="530314"/>
                    <a:pt x="1031098" y="530314"/>
                  </a:cubicBezTo>
                  <a:cubicBezTo>
                    <a:pt x="1033975" y="530314"/>
                    <a:pt x="1038290" y="529595"/>
                    <a:pt x="1041886" y="525997"/>
                  </a:cubicBezTo>
                  <a:cubicBezTo>
                    <a:pt x="1041886" y="525997"/>
                    <a:pt x="1041886" y="525997"/>
                    <a:pt x="1277054" y="294299"/>
                  </a:cubicBezTo>
                  <a:cubicBezTo>
                    <a:pt x="1277054" y="294299"/>
                    <a:pt x="1277054" y="294299"/>
                    <a:pt x="1277774" y="293580"/>
                  </a:cubicBezTo>
                  <a:cubicBezTo>
                    <a:pt x="1277774" y="293580"/>
                    <a:pt x="1277774" y="293580"/>
                    <a:pt x="1278493" y="293580"/>
                  </a:cubicBezTo>
                  <a:cubicBezTo>
                    <a:pt x="1278493" y="293580"/>
                    <a:pt x="1278493" y="293580"/>
                    <a:pt x="1278493" y="292860"/>
                  </a:cubicBezTo>
                  <a:cubicBezTo>
                    <a:pt x="1278493" y="292860"/>
                    <a:pt x="1278493" y="292860"/>
                    <a:pt x="1279212" y="292141"/>
                  </a:cubicBezTo>
                  <a:cubicBezTo>
                    <a:pt x="1279212" y="292141"/>
                    <a:pt x="1279212" y="292141"/>
                    <a:pt x="1279212" y="291421"/>
                  </a:cubicBezTo>
                  <a:cubicBezTo>
                    <a:pt x="1279931" y="291421"/>
                    <a:pt x="1279931" y="291421"/>
                    <a:pt x="1279931" y="290701"/>
                  </a:cubicBezTo>
                  <a:cubicBezTo>
                    <a:pt x="1279931" y="290701"/>
                    <a:pt x="1279931" y="290701"/>
                    <a:pt x="1280650" y="289982"/>
                  </a:cubicBezTo>
                  <a:cubicBezTo>
                    <a:pt x="1280650" y="289982"/>
                    <a:pt x="1280650" y="289262"/>
                    <a:pt x="1280650" y="289262"/>
                  </a:cubicBezTo>
                  <a:cubicBezTo>
                    <a:pt x="1282089" y="286384"/>
                    <a:pt x="1282808" y="284225"/>
                    <a:pt x="1282808" y="281347"/>
                  </a:cubicBezTo>
                  <a:cubicBezTo>
                    <a:pt x="1282808" y="278469"/>
                    <a:pt x="1282089" y="275591"/>
                    <a:pt x="1280650" y="272712"/>
                  </a:cubicBezTo>
                  <a:cubicBezTo>
                    <a:pt x="1280650" y="272712"/>
                    <a:pt x="1280650" y="271993"/>
                    <a:pt x="1280650" y="271993"/>
                  </a:cubicBezTo>
                  <a:cubicBezTo>
                    <a:pt x="1279931" y="271993"/>
                    <a:pt x="1279931" y="271273"/>
                    <a:pt x="1279931" y="271273"/>
                  </a:cubicBezTo>
                  <a:cubicBezTo>
                    <a:pt x="1279931" y="271273"/>
                    <a:pt x="1279931" y="270554"/>
                    <a:pt x="1279212" y="270554"/>
                  </a:cubicBezTo>
                  <a:cubicBezTo>
                    <a:pt x="1279212" y="269834"/>
                    <a:pt x="1279212" y="269834"/>
                    <a:pt x="1279212" y="269834"/>
                  </a:cubicBezTo>
                  <a:cubicBezTo>
                    <a:pt x="1279212" y="269834"/>
                    <a:pt x="1279212" y="269834"/>
                    <a:pt x="1278493" y="269115"/>
                  </a:cubicBezTo>
                  <a:cubicBezTo>
                    <a:pt x="1277774" y="268395"/>
                    <a:pt x="1277774" y="268395"/>
                    <a:pt x="1277774" y="268395"/>
                  </a:cubicBezTo>
                  <a:cubicBezTo>
                    <a:pt x="1277054" y="268395"/>
                    <a:pt x="1277054" y="267676"/>
                    <a:pt x="1277054" y="267676"/>
                  </a:cubicBezTo>
                  <a:cubicBezTo>
                    <a:pt x="1277054" y="267676"/>
                    <a:pt x="1277054" y="267676"/>
                    <a:pt x="1041886" y="35978"/>
                  </a:cubicBezTo>
                  <a:cubicBezTo>
                    <a:pt x="1038290" y="32380"/>
                    <a:pt x="1033975" y="31660"/>
                    <a:pt x="1031098" y="31660"/>
                  </a:cubicBezTo>
                  <a:cubicBezTo>
                    <a:pt x="1027502" y="31660"/>
                    <a:pt x="1023187" y="33100"/>
                    <a:pt x="1020311" y="36697"/>
                  </a:cubicBezTo>
                  <a:cubicBezTo>
                    <a:pt x="1013838" y="43893"/>
                    <a:pt x="1013838" y="55406"/>
                    <a:pt x="1021030" y="61882"/>
                  </a:cubicBezTo>
                  <a:cubicBezTo>
                    <a:pt x="1021030" y="61882"/>
                    <a:pt x="1021030" y="61882"/>
                    <a:pt x="1170617" y="209391"/>
                  </a:cubicBezTo>
                  <a:cubicBezTo>
                    <a:pt x="1179966" y="218746"/>
                    <a:pt x="1182843" y="232417"/>
                    <a:pt x="1177809" y="243930"/>
                  </a:cubicBezTo>
                  <a:cubicBezTo>
                    <a:pt x="1173494" y="256163"/>
                    <a:pt x="1161268" y="264078"/>
                    <a:pt x="1149042" y="264078"/>
                  </a:cubicBezTo>
                  <a:cubicBezTo>
                    <a:pt x="1149042" y="264078"/>
                    <a:pt x="1149042" y="264078"/>
                    <a:pt x="1065618" y="264078"/>
                  </a:cubicBezTo>
                  <a:cubicBezTo>
                    <a:pt x="976441" y="264078"/>
                    <a:pt x="890141" y="288543"/>
                    <a:pt x="817505" y="334594"/>
                  </a:cubicBezTo>
                  <a:cubicBezTo>
                    <a:pt x="762129" y="369853"/>
                    <a:pt x="718978" y="413746"/>
                    <a:pt x="689492" y="464115"/>
                  </a:cubicBezTo>
                  <a:cubicBezTo>
                    <a:pt x="683739" y="454041"/>
                    <a:pt x="677986" y="443248"/>
                    <a:pt x="671513" y="433174"/>
                  </a:cubicBezTo>
                  <a:cubicBezTo>
                    <a:pt x="703157" y="384964"/>
                    <a:pt x="746307" y="342510"/>
                    <a:pt x="800245" y="307971"/>
                  </a:cubicBezTo>
                  <a:cubicBezTo>
                    <a:pt x="878634" y="258321"/>
                    <a:pt x="969969" y="232417"/>
                    <a:pt x="1065618" y="232417"/>
                  </a:cubicBezTo>
                  <a:cubicBezTo>
                    <a:pt x="1065618" y="232417"/>
                    <a:pt x="1065618" y="232417"/>
                    <a:pt x="1149042" y="232417"/>
                  </a:cubicBezTo>
                  <a:cubicBezTo>
                    <a:pt x="1149042" y="232417"/>
                    <a:pt x="1149042" y="232417"/>
                    <a:pt x="998736" y="84188"/>
                  </a:cubicBezTo>
                  <a:cubicBezTo>
                    <a:pt x="980037" y="65480"/>
                    <a:pt x="979318" y="34539"/>
                    <a:pt x="997297" y="15111"/>
                  </a:cubicBezTo>
                  <a:cubicBezTo>
                    <a:pt x="1006646" y="5037"/>
                    <a:pt x="1018872" y="0"/>
                    <a:pt x="1031098" y="0"/>
                  </a:cubicBez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p>
              <a:pPr>
                <a:buClrTx/>
                <a:buFontTx/>
                <a:buNone/>
              </a:pPr>
              <a:endParaRPr lang="en-US" sz="1800" kern="1200">
                <a:latin typeface="Calibri" panose="020F0502020204030204"/>
                <a:ea typeface="+mn-ea"/>
                <a:cs typeface="+mn-cs"/>
              </a:endParaRPr>
            </a:p>
          </p:txBody>
        </p:sp>
        <p:sp>
          <p:nvSpPr>
            <p:cNvPr id="34" name="Freeform 13">
              <a:extLst>
                <a:ext uri="{FF2B5EF4-FFF2-40B4-BE49-F238E27FC236}">
                  <a16:creationId xmlns:a16="http://schemas.microsoft.com/office/drawing/2014/main" id="{6A0C6BA4-B0E1-5A58-70AB-D28AE0D38312}"/>
                </a:ext>
              </a:extLst>
            </p:cNvPr>
            <p:cNvSpPr>
              <a:spLocks/>
            </p:cNvSpPr>
            <p:nvPr/>
          </p:nvSpPr>
          <p:spPr bwMode="auto">
            <a:xfrm>
              <a:off x="6471443" y="3005138"/>
              <a:ext cx="1314450" cy="1082675"/>
            </a:xfrm>
            <a:custGeom>
              <a:avLst/>
              <a:gdLst>
                <a:gd name="T0" fmla="*/ 1820 w 1828"/>
                <a:gd name="T1" fmla="*/ 1082 h 1505"/>
                <a:gd name="T2" fmla="*/ 1819 w 1828"/>
                <a:gd name="T3" fmla="*/ 1080 h 1505"/>
                <a:gd name="T4" fmla="*/ 1816 w 1828"/>
                <a:gd name="T5" fmla="*/ 1076 h 1505"/>
                <a:gd name="T6" fmla="*/ 1815 w 1828"/>
                <a:gd name="T7" fmla="*/ 1074 h 1505"/>
                <a:gd name="T8" fmla="*/ 1813 w 1828"/>
                <a:gd name="T9" fmla="*/ 1071 h 1505"/>
                <a:gd name="T10" fmla="*/ 1811 w 1828"/>
                <a:gd name="T11" fmla="*/ 1069 h 1505"/>
                <a:gd name="T12" fmla="*/ 1808 w 1828"/>
                <a:gd name="T13" fmla="*/ 1066 h 1505"/>
                <a:gd name="T14" fmla="*/ 1808 w 1828"/>
                <a:gd name="T15" fmla="*/ 1065 h 1505"/>
                <a:gd name="T16" fmla="*/ 1480 w 1828"/>
                <a:gd name="T17" fmla="*/ 743 h 1505"/>
                <a:gd name="T18" fmla="*/ 1434 w 1828"/>
                <a:gd name="T19" fmla="*/ 724 h 1505"/>
                <a:gd name="T20" fmla="*/ 1387 w 1828"/>
                <a:gd name="T21" fmla="*/ 745 h 1505"/>
                <a:gd name="T22" fmla="*/ 1389 w 1828"/>
                <a:gd name="T23" fmla="*/ 841 h 1505"/>
                <a:gd name="T24" fmla="*/ 1598 w 1828"/>
                <a:gd name="T25" fmla="*/ 1046 h 1505"/>
                <a:gd name="T26" fmla="*/ 1482 w 1828"/>
                <a:gd name="T27" fmla="*/ 1046 h 1505"/>
                <a:gd name="T28" fmla="*/ 1183 w 1828"/>
                <a:gd name="T29" fmla="*/ 961 h 1505"/>
                <a:gd name="T30" fmla="*/ 980 w 1828"/>
                <a:gd name="T31" fmla="*/ 602 h 1505"/>
                <a:gd name="T32" fmla="*/ 980 w 1828"/>
                <a:gd name="T33" fmla="*/ 591 h 1505"/>
                <a:gd name="T34" fmla="*/ 957 w 1828"/>
                <a:gd name="T35" fmla="*/ 436 h 1505"/>
                <a:gd name="T36" fmla="*/ 933 w 1828"/>
                <a:gd name="T37" fmla="*/ 372 h 1505"/>
                <a:gd name="T38" fmla="*/ 908 w 1828"/>
                <a:gd name="T39" fmla="*/ 322 h 1505"/>
                <a:gd name="T40" fmla="*/ 770 w 1828"/>
                <a:gd name="T41" fmla="*/ 158 h 1505"/>
                <a:gd name="T42" fmla="*/ 325 w 1828"/>
                <a:gd name="T43" fmla="*/ 0 h 1505"/>
                <a:gd name="T44" fmla="*/ 66 w 1828"/>
                <a:gd name="T45" fmla="*/ 0 h 1505"/>
                <a:gd name="T46" fmla="*/ 0 w 1828"/>
                <a:gd name="T47" fmla="*/ 68 h 1505"/>
                <a:gd name="T48" fmla="*/ 66 w 1828"/>
                <a:gd name="T49" fmla="*/ 136 h 1505"/>
                <a:gd name="T50" fmla="*/ 325 w 1828"/>
                <a:gd name="T51" fmla="*/ 136 h 1505"/>
                <a:gd name="T52" fmla="*/ 687 w 1828"/>
                <a:gd name="T53" fmla="*/ 264 h 1505"/>
                <a:gd name="T54" fmla="*/ 848 w 1828"/>
                <a:gd name="T55" fmla="*/ 591 h 1505"/>
                <a:gd name="T56" fmla="*/ 848 w 1828"/>
                <a:gd name="T57" fmla="*/ 602 h 1505"/>
                <a:gd name="T58" fmla="*/ 865 w 1828"/>
                <a:gd name="T59" fmla="*/ 744 h 1505"/>
                <a:gd name="T60" fmla="*/ 885 w 1828"/>
                <a:gd name="T61" fmla="*/ 809 h 1505"/>
                <a:gd name="T62" fmla="*/ 908 w 1828"/>
                <a:gd name="T63" fmla="*/ 860 h 1505"/>
                <a:gd name="T64" fmla="*/ 1113 w 1828"/>
                <a:gd name="T65" fmla="*/ 1077 h 1505"/>
                <a:gd name="T66" fmla="*/ 1482 w 1828"/>
                <a:gd name="T67" fmla="*/ 1182 h 1505"/>
                <a:gd name="T68" fmla="*/ 1598 w 1828"/>
                <a:gd name="T69" fmla="*/ 1182 h 1505"/>
                <a:gd name="T70" fmla="*/ 1389 w 1828"/>
                <a:gd name="T71" fmla="*/ 1388 h 1505"/>
                <a:gd name="T72" fmla="*/ 1387 w 1828"/>
                <a:gd name="T73" fmla="*/ 1484 h 1505"/>
                <a:gd name="T74" fmla="*/ 1434 w 1828"/>
                <a:gd name="T75" fmla="*/ 1505 h 1505"/>
                <a:gd name="T76" fmla="*/ 1480 w 1828"/>
                <a:gd name="T77" fmla="*/ 1486 h 1505"/>
                <a:gd name="T78" fmla="*/ 1808 w 1828"/>
                <a:gd name="T79" fmla="*/ 1164 h 1505"/>
                <a:gd name="T80" fmla="*/ 1808 w 1828"/>
                <a:gd name="T81" fmla="*/ 1163 h 1505"/>
                <a:gd name="T82" fmla="*/ 1811 w 1828"/>
                <a:gd name="T83" fmla="*/ 1160 h 1505"/>
                <a:gd name="T84" fmla="*/ 1813 w 1828"/>
                <a:gd name="T85" fmla="*/ 1158 h 1505"/>
                <a:gd name="T86" fmla="*/ 1815 w 1828"/>
                <a:gd name="T87" fmla="*/ 1155 h 1505"/>
                <a:gd name="T88" fmla="*/ 1816 w 1828"/>
                <a:gd name="T89" fmla="*/ 1153 h 1505"/>
                <a:gd name="T90" fmla="*/ 1819 w 1828"/>
                <a:gd name="T91" fmla="*/ 1148 h 1505"/>
                <a:gd name="T92" fmla="*/ 1820 w 1828"/>
                <a:gd name="T93" fmla="*/ 1147 h 1505"/>
                <a:gd name="T94" fmla="*/ 1828 w 1828"/>
                <a:gd name="T95" fmla="*/ 1114 h 1505"/>
                <a:gd name="T96" fmla="*/ 1820 w 1828"/>
                <a:gd name="T97" fmla="*/ 1082 h 15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28" h="1505">
                  <a:moveTo>
                    <a:pt x="1820" y="1082"/>
                  </a:moveTo>
                  <a:cubicBezTo>
                    <a:pt x="1820" y="1081"/>
                    <a:pt x="1819" y="1081"/>
                    <a:pt x="1819" y="1080"/>
                  </a:cubicBezTo>
                  <a:cubicBezTo>
                    <a:pt x="1818" y="1079"/>
                    <a:pt x="1817" y="1077"/>
                    <a:pt x="1816" y="1076"/>
                  </a:cubicBezTo>
                  <a:cubicBezTo>
                    <a:pt x="1816" y="1075"/>
                    <a:pt x="1815" y="1075"/>
                    <a:pt x="1815" y="1074"/>
                  </a:cubicBezTo>
                  <a:cubicBezTo>
                    <a:pt x="1814" y="1073"/>
                    <a:pt x="1813" y="1072"/>
                    <a:pt x="1813" y="1071"/>
                  </a:cubicBezTo>
                  <a:cubicBezTo>
                    <a:pt x="1812" y="1070"/>
                    <a:pt x="1811" y="1069"/>
                    <a:pt x="1811" y="1069"/>
                  </a:cubicBezTo>
                  <a:cubicBezTo>
                    <a:pt x="1810" y="1068"/>
                    <a:pt x="1809" y="1067"/>
                    <a:pt x="1808" y="1066"/>
                  </a:cubicBezTo>
                  <a:cubicBezTo>
                    <a:pt x="1808" y="1066"/>
                    <a:pt x="1808" y="1065"/>
                    <a:pt x="1808" y="1065"/>
                  </a:cubicBezTo>
                  <a:cubicBezTo>
                    <a:pt x="1480" y="743"/>
                    <a:pt x="1480" y="743"/>
                    <a:pt x="1480" y="743"/>
                  </a:cubicBezTo>
                  <a:cubicBezTo>
                    <a:pt x="1467" y="730"/>
                    <a:pt x="1451" y="724"/>
                    <a:pt x="1434" y="724"/>
                  </a:cubicBezTo>
                  <a:cubicBezTo>
                    <a:pt x="1417" y="724"/>
                    <a:pt x="1400" y="731"/>
                    <a:pt x="1387" y="745"/>
                  </a:cubicBezTo>
                  <a:cubicBezTo>
                    <a:pt x="1362" y="772"/>
                    <a:pt x="1363" y="815"/>
                    <a:pt x="1389" y="841"/>
                  </a:cubicBezTo>
                  <a:cubicBezTo>
                    <a:pt x="1598" y="1046"/>
                    <a:pt x="1598" y="1046"/>
                    <a:pt x="1598" y="1046"/>
                  </a:cubicBezTo>
                  <a:cubicBezTo>
                    <a:pt x="1482" y="1046"/>
                    <a:pt x="1482" y="1046"/>
                    <a:pt x="1482" y="1046"/>
                  </a:cubicBezTo>
                  <a:cubicBezTo>
                    <a:pt x="1374" y="1046"/>
                    <a:pt x="1270" y="1017"/>
                    <a:pt x="1183" y="961"/>
                  </a:cubicBezTo>
                  <a:cubicBezTo>
                    <a:pt x="1048" y="876"/>
                    <a:pt x="980" y="755"/>
                    <a:pt x="980" y="602"/>
                  </a:cubicBezTo>
                  <a:cubicBezTo>
                    <a:pt x="980" y="598"/>
                    <a:pt x="980" y="595"/>
                    <a:pt x="980" y="591"/>
                  </a:cubicBezTo>
                  <a:cubicBezTo>
                    <a:pt x="979" y="537"/>
                    <a:pt x="971" y="485"/>
                    <a:pt x="957" y="436"/>
                  </a:cubicBezTo>
                  <a:cubicBezTo>
                    <a:pt x="950" y="414"/>
                    <a:pt x="942" y="393"/>
                    <a:pt x="933" y="372"/>
                  </a:cubicBezTo>
                  <a:cubicBezTo>
                    <a:pt x="926" y="355"/>
                    <a:pt x="918" y="339"/>
                    <a:pt x="908" y="322"/>
                  </a:cubicBezTo>
                  <a:cubicBezTo>
                    <a:pt x="874" y="261"/>
                    <a:pt x="828" y="206"/>
                    <a:pt x="770" y="158"/>
                  </a:cubicBezTo>
                  <a:cubicBezTo>
                    <a:pt x="647" y="56"/>
                    <a:pt x="489" y="0"/>
                    <a:pt x="325" y="0"/>
                  </a:cubicBezTo>
                  <a:cubicBezTo>
                    <a:pt x="66" y="0"/>
                    <a:pt x="66" y="0"/>
                    <a:pt x="66" y="0"/>
                  </a:cubicBezTo>
                  <a:cubicBezTo>
                    <a:pt x="30" y="0"/>
                    <a:pt x="0" y="30"/>
                    <a:pt x="0" y="68"/>
                  </a:cubicBezTo>
                  <a:cubicBezTo>
                    <a:pt x="0" y="105"/>
                    <a:pt x="30" y="136"/>
                    <a:pt x="66" y="136"/>
                  </a:cubicBezTo>
                  <a:cubicBezTo>
                    <a:pt x="325" y="136"/>
                    <a:pt x="325" y="136"/>
                    <a:pt x="325" y="136"/>
                  </a:cubicBezTo>
                  <a:cubicBezTo>
                    <a:pt x="459" y="136"/>
                    <a:pt x="588" y="181"/>
                    <a:pt x="687" y="264"/>
                  </a:cubicBezTo>
                  <a:cubicBezTo>
                    <a:pt x="791" y="350"/>
                    <a:pt x="845" y="460"/>
                    <a:pt x="848" y="591"/>
                  </a:cubicBezTo>
                  <a:cubicBezTo>
                    <a:pt x="848" y="595"/>
                    <a:pt x="848" y="598"/>
                    <a:pt x="848" y="602"/>
                  </a:cubicBezTo>
                  <a:cubicBezTo>
                    <a:pt x="848" y="652"/>
                    <a:pt x="854" y="699"/>
                    <a:pt x="865" y="744"/>
                  </a:cubicBezTo>
                  <a:cubicBezTo>
                    <a:pt x="870" y="766"/>
                    <a:pt x="877" y="788"/>
                    <a:pt x="885" y="809"/>
                  </a:cubicBezTo>
                  <a:cubicBezTo>
                    <a:pt x="892" y="826"/>
                    <a:pt x="900" y="843"/>
                    <a:pt x="908" y="860"/>
                  </a:cubicBezTo>
                  <a:cubicBezTo>
                    <a:pt x="953" y="945"/>
                    <a:pt x="1022" y="1019"/>
                    <a:pt x="1113" y="1077"/>
                  </a:cubicBezTo>
                  <a:cubicBezTo>
                    <a:pt x="1222" y="1146"/>
                    <a:pt x="1349" y="1182"/>
                    <a:pt x="1482" y="1182"/>
                  </a:cubicBezTo>
                  <a:cubicBezTo>
                    <a:pt x="1598" y="1182"/>
                    <a:pt x="1598" y="1182"/>
                    <a:pt x="1598" y="1182"/>
                  </a:cubicBezTo>
                  <a:cubicBezTo>
                    <a:pt x="1389" y="1388"/>
                    <a:pt x="1389" y="1388"/>
                    <a:pt x="1389" y="1388"/>
                  </a:cubicBezTo>
                  <a:cubicBezTo>
                    <a:pt x="1363" y="1414"/>
                    <a:pt x="1362" y="1457"/>
                    <a:pt x="1387" y="1484"/>
                  </a:cubicBezTo>
                  <a:cubicBezTo>
                    <a:pt x="1400" y="1498"/>
                    <a:pt x="1417" y="1505"/>
                    <a:pt x="1434" y="1505"/>
                  </a:cubicBezTo>
                  <a:cubicBezTo>
                    <a:pt x="1451" y="1505"/>
                    <a:pt x="1467" y="1499"/>
                    <a:pt x="1480" y="1486"/>
                  </a:cubicBezTo>
                  <a:cubicBezTo>
                    <a:pt x="1808" y="1164"/>
                    <a:pt x="1808" y="1164"/>
                    <a:pt x="1808" y="1164"/>
                  </a:cubicBezTo>
                  <a:cubicBezTo>
                    <a:pt x="1808" y="1163"/>
                    <a:pt x="1808" y="1163"/>
                    <a:pt x="1808" y="1163"/>
                  </a:cubicBezTo>
                  <a:cubicBezTo>
                    <a:pt x="1809" y="1162"/>
                    <a:pt x="1810" y="1161"/>
                    <a:pt x="1811" y="1160"/>
                  </a:cubicBezTo>
                  <a:cubicBezTo>
                    <a:pt x="1811" y="1159"/>
                    <a:pt x="1812" y="1159"/>
                    <a:pt x="1813" y="1158"/>
                  </a:cubicBezTo>
                  <a:cubicBezTo>
                    <a:pt x="1813" y="1157"/>
                    <a:pt x="1814" y="1156"/>
                    <a:pt x="1815" y="1155"/>
                  </a:cubicBezTo>
                  <a:cubicBezTo>
                    <a:pt x="1815" y="1154"/>
                    <a:pt x="1816" y="1153"/>
                    <a:pt x="1816" y="1153"/>
                  </a:cubicBezTo>
                  <a:cubicBezTo>
                    <a:pt x="1817" y="1151"/>
                    <a:pt x="1818" y="1150"/>
                    <a:pt x="1819" y="1148"/>
                  </a:cubicBezTo>
                  <a:cubicBezTo>
                    <a:pt x="1819" y="1148"/>
                    <a:pt x="1820" y="1148"/>
                    <a:pt x="1820" y="1147"/>
                  </a:cubicBezTo>
                  <a:cubicBezTo>
                    <a:pt x="1825" y="1137"/>
                    <a:pt x="1828" y="1126"/>
                    <a:pt x="1828" y="1114"/>
                  </a:cubicBezTo>
                  <a:cubicBezTo>
                    <a:pt x="1828" y="1102"/>
                    <a:pt x="1825" y="1091"/>
                    <a:pt x="1820" y="1082"/>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a:buClrTx/>
                <a:buFontTx/>
                <a:buNone/>
              </a:pPr>
              <a:endParaRPr lang="en-US" sz="1800" kern="1200">
                <a:latin typeface="Calibri" panose="020F0502020204030204"/>
                <a:ea typeface="+mn-ea"/>
                <a:cs typeface="+mn-cs"/>
              </a:endParaRPr>
            </a:p>
          </p:txBody>
        </p:sp>
      </p:grpSp>
      <p:sp>
        <p:nvSpPr>
          <p:cNvPr id="40" name="Right Triangle 39">
            <a:extLst>
              <a:ext uri="{FF2B5EF4-FFF2-40B4-BE49-F238E27FC236}">
                <a16:creationId xmlns:a16="http://schemas.microsoft.com/office/drawing/2014/main" id="{E69DF417-8139-A647-F41E-349E541F82CE}"/>
              </a:ext>
            </a:extLst>
          </p:cNvPr>
          <p:cNvSpPr/>
          <p:nvPr/>
        </p:nvSpPr>
        <p:spPr>
          <a:xfrm flipH="1" flipV="1">
            <a:off x="3763073" y="3179446"/>
            <a:ext cx="313627" cy="92253"/>
          </a:xfrm>
          <a:prstGeom prst="rtTriangle">
            <a:avLst/>
          </a:prstGeom>
          <a:solidFill>
            <a:srgbClr val="004E2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1" name="Right Triangle 40">
            <a:extLst>
              <a:ext uri="{FF2B5EF4-FFF2-40B4-BE49-F238E27FC236}">
                <a16:creationId xmlns:a16="http://schemas.microsoft.com/office/drawing/2014/main" id="{54612758-5903-B61A-7A06-171987468906}"/>
              </a:ext>
            </a:extLst>
          </p:cNvPr>
          <p:cNvSpPr/>
          <p:nvPr/>
        </p:nvSpPr>
        <p:spPr>
          <a:xfrm flipH="1" flipV="1">
            <a:off x="3763073" y="4635148"/>
            <a:ext cx="313627" cy="92253"/>
          </a:xfrm>
          <a:prstGeom prst="rtTriangle">
            <a:avLst/>
          </a:prstGeom>
          <a:solidFill>
            <a:srgbClr val="004E2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2" name="Right Triangle 41">
            <a:extLst>
              <a:ext uri="{FF2B5EF4-FFF2-40B4-BE49-F238E27FC236}">
                <a16:creationId xmlns:a16="http://schemas.microsoft.com/office/drawing/2014/main" id="{F9B7C3F5-E469-214D-D849-23C7B3123639}"/>
              </a:ext>
            </a:extLst>
          </p:cNvPr>
          <p:cNvSpPr/>
          <p:nvPr/>
        </p:nvSpPr>
        <p:spPr>
          <a:xfrm flipH="1" flipV="1">
            <a:off x="3763073" y="6090847"/>
            <a:ext cx="313627" cy="92253"/>
          </a:xfrm>
          <a:prstGeom prst="rtTriangle">
            <a:avLst/>
          </a:prstGeom>
          <a:solidFill>
            <a:srgbClr val="004E2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4" name="Parallelogram 43">
            <a:extLst>
              <a:ext uri="{FF2B5EF4-FFF2-40B4-BE49-F238E27FC236}">
                <a16:creationId xmlns:a16="http://schemas.microsoft.com/office/drawing/2014/main" id="{8886C3D1-1787-DBF3-9F11-FC54B043E1A6}"/>
              </a:ext>
            </a:extLst>
          </p:cNvPr>
          <p:cNvSpPr/>
          <p:nvPr/>
        </p:nvSpPr>
        <p:spPr>
          <a:xfrm>
            <a:off x="4837704" y="2128800"/>
            <a:ext cx="6725645" cy="1050648"/>
          </a:xfrm>
          <a:prstGeom prst="parallelogram">
            <a:avLst/>
          </a:prstGeom>
          <a:noFill/>
          <a:ln w="15875" cap="rnd" cmpd="sng" algn="ctr">
            <a:solidFill>
              <a:srgbClr val="008C4F"/>
            </a:solidFill>
            <a:prstDash val="sysDot"/>
            <a:round/>
            <a:headEnd type="none" w="med" len="med"/>
            <a:tailEnd type="none" w="med" len="med"/>
          </a:ln>
          <a:effectLst/>
          <a:extLst>
            <a:ext uri="{909E8E84-426E-40DD-AFC4-6F175D3DCCD1}">
              <a14:hiddenFill xmlns:a14="http://schemas.microsoft.com/office/drawing/2010/main">
                <a:solidFill>
                  <a:schemeClr val="tx2"/>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5" name="Parallelogram 44">
            <a:extLst>
              <a:ext uri="{FF2B5EF4-FFF2-40B4-BE49-F238E27FC236}">
                <a16:creationId xmlns:a16="http://schemas.microsoft.com/office/drawing/2014/main" id="{CE4B3C81-9C57-6D6B-B797-5DF7C15625DF}"/>
              </a:ext>
            </a:extLst>
          </p:cNvPr>
          <p:cNvSpPr/>
          <p:nvPr/>
        </p:nvSpPr>
        <p:spPr>
          <a:xfrm>
            <a:off x="4837704" y="3584500"/>
            <a:ext cx="6725645" cy="1050648"/>
          </a:xfrm>
          <a:prstGeom prst="parallelogram">
            <a:avLst/>
          </a:prstGeom>
          <a:noFill/>
          <a:ln w="15875" cap="rnd" cmpd="sng" algn="ctr">
            <a:solidFill>
              <a:srgbClr val="008C4F"/>
            </a:solidFill>
            <a:prstDash val="sysDot"/>
            <a:round/>
            <a:headEnd type="none" w="med" len="med"/>
            <a:tailEnd type="none" w="med" len="med"/>
          </a:ln>
          <a:effectLst/>
          <a:extLst>
            <a:ext uri="{909E8E84-426E-40DD-AFC4-6F175D3DCCD1}">
              <a14:hiddenFill xmlns:a14="http://schemas.microsoft.com/office/drawing/2010/main">
                <a:solidFill>
                  <a:schemeClr val="tx2"/>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58" name="Parallelogram 57">
            <a:extLst>
              <a:ext uri="{FF2B5EF4-FFF2-40B4-BE49-F238E27FC236}">
                <a16:creationId xmlns:a16="http://schemas.microsoft.com/office/drawing/2014/main" id="{0E3E04A7-C8BE-636B-0BE3-57E991453994}"/>
              </a:ext>
            </a:extLst>
          </p:cNvPr>
          <p:cNvSpPr/>
          <p:nvPr/>
        </p:nvSpPr>
        <p:spPr>
          <a:xfrm>
            <a:off x="3763074" y="3583483"/>
            <a:ext cx="1397362" cy="1050648"/>
          </a:xfrm>
          <a:prstGeom prst="parallelogram">
            <a:avLst/>
          </a:prstGeom>
          <a:solidFill>
            <a:srgbClr val="008C4F"/>
          </a:solidFill>
          <a:ln w="15875" cap="rnd" cmpd="sng" algn="ctr">
            <a:solidFill>
              <a:srgbClr val="008C4F"/>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59" name="bcgIcons_Large Group Meeting ">
            <a:extLst>
              <a:ext uri="{FF2B5EF4-FFF2-40B4-BE49-F238E27FC236}">
                <a16:creationId xmlns:a16="http://schemas.microsoft.com/office/drawing/2014/main" id="{D2A11F8E-F002-8ECB-37B9-4D13265DBD37}"/>
              </a:ext>
            </a:extLst>
          </p:cNvPr>
          <p:cNvGrpSpPr>
            <a:grpSpLocks noChangeAspect="1"/>
          </p:cNvGrpSpPr>
          <p:nvPr/>
        </p:nvGrpSpPr>
        <p:grpSpPr>
          <a:xfrm>
            <a:off x="4028269" y="3675737"/>
            <a:ext cx="866140" cy="866140"/>
            <a:chOff x="5273675" y="2606675"/>
            <a:chExt cx="1644650" cy="1644650"/>
          </a:xfrm>
        </p:grpSpPr>
        <p:sp>
          <p:nvSpPr>
            <p:cNvPr id="60" name="AutoShape 3">
              <a:extLst>
                <a:ext uri="{FF2B5EF4-FFF2-40B4-BE49-F238E27FC236}">
                  <a16:creationId xmlns:a16="http://schemas.microsoft.com/office/drawing/2014/main" id="{60353765-5AC8-62B5-5414-85D66781F3B5}"/>
                </a:ext>
              </a:extLst>
            </p:cNvPr>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buClrTx/>
                <a:buFontTx/>
                <a:buNone/>
              </a:pPr>
              <a:endParaRPr lang="en-US" sz="1800" kern="1200">
                <a:latin typeface="Calibri" panose="020F0502020204030204"/>
                <a:ea typeface="+mn-ea"/>
                <a:cs typeface="+mn-cs"/>
              </a:endParaRPr>
            </a:p>
          </p:txBody>
        </p:sp>
        <p:grpSp>
          <p:nvGrpSpPr>
            <p:cNvPr id="61" name="Group 60">
              <a:extLst>
                <a:ext uri="{FF2B5EF4-FFF2-40B4-BE49-F238E27FC236}">
                  <a16:creationId xmlns:a16="http://schemas.microsoft.com/office/drawing/2014/main" id="{0C93236E-0909-4A66-2980-84E93664EB43}"/>
                </a:ext>
              </a:extLst>
            </p:cNvPr>
            <p:cNvGrpSpPr/>
            <p:nvPr/>
          </p:nvGrpSpPr>
          <p:grpSpPr>
            <a:xfrm>
              <a:off x="5332413" y="3094038"/>
              <a:ext cx="1533525" cy="614362"/>
              <a:chOff x="5332413" y="3094038"/>
              <a:chExt cx="1533525" cy="614362"/>
            </a:xfrm>
          </p:grpSpPr>
          <p:sp>
            <p:nvSpPr>
              <p:cNvPr id="62" name="Freeform 10">
                <a:extLst>
                  <a:ext uri="{FF2B5EF4-FFF2-40B4-BE49-F238E27FC236}">
                    <a16:creationId xmlns:a16="http://schemas.microsoft.com/office/drawing/2014/main" id="{C5D7835C-8C1F-ED1D-DA27-3A2A781227FD}"/>
                  </a:ext>
                </a:extLst>
              </p:cNvPr>
              <p:cNvSpPr>
                <a:spLocks/>
              </p:cNvSpPr>
              <p:nvPr/>
            </p:nvSpPr>
            <p:spPr bwMode="auto">
              <a:xfrm>
                <a:off x="5332413" y="3094038"/>
                <a:ext cx="1533525" cy="542925"/>
              </a:xfrm>
              <a:custGeom>
                <a:avLst/>
                <a:gdLst>
                  <a:gd name="connsiteX0" fmla="*/ 1246187 w 1533525"/>
                  <a:gd name="connsiteY0" fmla="*/ 511175 h 542925"/>
                  <a:gd name="connsiteX1" fmla="*/ 1517878 w 1533525"/>
                  <a:gd name="connsiteY1" fmla="*/ 511175 h 542925"/>
                  <a:gd name="connsiteX2" fmla="*/ 1533525 w 1533525"/>
                  <a:gd name="connsiteY2" fmla="*/ 527050 h 542925"/>
                  <a:gd name="connsiteX3" fmla="*/ 1517878 w 1533525"/>
                  <a:gd name="connsiteY3" fmla="*/ 542925 h 542925"/>
                  <a:gd name="connsiteX4" fmla="*/ 1255433 w 1533525"/>
                  <a:gd name="connsiteY4" fmla="*/ 542925 h 542925"/>
                  <a:gd name="connsiteX5" fmla="*/ 1246187 w 1533525"/>
                  <a:gd name="connsiteY5" fmla="*/ 511175 h 542925"/>
                  <a:gd name="connsiteX6" fmla="*/ 735012 w 1533525"/>
                  <a:gd name="connsiteY6" fmla="*/ 511175 h 542925"/>
                  <a:gd name="connsiteX7" fmla="*/ 792162 w 1533525"/>
                  <a:gd name="connsiteY7" fmla="*/ 511175 h 542925"/>
                  <a:gd name="connsiteX8" fmla="*/ 783101 w 1533525"/>
                  <a:gd name="connsiteY8" fmla="*/ 542925 h 542925"/>
                  <a:gd name="connsiteX9" fmla="*/ 744072 w 1533525"/>
                  <a:gd name="connsiteY9" fmla="*/ 542925 h 542925"/>
                  <a:gd name="connsiteX10" fmla="*/ 735012 w 1533525"/>
                  <a:gd name="connsiteY10" fmla="*/ 511175 h 542925"/>
                  <a:gd name="connsiteX11" fmla="*/ 15650 w 1533525"/>
                  <a:gd name="connsiteY11" fmla="*/ 511175 h 542925"/>
                  <a:gd name="connsiteX12" fmla="*/ 280988 w 1533525"/>
                  <a:gd name="connsiteY12" fmla="*/ 511175 h 542925"/>
                  <a:gd name="connsiteX13" fmla="*/ 271740 w 1533525"/>
                  <a:gd name="connsiteY13" fmla="*/ 542925 h 542925"/>
                  <a:gd name="connsiteX14" fmla="*/ 15650 w 1533525"/>
                  <a:gd name="connsiteY14" fmla="*/ 542925 h 542925"/>
                  <a:gd name="connsiteX15" fmla="*/ 0 w 1533525"/>
                  <a:gd name="connsiteY15" fmla="*/ 527050 h 542925"/>
                  <a:gd name="connsiteX16" fmla="*/ 15650 w 1533525"/>
                  <a:gd name="connsiteY16" fmla="*/ 511175 h 542925"/>
                  <a:gd name="connsiteX17" fmla="*/ 764317 w 1533525"/>
                  <a:gd name="connsiteY17" fmla="*/ 349250 h 542925"/>
                  <a:gd name="connsiteX18" fmla="*/ 778175 w 1533525"/>
                  <a:gd name="connsiteY18" fmla="*/ 350679 h 542925"/>
                  <a:gd name="connsiteX19" fmla="*/ 788387 w 1533525"/>
                  <a:gd name="connsiteY19" fmla="*/ 352822 h 542925"/>
                  <a:gd name="connsiteX20" fmla="*/ 789845 w 1533525"/>
                  <a:gd name="connsiteY20" fmla="*/ 355680 h 542925"/>
                  <a:gd name="connsiteX21" fmla="*/ 773799 w 1533525"/>
                  <a:gd name="connsiteY21" fmla="*/ 380683 h 542925"/>
                  <a:gd name="connsiteX22" fmla="*/ 773799 w 1533525"/>
                  <a:gd name="connsiteY22" fmla="*/ 382826 h 542925"/>
                  <a:gd name="connsiteX23" fmla="*/ 789116 w 1533525"/>
                  <a:gd name="connsiteY23" fmla="*/ 477838 h 542925"/>
                  <a:gd name="connsiteX24" fmla="*/ 736600 w 1533525"/>
                  <a:gd name="connsiteY24" fmla="*/ 477838 h 542925"/>
                  <a:gd name="connsiteX25" fmla="*/ 753376 w 1533525"/>
                  <a:gd name="connsiteY25" fmla="*/ 382826 h 542925"/>
                  <a:gd name="connsiteX26" fmla="*/ 753376 w 1533525"/>
                  <a:gd name="connsiteY26" fmla="*/ 380683 h 542925"/>
                  <a:gd name="connsiteX27" fmla="*/ 737329 w 1533525"/>
                  <a:gd name="connsiteY27" fmla="*/ 355680 h 542925"/>
                  <a:gd name="connsiteX28" fmla="*/ 738788 w 1533525"/>
                  <a:gd name="connsiteY28" fmla="*/ 352822 h 542925"/>
                  <a:gd name="connsiteX29" fmla="*/ 749729 w 1533525"/>
                  <a:gd name="connsiteY29" fmla="*/ 350679 h 542925"/>
                  <a:gd name="connsiteX30" fmla="*/ 764317 w 1533525"/>
                  <a:gd name="connsiteY30" fmla="*/ 349250 h 542925"/>
                  <a:gd name="connsiteX31" fmla="*/ 1200963 w 1533525"/>
                  <a:gd name="connsiteY31" fmla="*/ 334962 h 542925"/>
                  <a:gd name="connsiteX32" fmla="*/ 1203105 w 1533525"/>
                  <a:gd name="connsiteY32" fmla="*/ 337095 h 542925"/>
                  <a:gd name="connsiteX33" fmla="*/ 1268787 w 1533525"/>
                  <a:gd name="connsiteY33" fmla="*/ 409598 h 542925"/>
                  <a:gd name="connsiteX34" fmla="*/ 1280210 w 1533525"/>
                  <a:gd name="connsiteY34" fmla="*/ 409598 h 542925"/>
                  <a:gd name="connsiteX35" fmla="*/ 1345893 w 1533525"/>
                  <a:gd name="connsiteY35" fmla="*/ 337095 h 542925"/>
                  <a:gd name="connsiteX36" fmla="*/ 1348034 w 1533525"/>
                  <a:gd name="connsiteY36" fmla="*/ 334962 h 542925"/>
                  <a:gd name="connsiteX37" fmla="*/ 1441561 w 1533525"/>
                  <a:gd name="connsiteY37" fmla="*/ 351311 h 542925"/>
                  <a:gd name="connsiteX38" fmla="*/ 1492250 w 1533525"/>
                  <a:gd name="connsiteY38" fmla="*/ 477837 h 542925"/>
                  <a:gd name="connsiteX39" fmla="*/ 1232376 w 1533525"/>
                  <a:gd name="connsiteY39" fmla="*/ 477837 h 542925"/>
                  <a:gd name="connsiteX40" fmla="*/ 1198821 w 1533525"/>
                  <a:gd name="connsiteY40" fmla="*/ 440164 h 542925"/>
                  <a:gd name="connsiteX41" fmla="*/ 1101725 w 1533525"/>
                  <a:gd name="connsiteY41" fmla="*/ 421682 h 542925"/>
                  <a:gd name="connsiteX42" fmla="*/ 1111720 w 1533525"/>
                  <a:gd name="connsiteY42" fmla="*/ 409598 h 542925"/>
                  <a:gd name="connsiteX43" fmla="*/ 1112434 w 1533525"/>
                  <a:gd name="connsiteY43" fmla="*/ 408177 h 542925"/>
                  <a:gd name="connsiteX44" fmla="*/ 1118859 w 1533525"/>
                  <a:gd name="connsiteY44" fmla="*/ 394671 h 542925"/>
                  <a:gd name="connsiteX45" fmla="*/ 1120287 w 1533525"/>
                  <a:gd name="connsiteY45" fmla="*/ 390406 h 542925"/>
                  <a:gd name="connsiteX46" fmla="*/ 1155271 w 1533525"/>
                  <a:gd name="connsiteY46" fmla="*/ 338516 h 542925"/>
                  <a:gd name="connsiteX47" fmla="*/ 1200963 w 1533525"/>
                  <a:gd name="connsiteY47" fmla="*/ 334962 h 542925"/>
                  <a:gd name="connsiteX48" fmla="*/ 837524 w 1533525"/>
                  <a:gd name="connsiteY48" fmla="*/ 334962 h 542925"/>
                  <a:gd name="connsiteX49" fmla="*/ 883153 w 1533525"/>
                  <a:gd name="connsiteY49" fmla="*/ 338545 h 542925"/>
                  <a:gd name="connsiteX50" fmla="*/ 917375 w 1533525"/>
                  <a:gd name="connsiteY50" fmla="*/ 389427 h 542925"/>
                  <a:gd name="connsiteX51" fmla="*/ 919514 w 1533525"/>
                  <a:gd name="connsiteY51" fmla="*/ 395160 h 542925"/>
                  <a:gd name="connsiteX52" fmla="*/ 928069 w 1533525"/>
                  <a:gd name="connsiteY52" fmla="*/ 412360 h 542925"/>
                  <a:gd name="connsiteX53" fmla="*/ 936625 w 1533525"/>
                  <a:gd name="connsiteY53" fmla="*/ 422393 h 542925"/>
                  <a:gd name="connsiteX54" fmla="*/ 839663 w 1533525"/>
                  <a:gd name="connsiteY54" fmla="*/ 441026 h 542925"/>
                  <a:gd name="connsiteX55" fmla="*/ 817562 w 1533525"/>
                  <a:gd name="connsiteY55" fmla="*/ 460375 h 542925"/>
                  <a:gd name="connsiteX56" fmla="*/ 835386 w 1533525"/>
                  <a:gd name="connsiteY56" fmla="*/ 337112 h 542925"/>
                  <a:gd name="connsiteX57" fmla="*/ 837524 w 1533525"/>
                  <a:gd name="connsiteY57" fmla="*/ 334962 h 542925"/>
                  <a:gd name="connsiteX58" fmla="*/ 689650 w 1533525"/>
                  <a:gd name="connsiteY58" fmla="*/ 334962 h 542925"/>
                  <a:gd name="connsiteX59" fmla="*/ 691789 w 1533525"/>
                  <a:gd name="connsiteY59" fmla="*/ 337112 h 542925"/>
                  <a:gd name="connsiteX60" fmla="*/ 709613 w 1533525"/>
                  <a:gd name="connsiteY60" fmla="*/ 460375 h 542925"/>
                  <a:gd name="connsiteX61" fmla="*/ 687511 w 1533525"/>
                  <a:gd name="connsiteY61" fmla="*/ 441026 h 542925"/>
                  <a:gd name="connsiteX62" fmla="*/ 590550 w 1533525"/>
                  <a:gd name="connsiteY62" fmla="*/ 422393 h 542925"/>
                  <a:gd name="connsiteX63" fmla="*/ 600531 w 1533525"/>
                  <a:gd name="connsiteY63" fmla="*/ 410210 h 542925"/>
                  <a:gd name="connsiteX64" fmla="*/ 601244 w 1533525"/>
                  <a:gd name="connsiteY64" fmla="*/ 408777 h 542925"/>
                  <a:gd name="connsiteX65" fmla="*/ 607661 w 1533525"/>
                  <a:gd name="connsiteY65" fmla="*/ 395160 h 542925"/>
                  <a:gd name="connsiteX66" fmla="*/ 609087 w 1533525"/>
                  <a:gd name="connsiteY66" fmla="*/ 390860 h 542925"/>
                  <a:gd name="connsiteX67" fmla="*/ 644021 w 1533525"/>
                  <a:gd name="connsiteY67" fmla="*/ 338545 h 542925"/>
                  <a:gd name="connsiteX68" fmla="*/ 689650 w 1533525"/>
                  <a:gd name="connsiteY68" fmla="*/ 334962 h 542925"/>
                  <a:gd name="connsiteX69" fmla="*/ 180120 w 1533525"/>
                  <a:gd name="connsiteY69" fmla="*/ 334962 h 542925"/>
                  <a:gd name="connsiteX70" fmla="*/ 252360 w 1533525"/>
                  <a:gd name="connsiteY70" fmla="*/ 369082 h 542925"/>
                  <a:gd name="connsiteX71" fmla="*/ 323885 w 1533525"/>
                  <a:gd name="connsiteY71" fmla="*/ 334962 h 542925"/>
                  <a:gd name="connsiteX72" fmla="*/ 371806 w 1533525"/>
                  <a:gd name="connsiteY72" fmla="*/ 338516 h 542925"/>
                  <a:gd name="connsiteX73" fmla="*/ 406138 w 1533525"/>
                  <a:gd name="connsiteY73" fmla="*/ 388985 h 542925"/>
                  <a:gd name="connsiteX74" fmla="*/ 408284 w 1533525"/>
                  <a:gd name="connsiteY74" fmla="*/ 394671 h 542925"/>
                  <a:gd name="connsiteX75" fmla="*/ 416867 w 1533525"/>
                  <a:gd name="connsiteY75" fmla="*/ 411731 h 542925"/>
                  <a:gd name="connsiteX76" fmla="*/ 425450 w 1533525"/>
                  <a:gd name="connsiteY76" fmla="*/ 421682 h 542925"/>
                  <a:gd name="connsiteX77" fmla="*/ 328176 w 1533525"/>
                  <a:gd name="connsiteY77" fmla="*/ 440164 h 542925"/>
                  <a:gd name="connsiteX78" fmla="*/ 294560 w 1533525"/>
                  <a:gd name="connsiteY78" fmla="*/ 477837 h 542925"/>
                  <a:gd name="connsiteX79" fmla="*/ 34925 w 1533525"/>
                  <a:gd name="connsiteY79" fmla="*/ 477837 h 542925"/>
                  <a:gd name="connsiteX80" fmla="*/ 84992 w 1533525"/>
                  <a:gd name="connsiteY80" fmla="*/ 351311 h 542925"/>
                  <a:gd name="connsiteX81" fmla="*/ 180120 w 1533525"/>
                  <a:gd name="connsiteY81" fmla="*/ 334962 h 542925"/>
                  <a:gd name="connsiteX82" fmla="*/ 1381410 w 1533525"/>
                  <a:gd name="connsiteY82" fmla="*/ 215900 h 542925"/>
                  <a:gd name="connsiteX83" fmla="*/ 1414463 w 1533525"/>
                  <a:gd name="connsiteY83" fmla="*/ 298275 h 542925"/>
                  <a:gd name="connsiteX84" fmla="*/ 1376380 w 1533525"/>
                  <a:gd name="connsiteY84" fmla="*/ 320675 h 542925"/>
                  <a:gd name="connsiteX85" fmla="*/ 1349074 w 1533525"/>
                  <a:gd name="connsiteY85" fmla="*/ 319230 h 542925"/>
                  <a:gd name="connsiteX86" fmla="*/ 1346200 w 1533525"/>
                  <a:gd name="connsiteY86" fmla="*/ 317785 h 542925"/>
                  <a:gd name="connsiteX87" fmla="*/ 1346200 w 1533525"/>
                  <a:gd name="connsiteY87" fmla="*/ 293939 h 542925"/>
                  <a:gd name="connsiteX88" fmla="*/ 1381410 w 1533525"/>
                  <a:gd name="connsiteY88" fmla="*/ 215900 h 542925"/>
                  <a:gd name="connsiteX89" fmla="*/ 1167890 w 1533525"/>
                  <a:gd name="connsiteY89" fmla="*/ 215900 h 542925"/>
                  <a:gd name="connsiteX90" fmla="*/ 1203325 w 1533525"/>
                  <a:gd name="connsiteY90" fmla="*/ 293939 h 542925"/>
                  <a:gd name="connsiteX91" fmla="*/ 1203325 w 1533525"/>
                  <a:gd name="connsiteY91" fmla="*/ 317785 h 542925"/>
                  <a:gd name="connsiteX92" fmla="*/ 1200490 w 1533525"/>
                  <a:gd name="connsiteY92" fmla="*/ 319230 h 542925"/>
                  <a:gd name="connsiteX93" fmla="*/ 1173559 w 1533525"/>
                  <a:gd name="connsiteY93" fmla="*/ 320675 h 542925"/>
                  <a:gd name="connsiteX94" fmla="*/ 1163637 w 1533525"/>
                  <a:gd name="connsiteY94" fmla="*/ 317785 h 542925"/>
                  <a:gd name="connsiteX95" fmla="*/ 1171433 w 1533525"/>
                  <a:gd name="connsiteY95" fmla="*/ 278765 h 542925"/>
                  <a:gd name="connsiteX96" fmla="*/ 1165055 w 1533525"/>
                  <a:gd name="connsiteY96" fmla="*/ 233242 h 542925"/>
                  <a:gd name="connsiteX97" fmla="*/ 1167890 w 1533525"/>
                  <a:gd name="connsiteY97" fmla="*/ 215900 h 542925"/>
                  <a:gd name="connsiteX98" fmla="*/ 1275200 w 1533525"/>
                  <a:gd name="connsiteY98" fmla="*/ 0 h 542925"/>
                  <a:gd name="connsiteX99" fmla="*/ 1397875 w 1533525"/>
                  <a:gd name="connsiteY99" fmla="*/ 124537 h 542925"/>
                  <a:gd name="connsiteX100" fmla="*/ 1393596 w 1533525"/>
                  <a:gd name="connsiteY100" fmla="*/ 166524 h 542925"/>
                  <a:gd name="connsiteX101" fmla="*/ 1393596 w 1533525"/>
                  <a:gd name="connsiteY101" fmla="*/ 165812 h 542925"/>
                  <a:gd name="connsiteX102" fmla="*/ 1380044 w 1533525"/>
                  <a:gd name="connsiteY102" fmla="*/ 185026 h 542925"/>
                  <a:gd name="connsiteX103" fmla="*/ 1378618 w 1533525"/>
                  <a:gd name="connsiteY103" fmla="*/ 185738 h 542925"/>
                  <a:gd name="connsiteX104" fmla="*/ 1370772 w 1533525"/>
                  <a:gd name="connsiteY104" fmla="*/ 185738 h 542925"/>
                  <a:gd name="connsiteX105" fmla="*/ 1370059 w 1533525"/>
                  <a:gd name="connsiteY105" fmla="*/ 185026 h 542925"/>
                  <a:gd name="connsiteX106" fmla="*/ 1208870 w 1533525"/>
                  <a:gd name="connsiteY106" fmla="*/ 100341 h 542925"/>
                  <a:gd name="connsiteX107" fmla="*/ 1207444 w 1533525"/>
                  <a:gd name="connsiteY107" fmla="*/ 99630 h 542925"/>
                  <a:gd name="connsiteX108" fmla="*/ 1159658 w 1533525"/>
                  <a:gd name="connsiteY108" fmla="*/ 175064 h 542925"/>
                  <a:gd name="connsiteX109" fmla="*/ 1152525 w 1533525"/>
                  <a:gd name="connsiteY109" fmla="*/ 124537 h 542925"/>
                  <a:gd name="connsiteX110" fmla="*/ 1275200 w 1533525"/>
                  <a:gd name="connsiteY110" fmla="*/ 0 h 542925"/>
                  <a:gd name="connsiteX111" fmla="*/ 763587 w 1533525"/>
                  <a:gd name="connsiteY111" fmla="*/ 0 h 542925"/>
                  <a:gd name="connsiteX112" fmla="*/ 884237 w 1533525"/>
                  <a:gd name="connsiteY112" fmla="*/ 123004 h 542925"/>
                  <a:gd name="connsiteX113" fmla="*/ 879953 w 1533525"/>
                  <a:gd name="connsiteY113" fmla="*/ 164953 h 542925"/>
                  <a:gd name="connsiteX114" fmla="*/ 866389 w 1533525"/>
                  <a:gd name="connsiteY114" fmla="*/ 184150 h 542925"/>
                  <a:gd name="connsiteX115" fmla="*/ 857108 w 1533525"/>
                  <a:gd name="connsiteY115" fmla="*/ 184150 h 542925"/>
                  <a:gd name="connsiteX116" fmla="*/ 856394 w 1533525"/>
                  <a:gd name="connsiteY116" fmla="*/ 93142 h 542925"/>
                  <a:gd name="connsiteX117" fmla="*/ 697194 w 1533525"/>
                  <a:gd name="connsiteY117" fmla="*/ 98830 h 542925"/>
                  <a:gd name="connsiteX118" fmla="*/ 667923 w 1533525"/>
                  <a:gd name="connsiteY118" fmla="*/ 182017 h 542925"/>
                  <a:gd name="connsiteX119" fmla="*/ 660070 w 1533525"/>
                  <a:gd name="connsiteY119" fmla="*/ 181306 h 542925"/>
                  <a:gd name="connsiteX120" fmla="*/ 647934 w 1533525"/>
                  <a:gd name="connsiteY120" fmla="*/ 166375 h 542925"/>
                  <a:gd name="connsiteX121" fmla="*/ 642937 w 1533525"/>
                  <a:gd name="connsiteY121" fmla="*/ 123004 h 542925"/>
                  <a:gd name="connsiteX122" fmla="*/ 763587 w 1533525"/>
                  <a:gd name="connsiteY122" fmla="*/ 0 h 542925"/>
                  <a:gd name="connsiteX123" fmla="*/ 252412 w 1533525"/>
                  <a:gd name="connsiteY123" fmla="*/ 0 h 542925"/>
                  <a:gd name="connsiteX124" fmla="*/ 373062 w 1533525"/>
                  <a:gd name="connsiteY124" fmla="*/ 123004 h 542925"/>
                  <a:gd name="connsiteX125" fmla="*/ 368778 w 1533525"/>
                  <a:gd name="connsiteY125" fmla="*/ 164953 h 542925"/>
                  <a:gd name="connsiteX126" fmla="*/ 368064 w 1533525"/>
                  <a:gd name="connsiteY126" fmla="*/ 164953 h 542925"/>
                  <a:gd name="connsiteX127" fmla="*/ 354500 w 1533525"/>
                  <a:gd name="connsiteY127" fmla="*/ 184150 h 542925"/>
                  <a:gd name="connsiteX128" fmla="*/ 345933 w 1533525"/>
                  <a:gd name="connsiteY128" fmla="*/ 184150 h 542925"/>
                  <a:gd name="connsiteX129" fmla="*/ 344506 w 1533525"/>
                  <a:gd name="connsiteY129" fmla="*/ 93142 h 542925"/>
                  <a:gd name="connsiteX130" fmla="*/ 186019 w 1533525"/>
                  <a:gd name="connsiteY130" fmla="*/ 98830 h 542925"/>
                  <a:gd name="connsiteX131" fmla="*/ 156748 w 1533525"/>
                  <a:gd name="connsiteY131" fmla="*/ 182017 h 542925"/>
                  <a:gd name="connsiteX132" fmla="*/ 148182 w 1533525"/>
                  <a:gd name="connsiteY132" fmla="*/ 181306 h 542925"/>
                  <a:gd name="connsiteX133" fmla="*/ 136759 w 1533525"/>
                  <a:gd name="connsiteY133" fmla="*/ 166375 h 542925"/>
                  <a:gd name="connsiteX134" fmla="*/ 131762 w 1533525"/>
                  <a:gd name="connsiteY134" fmla="*/ 123004 h 542925"/>
                  <a:gd name="connsiteX135" fmla="*/ 252412 w 1533525"/>
                  <a:gd name="connsiteY135" fmla="*/ 0 h 542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Lst>
                <a:rect l="l" t="t" r="r" b="b"/>
                <a:pathLst>
                  <a:path w="1533525" h="542925">
                    <a:moveTo>
                      <a:pt x="1246187" y="511175"/>
                    </a:moveTo>
                    <a:cubicBezTo>
                      <a:pt x="1246187" y="511175"/>
                      <a:pt x="1246187" y="511175"/>
                      <a:pt x="1517878" y="511175"/>
                    </a:cubicBezTo>
                    <a:cubicBezTo>
                      <a:pt x="1526413" y="511175"/>
                      <a:pt x="1533525" y="518391"/>
                      <a:pt x="1533525" y="527050"/>
                    </a:cubicBezTo>
                    <a:cubicBezTo>
                      <a:pt x="1533525" y="536431"/>
                      <a:pt x="1526413" y="542925"/>
                      <a:pt x="1517878" y="542925"/>
                    </a:cubicBezTo>
                    <a:cubicBezTo>
                      <a:pt x="1517878" y="542925"/>
                      <a:pt x="1517878" y="542925"/>
                      <a:pt x="1255433" y="542925"/>
                    </a:cubicBezTo>
                    <a:cubicBezTo>
                      <a:pt x="1252588" y="531380"/>
                      <a:pt x="1249032" y="521277"/>
                      <a:pt x="1246187" y="511175"/>
                    </a:cubicBezTo>
                    <a:close/>
                    <a:moveTo>
                      <a:pt x="735012" y="511175"/>
                    </a:moveTo>
                    <a:cubicBezTo>
                      <a:pt x="735012" y="511175"/>
                      <a:pt x="735012" y="511175"/>
                      <a:pt x="792162" y="511175"/>
                    </a:cubicBezTo>
                    <a:cubicBezTo>
                      <a:pt x="789374" y="521277"/>
                      <a:pt x="786586" y="531380"/>
                      <a:pt x="783101" y="542925"/>
                    </a:cubicBezTo>
                    <a:cubicBezTo>
                      <a:pt x="783101" y="542925"/>
                      <a:pt x="783101" y="542925"/>
                      <a:pt x="744072" y="542925"/>
                    </a:cubicBezTo>
                    <a:cubicBezTo>
                      <a:pt x="740587" y="531380"/>
                      <a:pt x="737800" y="521277"/>
                      <a:pt x="735012" y="511175"/>
                    </a:cubicBezTo>
                    <a:close/>
                    <a:moveTo>
                      <a:pt x="15650" y="511175"/>
                    </a:moveTo>
                    <a:cubicBezTo>
                      <a:pt x="15650" y="511175"/>
                      <a:pt x="15650" y="511175"/>
                      <a:pt x="280988" y="511175"/>
                    </a:cubicBezTo>
                    <a:cubicBezTo>
                      <a:pt x="278142" y="521277"/>
                      <a:pt x="274586" y="531380"/>
                      <a:pt x="271740" y="542925"/>
                    </a:cubicBezTo>
                    <a:cubicBezTo>
                      <a:pt x="271740" y="542925"/>
                      <a:pt x="271740" y="542925"/>
                      <a:pt x="15650" y="542925"/>
                    </a:cubicBezTo>
                    <a:cubicBezTo>
                      <a:pt x="6402" y="542925"/>
                      <a:pt x="0" y="536431"/>
                      <a:pt x="0" y="527050"/>
                    </a:cubicBezTo>
                    <a:cubicBezTo>
                      <a:pt x="0" y="518391"/>
                      <a:pt x="6402" y="511175"/>
                      <a:pt x="15650" y="511175"/>
                    </a:cubicBezTo>
                    <a:close/>
                    <a:moveTo>
                      <a:pt x="764317" y="349250"/>
                    </a:moveTo>
                    <a:cubicBezTo>
                      <a:pt x="768693" y="349250"/>
                      <a:pt x="773799" y="349965"/>
                      <a:pt x="778175" y="350679"/>
                    </a:cubicBezTo>
                    <a:cubicBezTo>
                      <a:pt x="782551" y="351393"/>
                      <a:pt x="786198" y="352108"/>
                      <a:pt x="788387" y="352822"/>
                    </a:cubicBezTo>
                    <a:cubicBezTo>
                      <a:pt x="789845" y="352822"/>
                      <a:pt x="790575" y="354251"/>
                      <a:pt x="789845" y="355680"/>
                    </a:cubicBezTo>
                    <a:cubicBezTo>
                      <a:pt x="789845" y="355680"/>
                      <a:pt x="789845" y="355680"/>
                      <a:pt x="773799" y="380683"/>
                    </a:cubicBezTo>
                    <a:cubicBezTo>
                      <a:pt x="773799" y="381397"/>
                      <a:pt x="773799" y="382112"/>
                      <a:pt x="773799" y="382826"/>
                    </a:cubicBezTo>
                    <a:cubicBezTo>
                      <a:pt x="773799" y="382826"/>
                      <a:pt x="773799" y="382826"/>
                      <a:pt x="789116" y="477838"/>
                    </a:cubicBezTo>
                    <a:cubicBezTo>
                      <a:pt x="789116" y="477838"/>
                      <a:pt x="789116" y="477838"/>
                      <a:pt x="736600" y="477838"/>
                    </a:cubicBezTo>
                    <a:lnTo>
                      <a:pt x="753376" y="382826"/>
                    </a:lnTo>
                    <a:cubicBezTo>
                      <a:pt x="753376" y="382112"/>
                      <a:pt x="753376" y="381397"/>
                      <a:pt x="753376" y="380683"/>
                    </a:cubicBezTo>
                    <a:cubicBezTo>
                      <a:pt x="753376" y="380683"/>
                      <a:pt x="753376" y="380683"/>
                      <a:pt x="737329" y="355680"/>
                    </a:cubicBezTo>
                    <a:cubicBezTo>
                      <a:pt x="736600" y="354965"/>
                      <a:pt x="737329" y="352822"/>
                      <a:pt x="738788" y="352822"/>
                    </a:cubicBezTo>
                    <a:cubicBezTo>
                      <a:pt x="741705" y="352108"/>
                      <a:pt x="745352" y="351393"/>
                      <a:pt x="749729" y="350679"/>
                    </a:cubicBezTo>
                    <a:cubicBezTo>
                      <a:pt x="754105" y="349965"/>
                      <a:pt x="759940" y="349250"/>
                      <a:pt x="764317" y="349250"/>
                    </a:cubicBezTo>
                    <a:close/>
                    <a:moveTo>
                      <a:pt x="1200963" y="334962"/>
                    </a:moveTo>
                    <a:cubicBezTo>
                      <a:pt x="1202391" y="334962"/>
                      <a:pt x="1203105" y="335673"/>
                      <a:pt x="1203105" y="337095"/>
                    </a:cubicBezTo>
                    <a:cubicBezTo>
                      <a:pt x="1203105" y="337095"/>
                      <a:pt x="1203105" y="337095"/>
                      <a:pt x="1268787" y="409598"/>
                    </a:cubicBezTo>
                    <a:cubicBezTo>
                      <a:pt x="1271643" y="413863"/>
                      <a:pt x="1277354" y="413863"/>
                      <a:pt x="1280210" y="409598"/>
                    </a:cubicBezTo>
                    <a:cubicBezTo>
                      <a:pt x="1280210" y="409598"/>
                      <a:pt x="1280210" y="409598"/>
                      <a:pt x="1345893" y="337095"/>
                    </a:cubicBezTo>
                    <a:cubicBezTo>
                      <a:pt x="1345893" y="335673"/>
                      <a:pt x="1347320" y="334962"/>
                      <a:pt x="1348034" y="334962"/>
                    </a:cubicBezTo>
                    <a:cubicBezTo>
                      <a:pt x="1359457" y="334962"/>
                      <a:pt x="1411575" y="337095"/>
                      <a:pt x="1441561" y="351311"/>
                    </a:cubicBezTo>
                    <a:cubicBezTo>
                      <a:pt x="1465834" y="361973"/>
                      <a:pt x="1484397" y="447983"/>
                      <a:pt x="1492250" y="477837"/>
                    </a:cubicBezTo>
                    <a:cubicBezTo>
                      <a:pt x="1492250" y="477837"/>
                      <a:pt x="1492250" y="477837"/>
                      <a:pt x="1232376" y="477837"/>
                    </a:cubicBezTo>
                    <a:cubicBezTo>
                      <a:pt x="1223095" y="458645"/>
                      <a:pt x="1212386" y="446561"/>
                      <a:pt x="1198821" y="440164"/>
                    </a:cubicBezTo>
                    <a:cubicBezTo>
                      <a:pt x="1168836" y="425947"/>
                      <a:pt x="1123143" y="422393"/>
                      <a:pt x="1101725" y="421682"/>
                    </a:cubicBezTo>
                    <a:cubicBezTo>
                      <a:pt x="1106008" y="417417"/>
                      <a:pt x="1109578" y="413152"/>
                      <a:pt x="1111720" y="409598"/>
                    </a:cubicBezTo>
                    <a:cubicBezTo>
                      <a:pt x="1111720" y="409598"/>
                      <a:pt x="1111720" y="409598"/>
                      <a:pt x="1112434" y="408177"/>
                    </a:cubicBezTo>
                    <a:cubicBezTo>
                      <a:pt x="1116004" y="402490"/>
                      <a:pt x="1116717" y="400358"/>
                      <a:pt x="1118859" y="394671"/>
                    </a:cubicBezTo>
                    <a:cubicBezTo>
                      <a:pt x="1119573" y="393960"/>
                      <a:pt x="1119573" y="392539"/>
                      <a:pt x="1120287" y="390406"/>
                    </a:cubicBezTo>
                    <a:cubicBezTo>
                      <a:pt x="1133852" y="376901"/>
                      <a:pt x="1148131" y="354865"/>
                      <a:pt x="1155271" y="338516"/>
                    </a:cubicBezTo>
                    <a:cubicBezTo>
                      <a:pt x="1175975" y="335673"/>
                      <a:pt x="1195251" y="334962"/>
                      <a:pt x="1200963" y="334962"/>
                    </a:cubicBezTo>
                    <a:close/>
                    <a:moveTo>
                      <a:pt x="837524" y="334962"/>
                    </a:moveTo>
                    <a:cubicBezTo>
                      <a:pt x="843941" y="334962"/>
                      <a:pt x="862478" y="335679"/>
                      <a:pt x="883153" y="338545"/>
                    </a:cubicBezTo>
                    <a:cubicBezTo>
                      <a:pt x="891709" y="356461"/>
                      <a:pt x="905968" y="377244"/>
                      <a:pt x="917375" y="389427"/>
                    </a:cubicBezTo>
                    <a:cubicBezTo>
                      <a:pt x="918801" y="392294"/>
                      <a:pt x="918801" y="393727"/>
                      <a:pt x="919514" y="395160"/>
                    </a:cubicBezTo>
                    <a:cubicBezTo>
                      <a:pt x="921653" y="402327"/>
                      <a:pt x="923792" y="405910"/>
                      <a:pt x="928069" y="412360"/>
                    </a:cubicBezTo>
                    <a:cubicBezTo>
                      <a:pt x="930208" y="415226"/>
                      <a:pt x="933060" y="418810"/>
                      <a:pt x="936625" y="422393"/>
                    </a:cubicBezTo>
                    <a:cubicBezTo>
                      <a:pt x="915949" y="423110"/>
                      <a:pt x="870320" y="426693"/>
                      <a:pt x="839663" y="441026"/>
                    </a:cubicBezTo>
                    <a:cubicBezTo>
                      <a:pt x="831108" y="444609"/>
                      <a:pt x="823978" y="451059"/>
                      <a:pt x="817562" y="460375"/>
                    </a:cubicBezTo>
                    <a:cubicBezTo>
                      <a:pt x="817562" y="460375"/>
                      <a:pt x="817562" y="460375"/>
                      <a:pt x="835386" y="337112"/>
                    </a:cubicBezTo>
                    <a:cubicBezTo>
                      <a:pt x="835386" y="335679"/>
                      <a:pt x="836811" y="334962"/>
                      <a:pt x="837524" y="334962"/>
                    </a:cubicBezTo>
                    <a:close/>
                    <a:moveTo>
                      <a:pt x="689650" y="334962"/>
                    </a:moveTo>
                    <a:cubicBezTo>
                      <a:pt x="690363" y="334962"/>
                      <a:pt x="691789" y="335679"/>
                      <a:pt x="691789" y="337112"/>
                    </a:cubicBezTo>
                    <a:cubicBezTo>
                      <a:pt x="691789" y="337112"/>
                      <a:pt x="691789" y="337112"/>
                      <a:pt x="709613" y="460375"/>
                    </a:cubicBezTo>
                    <a:cubicBezTo>
                      <a:pt x="703196" y="451059"/>
                      <a:pt x="696067" y="444609"/>
                      <a:pt x="687511" y="441026"/>
                    </a:cubicBezTo>
                    <a:cubicBezTo>
                      <a:pt x="656854" y="426693"/>
                      <a:pt x="611225" y="423110"/>
                      <a:pt x="590550" y="422393"/>
                    </a:cubicBezTo>
                    <a:cubicBezTo>
                      <a:pt x="594827" y="418093"/>
                      <a:pt x="598392" y="413793"/>
                      <a:pt x="600531" y="410210"/>
                    </a:cubicBezTo>
                    <a:cubicBezTo>
                      <a:pt x="600531" y="410210"/>
                      <a:pt x="600531" y="410210"/>
                      <a:pt x="601244" y="408777"/>
                    </a:cubicBezTo>
                    <a:cubicBezTo>
                      <a:pt x="604809" y="403043"/>
                      <a:pt x="605522" y="400894"/>
                      <a:pt x="607661" y="395160"/>
                    </a:cubicBezTo>
                    <a:cubicBezTo>
                      <a:pt x="607661" y="394444"/>
                      <a:pt x="608374" y="393010"/>
                      <a:pt x="609087" y="390860"/>
                    </a:cubicBezTo>
                    <a:cubicBezTo>
                      <a:pt x="622633" y="377244"/>
                      <a:pt x="636179" y="355028"/>
                      <a:pt x="644021" y="338545"/>
                    </a:cubicBezTo>
                    <a:cubicBezTo>
                      <a:pt x="664697" y="335679"/>
                      <a:pt x="683234" y="334962"/>
                      <a:pt x="689650" y="334962"/>
                    </a:cubicBezTo>
                    <a:close/>
                    <a:moveTo>
                      <a:pt x="180120" y="334962"/>
                    </a:moveTo>
                    <a:cubicBezTo>
                      <a:pt x="180120" y="334962"/>
                      <a:pt x="204438" y="368371"/>
                      <a:pt x="252360" y="369082"/>
                    </a:cubicBezTo>
                    <a:cubicBezTo>
                      <a:pt x="299566" y="368371"/>
                      <a:pt x="323885" y="334962"/>
                      <a:pt x="323885" y="334962"/>
                    </a:cubicBezTo>
                    <a:cubicBezTo>
                      <a:pt x="323885" y="334962"/>
                      <a:pt x="346773" y="334962"/>
                      <a:pt x="371806" y="338516"/>
                    </a:cubicBezTo>
                    <a:cubicBezTo>
                      <a:pt x="379674" y="356287"/>
                      <a:pt x="394694" y="376901"/>
                      <a:pt x="406138" y="388985"/>
                    </a:cubicBezTo>
                    <a:cubicBezTo>
                      <a:pt x="406853" y="391828"/>
                      <a:pt x="407569" y="393249"/>
                      <a:pt x="408284" y="394671"/>
                    </a:cubicBezTo>
                    <a:cubicBezTo>
                      <a:pt x="410430" y="401779"/>
                      <a:pt x="411860" y="405333"/>
                      <a:pt x="416867" y="411731"/>
                    </a:cubicBezTo>
                    <a:cubicBezTo>
                      <a:pt x="419013" y="414574"/>
                      <a:pt x="421874" y="418128"/>
                      <a:pt x="425450" y="421682"/>
                    </a:cubicBezTo>
                    <a:cubicBezTo>
                      <a:pt x="404708" y="422393"/>
                      <a:pt x="358932" y="425947"/>
                      <a:pt x="328176" y="440164"/>
                    </a:cubicBezTo>
                    <a:cubicBezTo>
                      <a:pt x="314586" y="446561"/>
                      <a:pt x="303858" y="458645"/>
                      <a:pt x="294560" y="477837"/>
                    </a:cubicBezTo>
                    <a:cubicBezTo>
                      <a:pt x="294560" y="477837"/>
                      <a:pt x="294560" y="477837"/>
                      <a:pt x="34925" y="477837"/>
                    </a:cubicBezTo>
                    <a:cubicBezTo>
                      <a:pt x="43508" y="444429"/>
                      <a:pt x="61389" y="361973"/>
                      <a:pt x="84992" y="351311"/>
                    </a:cubicBezTo>
                    <a:cubicBezTo>
                      <a:pt x="118609" y="335673"/>
                      <a:pt x="180120" y="334962"/>
                      <a:pt x="180120" y="334962"/>
                    </a:cubicBezTo>
                    <a:close/>
                    <a:moveTo>
                      <a:pt x="1381410" y="215900"/>
                    </a:moveTo>
                    <a:cubicBezTo>
                      <a:pt x="1388595" y="215900"/>
                      <a:pt x="1375661" y="294662"/>
                      <a:pt x="1414463" y="298275"/>
                    </a:cubicBezTo>
                    <a:cubicBezTo>
                      <a:pt x="1400811" y="312727"/>
                      <a:pt x="1387158" y="318507"/>
                      <a:pt x="1376380" y="320675"/>
                    </a:cubicBezTo>
                    <a:cubicBezTo>
                      <a:pt x="1364164" y="319230"/>
                      <a:pt x="1354104" y="319230"/>
                      <a:pt x="1349074" y="319230"/>
                    </a:cubicBezTo>
                    <a:cubicBezTo>
                      <a:pt x="1347637" y="318507"/>
                      <a:pt x="1346200" y="317785"/>
                      <a:pt x="1346200" y="317785"/>
                    </a:cubicBezTo>
                    <a:cubicBezTo>
                      <a:pt x="1346200" y="317785"/>
                      <a:pt x="1346200" y="317785"/>
                      <a:pt x="1346200" y="293939"/>
                    </a:cubicBezTo>
                    <a:cubicBezTo>
                      <a:pt x="1346200" y="293939"/>
                      <a:pt x="1376380" y="238300"/>
                      <a:pt x="1381410" y="215900"/>
                    </a:cubicBezTo>
                    <a:close/>
                    <a:moveTo>
                      <a:pt x="1167890" y="215900"/>
                    </a:moveTo>
                    <a:cubicBezTo>
                      <a:pt x="1172851" y="236855"/>
                      <a:pt x="1203325" y="293939"/>
                      <a:pt x="1203325" y="293939"/>
                    </a:cubicBezTo>
                    <a:cubicBezTo>
                      <a:pt x="1203325" y="293939"/>
                      <a:pt x="1203325" y="293939"/>
                      <a:pt x="1203325" y="317785"/>
                    </a:cubicBezTo>
                    <a:cubicBezTo>
                      <a:pt x="1203325" y="317785"/>
                      <a:pt x="1201908" y="318507"/>
                      <a:pt x="1200490" y="319230"/>
                    </a:cubicBezTo>
                    <a:cubicBezTo>
                      <a:pt x="1196238" y="319230"/>
                      <a:pt x="1185607" y="319230"/>
                      <a:pt x="1173559" y="320675"/>
                    </a:cubicBezTo>
                    <a:cubicBezTo>
                      <a:pt x="1170016" y="319953"/>
                      <a:pt x="1167181" y="319230"/>
                      <a:pt x="1163637" y="317785"/>
                    </a:cubicBezTo>
                    <a:cubicBezTo>
                      <a:pt x="1167181" y="306946"/>
                      <a:pt x="1171433" y="293939"/>
                      <a:pt x="1171433" y="278765"/>
                    </a:cubicBezTo>
                    <a:cubicBezTo>
                      <a:pt x="1171433" y="262868"/>
                      <a:pt x="1169307" y="247694"/>
                      <a:pt x="1165055" y="233242"/>
                    </a:cubicBezTo>
                    <a:cubicBezTo>
                      <a:pt x="1165763" y="223126"/>
                      <a:pt x="1165763" y="215900"/>
                      <a:pt x="1167890" y="215900"/>
                    </a:cubicBezTo>
                    <a:close/>
                    <a:moveTo>
                      <a:pt x="1275200" y="0"/>
                    </a:moveTo>
                    <a:cubicBezTo>
                      <a:pt x="1344383" y="0"/>
                      <a:pt x="1397875" y="55508"/>
                      <a:pt x="1397875" y="124537"/>
                    </a:cubicBezTo>
                    <a:cubicBezTo>
                      <a:pt x="1397875" y="138770"/>
                      <a:pt x="1398588" y="153003"/>
                      <a:pt x="1393596" y="166524"/>
                    </a:cubicBezTo>
                    <a:cubicBezTo>
                      <a:pt x="1393596" y="166524"/>
                      <a:pt x="1393596" y="165812"/>
                      <a:pt x="1393596" y="165812"/>
                    </a:cubicBezTo>
                    <a:cubicBezTo>
                      <a:pt x="1392882" y="166524"/>
                      <a:pt x="1391456" y="172217"/>
                      <a:pt x="1380044" y="185026"/>
                    </a:cubicBezTo>
                    <a:cubicBezTo>
                      <a:pt x="1380044" y="185026"/>
                      <a:pt x="1379331" y="185738"/>
                      <a:pt x="1378618" y="185738"/>
                    </a:cubicBezTo>
                    <a:cubicBezTo>
                      <a:pt x="1378618" y="185738"/>
                      <a:pt x="1378618" y="185738"/>
                      <a:pt x="1370772" y="185738"/>
                    </a:cubicBezTo>
                    <a:cubicBezTo>
                      <a:pt x="1370772" y="185738"/>
                      <a:pt x="1370772" y="185738"/>
                      <a:pt x="1370059" y="185026"/>
                    </a:cubicBezTo>
                    <a:cubicBezTo>
                      <a:pt x="1370059" y="185026"/>
                      <a:pt x="1370059" y="185026"/>
                      <a:pt x="1208870" y="100341"/>
                    </a:cubicBezTo>
                    <a:cubicBezTo>
                      <a:pt x="1208157" y="99630"/>
                      <a:pt x="1208157" y="99630"/>
                      <a:pt x="1207444" y="99630"/>
                    </a:cubicBezTo>
                    <a:cubicBezTo>
                      <a:pt x="1171782" y="111728"/>
                      <a:pt x="1171782" y="185738"/>
                      <a:pt x="1159658" y="175064"/>
                    </a:cubicBezTo>
                    <a:cubicBezTo>
                      <a:pt x="1154665" y="161542"/>
                      <a:pt x="1152525" y="139482"/>
                      <a:pt x="1152525" y="124537"/>
                    </a:cubicBezTo>
                    <a:cubicBezTo>
                      <a:pt x="1152525" y="55508"/>
                      <a:pt x="1206017" y="0"/>
                      <a:pt x="1275200" y="0"/>
                    </a:cubicBezTo>
                    <a:close/>
                    <a:moveTo>
                      <a:pt x="763587" y="0"/>
                    </a:moveTo>
                    <a:cubicBezTo>
                      <a:pt x="832122" y="0"/>
                      <a:pt x="884237" y="55458"/>
                      <a:pt x="884237" y="123004"/>
                    </a:cubicBezTo>
                    <a:cubicBezTo>
                      <a:pt x="884237" y="137935"/>
                      <a:pt x="884237" y="152155"/>
                      <a:pt x="879953" y="164953"/>
                    </a:cubicBezTo>
                    <a:cubicBezTo>
                      <a:pt x="879239" y="164953"/>
                      <a:pt x="877098" y="171352"/>
                      <a:pt x="866389" y="184150"/>
                    </a:cubicBezTo>
                    <a:cubicBezTo>
                      <a:pt x="866389" y="184150"/>
                      <a:pt x="866389" y="184150"/>
                      <a:pt x="857108" y="184150"/>
                    </a:cubicBezTo>
                    <a:cubicBezTo>
                      <a:pt x="857108" y="184150"/>
                      <a:pt x="857108" y="179173"/>
                      <a:pt x="856394" y="93142"/>
                    </a:cubicBezTo>
                    <a:cubicBezTo>
                      <a:pt x="842116" y="162109"/>
                      <a:pt x="697194" y="98830"/>
                      <a:pt x="697194" y="98830"/>
                    </a:cubicBezTo>
                    <a:cubicBezTo>
                      <a:pt x="661498" y="110206"/>
                      <a:pt x="667923" y="182017"/>
                      <a:pt x="667923" y="182017"/>
                    </a:cubicBezTo>
                    <a:cubicBezTo>
                      <a:pt x="667923" y="182017"/>
                      <a:pt x="667923" y="182017"/>
                      <a:pt x="660070" y="181306"/>
                    </a:cubicBezTo>
                    <a:cubicBezTo>
                      <a:pt x="660070" y="181306"/>
                      <a:pt x="660070" y="177040"/>
                      <a:pt x="647934" y="166375"/>
                    </a:cubicBezTo>
                    <a:cubicBezTo>
                      <a:pt x="642937" y="152866"/>
                      <a:pt x="642937" y="138646"/>
                      <a:pt x="642937" y="123004"/>
                    </a:cubicBezTo>
                    <a:cubicBezTo>
                      <a:pt x="642937" y="55458"/>
                      <a:pt x="695052" y="0"/>
                      <a:pt x="763587" y="0"/>
                    </a:cubicBezTo>
                    <a:close/>
                    <a:moveTo>
                      <a:pt x="252412" y="0"/>
                    </a:moveTo>
                    <a:cubicBezTo>
                      <a:pt x="320233" y="0"/>
                      <a:pt x="373062" y="55458"/>
                      <a:pt x="373062" y="123004"/>
                    </a:cubicBezTo>
                    <a:cubicBezTo>
                      <a:pt x="373062" y="137935"/>
                      <a:pt x="373062" y="152155"/>
                      <a:pt x="368778" y="164953"/>
                    </a:cubicBezTo>
                    <a:cubicBezTo>
                      <a:pt x="368064" y="164953"/>
                      <a:pt x="368064" y="164953"/>
                      <a:pt x="368064" y="164953"/>
                    </a:cubicBezTo>
                    <a:cubicBezTo>
                      <a:pt x="368064" y="164953"/>
                      <a:pt x="365923" y="171352"/>
                      <a:pt x="354500" y="184150"/>
                    </a:cubicBezTo>
                    <a:cubicBezTo>
                      <a:pt x="354500" y="184150"/>
                      <a:pt x="354500" y="184150"/>
                      <a:pt x="345933" y="184150"/>
                    </a:cubicBezTo>
                    <a:cubicBezTo>
                      <a:pt x="345933" y="184150"/>
                      <a:pt x="345933" y="179173"/>
                      <a:pt x="344506" y="93142"/>
                    </a:cubicBezTo>
                    <a:cubicBezTo>
                      <a:pt x="330941" y="162109"/>
                      <a:pt x="186019" y="98830"/>
                      <a:pt x="186019" y="98830"/>
                    </a:cubicBezTo>
                    <a:cubicBezTo>
                      <a:pt x="150323" y="110206"/>
                      <a:pt x="156748" y="182017"/>
                      <a:pt x="156748" y="182017"/>
                    </a:cubicBezTo>
                    <a:cubicBezTo>
                      <a:pt x="156748" y="182017"/>
                      <a:pt x="156748" y="182017"/>
                      <a:pt x="148182" y="181306"/>
                    </a:cubicBezTo>
                    <a:cubicBezTo>
                      <a:pt x="148182" y="181306"/>
                      <a:pt x="148182" y="177040"/>
                      <a:pt x="136759" y="166375"/>
                    </a:cubicBezTo>
                    <a:cubicBezTo>
                      <a:pt x="131762" y="152866"/>
                      <a:pt x="131762" y="138646"/>
                      <a:pt x="131762" y="123004"/>
                    </a:cubicBezTo>
                    <a:cubicBezTo>
                      <a:pt x="131762" y="55458"/>
                      <a:pt x="183877" y="0"/>
                      <a:pt x="252412"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a:buClrTx/>
                  <a:buFontTx/>
                  <a:buNone/>
                </a:pPr>
                <a:endParaRPr lang="en-US" sz="1800" kern="1200">
                  <a:latin typeface="Calibri" panose="020F0502020204030204"/>
                  <a:ea typeface="+mn-ea"/>
                  <a:cs typeface="+mn-cs"/>
                </a:endParaRPr>
              </a:p>
            </p:txBody>
          </p:sp>
          <p:sp>
            <p:nvSpPr>
              <p:cNvPr id="63" name="Freeform 11">
                <a:extLst>
                  <a:ext uri="{FF2B5EF4-FFF2-40B4-BE49-F238E27FC236}">
                    <a16:creationId xmlns:a16="http://schemas.microsoft.com/office/drawing/2014/main" id="{77A1F338-A555-DC3E-9648-935514F16819}"/>
                  </a:ext>
                </a:extLst>
              </p:cNvPr>
              <p:cNvSpPr>
                <a:spLocks/>
              </p:cNvSpPr>
              <p:nvPr/>
            </p:nvSpPr>
            <p:spPr bwMode="auto">
              <a:xfrm>
                <a:off x="5620327" y="3249613"/>
                <a:ext cx="951344" cy="458787"/>
              </a:xfrm>
              <a:custGeom>
                <a:avLst/>
                <a:gdLst>
                  <a:gd name="connsiteX0" fmla="*/ 660078 w 951344"/>
                  <a:gd name="connsiteY0" fmla="*/ 296862 h 458787"/>
                  <a:gd name="connsiteX1" fmla="*/ 691398 w 951344"/>
                  <a:gd name="connsiteY1" fmla="*/ 313982 h 458787"/>
                  <a:gd name="connsiteX2" fmla="*/ 709193 w 951344"/>
                  <a:gd name="connsiteY2" fmla="*/ 318262 h 458787"/>
                  <a:gd name="connsiteX3" fmla="*/ 731260 w 951344"/>
                  <a:gd name="connsiteY3" fmla="*/ 319689 h 458787"/>
                  <a:gd name="connsiteX4" fmla="*/ 753326 w 951344"/>
                  <a:gd name="connsiteY4" fmla="*/ 318262 h 458787"/>
                  <a:gd name="connsiteX5" fmla="*/ 771121 w 951344"/>
                  <a:gd name="connsiteY5" fmla="*/ 313982 h 458787"/>
                  <a:gd name="connsiteX6" fmla="*/ 803153 w 951344"/>
                  <a:gd name="connsiteY6" fmla="*/ 296862 h 458787"/>
                  <a:gd name="connsiteX7" fmla="*/ 897824 w 951344"/>
                  <a:gd name="connsiteY7" fmla="*/ 313269 h 458787"/>
                  <a:gd name="connsiteX8" fmla="*/ 907790 w 951344"/>
                  <a:gd name="connsiteY8" fmla="*/ 322542 h 458787"/>
                  <a:gd name="connsiteX9" fmla="*/ 916332 w 951344"/>
                  <a:gd name="connsiteY9" fmla="*/ 337522 h 458787"/>
                  <a:gd name="connsiteX10" fmla="*/ 923450 w 951344"/>
                  <a:gd name="connsiteY10" fmla="*/ 353928 h 458787"/>
                  <a:gd name="connsiteX11" fmla="*/ 923450 w 951344"/>
                  <a:gd name="connsiteY11" fmla="*/ 355355 h 458787"/>
                  <a:gd name="connsiteX12" fmla="*/ 934127 w 951344"/>
                  <a:gd name="connsiteY12" fmla="*/ 386741 h 458787"/>
                  <a:gd name="connsiteX13" fmla="*/ 951210 w 951344"/>
                  <a:gd name="connsiteY13" fmla="*/ 451654 h 458787"/>
                  <a:gd name="connsiteX14" fmla="*/ 945516 w 951344"/>
                  <a:gd name="connsiteY14" fmla="*/ 458787 h 458787"/>
                  <a:gd name="connsiteX15" fmla="*/ 517004 w 951344"/>
                  <a:gd name="connsiteY15" fmla="*/ 458787 h 458787"/>
                  <a:gd name="connsiteX16" fmla="*/ 512021 w 951344"/>
                  <a:gd name="connsiteY16" fmla="*/ 451654 h 458787"/>
                  <a:gd name="connsiteX17" fmla="*/ 529104 w 951344"/>
                  <a:gd name="connsiteY17" fmla="*/ 386741 h 458787"/>
                  <a:gd name="connsiteX18" fmla="*/ 539070 w 951344"/>
                  <a:gd name="connsiteY18" fmla="*/ 355355 h 458787"/>
                  <a:gd name="connsiteX19" fmla="*/ 539782 w 951344"/>
                  <a:gd name="connsiteY19" fmla="*/ 353928 h 458787"/>
                  <a:gd name="connsiteX20" fmla="*/ 546188 w 951344"/>
                  <a:gd name="connsiteY20" fmla="*/ 337522 h 458787"/>
                  <a:gd name="connsiteX21" fmla="*/ 554730 w 951344"/>
                  <a:gd name="connsiteY21" fmla="*/ 322542 h 458787"/>
                  <a:gd name="connsiteX22" fmla="*/ 565407 w 951344"/>
                  <a:gd name="connsiteY22" fmla="*/ 313269 h 458787"/>
                  <a:gd name="connsiteX23" fmla="*/ 660078 w 951344"/>
                  <a:gd name="connsiteY23" fmla="*/ 296862 h 458787"/>
                  <a:gd name="connsiteX24" fmla="*/ 148191 w 951344"/>
                  <a:gd name="connsiteY24" fmla="*/ 296862 h 458787"/>
                  <a:gd name="connsiteX25" fmla="*/ 178799 w 951344"/>
                  <a:gd name="connsiteY25" fmla="*/ 313269 h 458787"/>
                  <a:gd name="connsiteX26" fmla="*/ 198018 w 951344"/>
                  <a:gd name="connsiteY26" fmla="*/ 318262 h 458787"/>
                  <a:gd name="connsiteX27" fmla="*/ 220084 w 951344"/>
                  <a:gd name="connsiteY27" fmla="*/ 319689 h 458787"/>
                  <a:gd name="connsiteX28" fmla="*/ 242151 w 951344"/>
                  <a:gd name="connsiteY28" fmla="*/ 318262 h 458787"/>
                  <a:gd name="connsiteX29" fmla="*/ 259946 w 951344"/>
                  <a:gd name="connsiteY29" fmla="*/ 313982 h 458787"/>
                  <a:gd name="connsiteX30" fmla="*/ 291266 w 951344"/>
                  <a:gd name="connsiteY30" fmla="*/ 296862 h 458787"/>
                  <a:gd name="connsiteX31" fmla="*/ 385937 w 951344"/>
                  <a:gd name="connsiteY31" fmla="*/ 313269 h 458787"/>
                  <a:gd name="connsiteX32" fmla="*/ 396614 w 951344"/>
                  <a:gd name="connsiteY32" fmla="*/ 322542 h 458787"/>
                  <a:gd name="connsiteX33" fmla="*/ 405156 w 951344"/>
                  <a:gd name="connsiteY33" fmla="*/ 337522 h 458787"/>
                  <a:gd name="connsiteX34" fmla="*/ 411562 w 951344"/>
                  <a:gd name="connsiteY34" fmla="*/ 353928 h 458787"/>
                  <a:gd name="connsiteX35" fmla="*/ 412274 w 951344"/>
                  <a:gd name="connsiteY35" fmla="*/ 355355 h 458787"/>
                  <a:gd name="connsiteX36" fmla="*/ 422240 w 951344"/>
                  <a:gd name="connsiteY36" fmla="*/ 386741 h 458787"/>
                  <a:gd name="connsiteX37" fmla="*/ 439323 w 951344"/>
                  <a:gd name="connsiteY37" fmla="*/ 451654 h 458787"/>
                  <a:gd name="connsiteX38" fmla="*/ 434340 w 951344"/>
                  <a:gd name="connsiteY38" fmla="*/ 458787 h 458787"/>
                  <a:gd name="connsiteX39" fmla="*/ 5828 w 951344"/>
                  <a:gd name="connsiteY39" fmla="*/ 458787 h 458787"/>
                  <a:gd name="connsiteX40" fmla="*/ 134 w 951344"/>
                  <a:gd name="connsiteY40" fmla="*/ 451654 h 458787"/>
                  <a:gd name="connsiteX41" fmla="*/ 17217 w 951344"/>
                  <a:gd name="connsiteY41" fmla="*/ 386741 h 458787"/>
                  <a:gd name="connsiteX42" fmla="*/ 27894 w 951344"/>
                  <a:gd name="connsiteY42" fmla="*/ 355355 h 458787"/>
                  <a:gd name="connsiteX43" fmla="*/ 27894 w 951344"/>
                  <a:gd name="connsiteY43" fmla="*/ 353928 h 458787"/>
                  <a:gd name="connsiteX44" fmla="*/ 33589 w 951344"/>
                  <a:gd name="connsiteY44" fmla="*/ 341088 h 458787"/>
                  <a:gd name="connsiteX45" fmla="*/ 43554 w 951344"/>
                  <a:gd name="connsiteY45" fmla="*/ 322542 h 458787"/>
                  <a:gd name="connsiteX46" fmla="*/ 53520 w 951344"/>
                  <a:gd name="connsiteY46" fmla="*/ 313269 h 458787"/>
                  <a:gd name="connsiteX47" fmla="*/ 148191 w 951344"/>
                  <a:gd name="connsiteY47" fmla="*/ 296862 h 458787"/>
                  <a:gd name="connsiteX48" fmla="*/ 731260 w 951344"/>
                  <a:gd name="connsiteY48" fmla="*/ 0 h 458787"/>
                  <a:gd name="connsiteX49" fmla="*/ 851910 w 951344"/>
                  <a:gd name="connsiteY49" fmla="*/ 123188 h 458787"/>
                  <a:gd name="connsiteX50" fmla="*/ 849055 w 951344"/>
                  <a:gd name="connsiteY50" fmla="*/ 142414 h 458787"/>
                  <a:gd name="connsiteX51" fmla="*/ 848341 w 951344"/>
                  <a:gd name="connsiteY51" fmla="*/ 143838 h 458787"/>
                  <a:gd name="connsiteX52" fmla="*/ 842629 w 951344"/>
                  <a:gd name="connsiteY52" fmla="*/ 161640 h 458787"/>
                  <a:gd name="connsiteX53" fmla="*/ 842629 w 951344"/>
                  <a:gd name="connsiteY53" fmla="*/ 162352 h 458787"/>
                  <a:gd name="connsiteX54" fmla="*/ 838346 w 951344"/>
                  <a:gd name="connsiteY54" fmla="*/ 171609 h 458787"/>
                  <a:gd name="connsiteX55" fmla="*/ 826210 w 951344"/>
                  <a:gd name="connsiteY55" fmla="*/ 192971 h 458787"/>
                  <a:gd name="connsiteX56" fmla="*/ 806220 w 951344"/>
                  <a:gd name="connsiteY56" fmla="*/ 216470 h 458787"/>
                  <a:gd name="connsiteX57" fmla="*/ 796940 w 951344"/>
                  <a:gd name="connsiteY57" fmla="*/ 238544 h 458787"/>
                  <a:gd name="connsiteX58" fmla="*/ 791228 w 951344"/>
                  <a:gd name="connsiteY58" fmla="*/ 244952 h 458787"/>
                  <a:gd name="connsiteX59" fmla="*/ 770525 w 951344"/>
                  <a:gd name="connsiteY59" fmla="*/ 258482 h 458787"/>
                  <a:gd name="connsiteX60" fmla="*/ 731260 w 951344"/>
                  <a:gd name="connsiteY60" fmla="*/ 269875 h 458787"/>
                  <a:gd name="connsiteX61" fmla="*/ 691995 w 951344"/>
                  <a:gd name="connsiteY61" fmla="*/ 257770 h 458787"/>
                  <a:gd name="connsiteX62" fmla="*/ 671292 w 951344"/>
                  <a:gd name="connsiteY62" fmla="*/ 244240 h 458787"/>
                  <a:gd name="connsiteX63" fmla="*/ 665581 w 951344"/>
                  <a:gd name="connsiteY63" fmla="*/ 238544 h 458787"/>
                  <a:gd name="connsiteX64" fmla="*/ 656300 w 951344"/>
                  <a:gd name="connsiteY64" fmla="*/ 216470 h 458787"/>
                  <a:gd name="connsiteX65" fmla="*/ 637025 w 951344"/>
                  <a:gd name="connsiteY65" fmla="*/ 192971 h 458787"/>
                  <a:gd name="connsiteX66" fmla="*/ 624174 w 951344"/>
                  <a:gd name="connsiteY66" fmla="*/ 171609 h 458787"/>
                  <a:gd name="connsiteX67" fmla="*/ 619177 w 951344"/>
                  <a:gd name="connsiteY67" fmla="*/ 159504 h 458787"/>
                  <a:gd name="connsiteX68" fmla="*/ 619177 w 951344"/>
                  <a:gd name="connsiteY68" fmla="*/ 158080 h 458787"/>
                  <a:gd name="connsiteX69" fmla="*/ 610610 w 951344"/>
                  <a:gd name="connsiteY69" fmla="*/ 123188 h 458787"/>
                  <a:gd name="connsiteX70" fmla="*/ 731260 w 951344"/>
                  <a:gd name="connsiteY70" fmla="*/ 0 h 458787"/>
                  <a:gd name="connsiteX71" fmla="*/ 220085 w 951344"/>
                  <a:gd name="connsiteY71" fmla="*/ 0 h 458787"/>
                  <a:gd name="connsiteX72" fmla="*/ 340735 w 951344"/>
                  <a:gd name="connsiteY72" fmla="*/ 123188 h 458787"/>
                  <a:gd name="connsiteX73" fmla="*/ 331454 w 951344"/>
                  <a:gd name="connsiteY73" fmla="*/ 161640 h 458787"/>
                  <a:gd name="connsiteX74" fmla="*/ 331454 w 951344"/>
                  <a:gd name="connsiteY74" fmla="*/ 162352 h 458787"/>
                  <a:gd name="connsiteX75" fmla="*/ 327171 w 951344"/>
                  <a:gd name="connsiteY75" fmla="*/ 171609 h 458787"/>
                  <a:gd name="connsiteX76" fmla="*/ 315034 w 951344"/>
                  <a:gd name="connsiteY76" fmla="*/ 192971 h 458787"/>
                  <a:gd name="connsiteX77" fmla="*/ 295045 w 951344"/>
                  <a:gd name="connsiteY77" fmla="*/ 216470 h 458787"/>
                  <a:gd name="connsiteX78" fmla="*/ 285764 w 951344"/>
                  <a:gd name="connsiteY78" fmla="*/ 238544 h 458787"/>
                  <a:gd name="connsiteX79" fmla="*/ 279339 w 951344"/>
                  <a:gd name="connsiteY79" fmla="*/ 244952 h 458787"/>
                  <a:gd name="connsiteX80" fmla="*/ 259350 w 951344"/>
                  <a:gd name="connsiteY80" fmla="*/ 258482 h 458787"/>
                  <a:gd name="connsiteX81" fmla="*/ 220085 w 951344"/>
                  <a:gd name="connsiteY81" fmla="*/ 269875 h 458787"/>
                  <a:gd name="connsiteX82" fmla="*/ 180106 w 951344"/>
                  <a:gd name="connsiteY82" fmla="*/ 257770 h 458787"/>
                  <a:gd name="connsiteX83" fmla="*/ 159403 w 951344"/>
                  <a:gd name="connsiteY83" fmla="*/ 244240 h 458787"/>
                  <a:gd name="connsiteX84" fmla="*/ 154405 w 951344"/>
                  <a:gd name="connsiteY84" fmla="*/ 238544 h 458787"/>
                  <a:gd name="connsiteX85" fmla="*/ 145125 w 951344"/>
                  <a:gd name="connsiteY85" fmla="*/ 216470 h 458787"/>
                  <a:gd name="connsiteX86" fmla="*/ 125849 w 951344"/>
                  <a:gd name="connsiteY86" fmla="*/ 192971 h 458787"/>
                  <a:gd name="connsiteX87" fmla="*/ 112999 w 951344"/>
                  <a:gd name="connsiteY87" fmla="*/ 171609 h 458787"/>
                  <a:gd name="connsiteX88" fmla="*/ 108002 w 951344"/>
                  <a:gd name="connsiteY88" fmla="*/ 159504 h 458787"/>
                  <a:gd name="connsiteX89" fmla="*/ 107288 w 951344"/>
                  <a:gd name="connsiteY89" fmla="*/ 158080 h 458787"/>
                  <a:gd name="connsiteX90" fmla="*/ 99435 w 951344"/>
                  <a:gd name="connsiteY90" fmla="*/ 123188 h 458787"/>
                  <a:gd name="connsiteX91" fmla="*/ 220085 w 951344"/>
                  <a:gd name="connsiteY91" fmla="*/ 0 h 458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951344" h="458787">
                    <a:moveTo>
                      <a:pt x="660078" y="296862"/>
                    </a:moveTo>
                    <a:cubicBezTo>
                      <a:pt x="660078" y="296862"/>
                      <a:pt x="670756" y="306849"/>
                      <a:pt x="691398" y="313982"/>
                    </a:cubicBezTo>
                    <a:cubicBezTo>
                      <a:pt x="696381" y="315409"/>
                      <a:pt x="702787" y="316835"/>
                      <a:pt x="709193" y="318262"/>
                    </a:cubicBezTo>
                    <a:cubicBezTo>
                      <a:pt x="716312" y="318975"/>
                      <a:pt x="723430" y="319689"/>
                      <a:pt x="731260" y="319689"/>
                    </a:cubicBezTo>
                    <a:cubicBezTo>
                      <a:pt x="739090" y="319689"/>
                      <a:pt x="746920" y="318975"/>
                      <a:pt x="753326" y="318262"/>
                    </a:cubicBezTo>
                    <a:cubicBezTo>
                      <a:pt x="759732" y="316835"/>
                      <a:pt x="766139" y="315409"/>
                      <a:pt x="771121" y="313982"/>
                    </a:cubicBezTo>
                    <a:cubicBezTo>
                      <a:pt x="792476" y="306849"/>
                      <a:pt x="803153" y="296862"/>
                      <a:pt x="803153" y="296862"/>
                    </a:cubicBezTo>
                    <a:cubicBezTo>
                      <a:pt x="803153" y="296862"/>
                      <a:pt x="864369" y="297575"/>
                      <a:pt x="897824" y="313269"/>
                    </a:cubicBezTo>
                    <a:cubicBezTo>
                      <a:pt x="901383" y="314695"/>
                      <a:pt x="904231" y="318262"/>
                      <a:pt x="907790" y="322542"/>
                    </a:cubicBezTo>
                    <a:cubicBezTo>
                      <a:pt x="910637" y="326822"/>
                      <a:pt x="913484" y="331815"/>
                      <a:pt x="916332" y="337522"/>
                    </a:cubicBezTo>
                    <a:cubicBezTo>
                      <a:pt x="918467" y="342515"/>
                      <a:pt x="921314" y="348222"/>
                      <a:pt x="923450" y="353928"/>
                    </a:cubicBezTo>
                    <a:cubicBezTo>
                      <a:pt x="923450" y="354642"/>
                      <a:pt x="923450" y="355355"/>
                      <a:pt x="923450" y="355355"/>
                    </a:cubicBezTo>
                    <a:cubicBezTo>
                      <a:pt x="927721" y="365341"/>
                      <a:pt x="930568" y="376041"/>
                      <a:pt x="934127" y="386741"/>
                    </a:cubicBezTo>
                    <a:cubicBezTo>
                      <a:pt x="941957" y="415274"/>
                      <a:pt x="947651" y="443094"/>
                      <a:pt x="951210" y="451654"/>
                    </a:cubicBezTo>
                    <a:cubicBezTo>
                      <a:pt x="951922" y="455221"/>
                      <a:pt x="949787" y="458787"/>
                      <a:pt x="945516" y="458787"/>
                    </a:cubicBezTo>
                    <a:cubicBezTo>
                      <a:pt x="945516" y="458787"/>
                      <a:pt x="945516" y="458787"/>
                      <a:pt x="517004" y="458787"/>
                    </a:cubicBezTo>
                    <a:cubicBezTo>
                      <a:pt x="513445" y="458787"/>
                      <a:pt x="510597" y="455221"/>
                      <a:pt x="512021" y="451654"/>
                    </a:cubicBezTo>
                    <a:cubicBezTo>
                      <a:pt x="514868" y="443094"/>
                      <a:pt x="520563" y="415274"/>
                      <a:pt x="529104" y="386741"/>
                    </a:cubicBezTo>
                    <a:cubicBezTo>
                      <a:pt x="531952" y="376041"/>
                      <a:pt x="535511" y="365341"/>
                      <a:pt x="539070" y="355355"/>
                    </a:cubicBezTo>
                    <a:cubicBezTo>
                      <a:pt x="539070" y="355355"/>
                      <a:pt x="539070" y="354642"/>
                      <a:pt x="539782" y="353928"/>
                    </a:cubicBezTo>
                    <a:cubicBezTo>
                      <a:pt x="541917" y="348222"/>
                      <a:pt x="544053" y="342515"/>
                      <a:pt x="546188" y="337522"/>
                    </a:cubicBezTo>
                    <a:cubicBezTo>
                      <a:pt x="549035" y="331815"/>
                      <a:pt x="551882" y="326822"/>
                      <a:pt x="554730" y="322542"/>
                    </a:cubicBezTo>
                    <a:cubicBezTo>
                      <a:pt x="558289" y="318262"/>
                      <a:pt x="561848" y="314695"/>
                      <a:pt x="565407" y="313269"/>
                    </a:cubicBezTo>
                    <a:cubicBezTo>
                      <a:pt x="598150" y="297575"/>
                      <a:pt x="660078" y="296862"/>
                      <a:pt x="660078" y="296862"/>
                    </a:cubicBezTo>
                    <a:close/>
                    <a:moveTo>
                      <a:pt x="148191" y="296862"/>
                    </a:moveTo>
                    <a:cubicBezTo>
                      <a:pt x="148191" y="296862"/>
                      <a:pt x="158868" y="306849"/>
                      <a:pt x="178799" y="313269"/>
                    </a:cubicBezTo>
                    <a:cubicBezTo>
                      <a:pt x="184494" y="315409"/>
                      <a:pt x="190900" y="316835"/>
                      <a:pt x="198018" y="318262"/>
                    </a:cubicBezTo>
                    <a:cubicBezTo>
                      <a:pt x="204424" y="318975"/>
                      <a:pt x="212254" y="319689"/>
                      <a:pt x="220084" y="319689"/>
                    </a:cubicBezTo>
                    <a:cubicBezTo>
                      <a:pt x="227914" y="319689"/>
                      <a:pt x="235032" y="318975"/>
                      <a:pt x="242151" y="318262"/>
                    </a:cubicBezTo>
                    <a:cubicBezTo>
                      <a:pt x="248557" y="316835"/>
                      <a:pt x="254963" y="315409"/>
                      <a:pt x="259946" y="313982"/>
                    </a:cubicBezTo>
                    <a:cubicBezTo>
                      <a:pt x="280588" y="306849"/>
                      <a:pt x="291266" y="296862"/>
                      <a:pt x="291266" y="296862"/>
                    </a:cubicBezTo>
                    <a:cubicBezTo>
                      <a:pt x="291266" y="296862"/>
                      <a:pt x="353194" y="297575"/>
                      <a:pt x="385937" y="313269"/>
                    </a:cubicBezTo>
                    <a:cubicBezTo>
                      <a:pt x="389496" y="314695"/>
                      <a:pt x="393055" y="318262"/>
                      <a:pt x="396614" y="322542"/>
                    </a:cubicBezTo>
                    <a:cubicBezTo>
                      <a:pt x="399462" y="326822"/>
                      <a:pt x="402309" y="331815"/>
                      <a:pt x="405156" y="337522"/>
                    </a:cubicBezTo>
                    <a:cubicBezTo>
                      <a:pt x="407291" y="342515"/>
                      <a:pt x="409427" y="348222"/>
                      <a:pt x="411562" y="353928"/>
                    </a:cubicBezTo>
                    <a:cubicBezTo>
                      <a:pt x="412274" y="354642"/>
                      <a:pt x="412274" y="355355"/>
                      <a:pt x="412274" y="355355"/>
                    </a:cubicBezTo>
                    <a:cubicBezTo>
                      <a:pt x="415833" y="365341"/>
                      <a:pt x="419392" y="376041"/>
                      <a:pt x="422240" y="386741"/>
                    </a:cubicBezTo>
                    <a:cubicBezTo>
                      <a:pt x="430781" y="415274"/>
                      <a:pt x="436476" y="443094"/>
                      <a:pt x="439323" y="451654"/>
                    </a:cubicBezTo>
                    <a:cubicBezTo>
                      <a:pt x="440747" y="455221"/>
                      <a:pt x="437900" y="458787"/>
                      <a:pt x="434340" y="458787"/>
                    </a:cubicBezTo>
                    <a:cubicBezTo>
                      <a:pt x="434340" y="458787"/>
                      <a:pt x="434340" y="458787"/>
                      <a:pt x="5828" y="458787"/>
                    </a:cubicBezTo>
                    <a:cubicBezTo>
                      <a:pt x="1557" y="458787"/>
                      <a:pt x="-578" y="455221"/>
                      <a:pt x="134" y="451654"/>
                    </a:cubicBezTo>
                    <a:cubicBezTo>
                      <a:pt x="3693" y="443094"/>
                      <a:pt x="9387" y="415274"/>
                      <a:pt x="17217" y="386741"/>
                    </a:cubicBezTo>
                    <a:cubicBezTo>
                      <a:pt x="20776" y="376041"/>
                      <a:pt x="23623" y="365341"/>
                      <a:pt x="27894" y="355355"/>
                    </a:cubicBezTo>
                    <a:cubicBezTo>
                      <a:pt x="27894" y="355355"/>
                      <a:pt x="27894" y="354642"/>
                      <a:pt x="27894" y="353928"/>
                    </a:cubicBezTo>
                    <a:cubicBezTo>
                      <a:pt x="30030" y="349648"/>
                      <a:pt x="31453" y="345368"/>
                      <a:pt x="33589" y="341088"/>
                    </a:cubicBezTo>
                    <a:cubicBezTo>
                      <a:pt x="36436" y="333955"/>
                      <a:pt x="39995" y="327535"/>
                      <a:pt x="43554" y="322542"/>
                    </a:cubicBezTo>
                    <a:cubicBezTo>
                      <a:pt x="47113" y="318262"/>
                      <a:pt x="49961" y="314695"/>
                      <a:pt x="53520" y="313269"/>
                    </a:cubicBezTo>
                    <a:cubicBezTo>
                      <a:pt x="86975" y="297575"/>
                      <a:pt x="148191" y="296862"/>
                      <a:pt x="148191" y="296862"/>
                    </a:cubicBezTo>
                    <a:close/>
                    <a:moveTo>
                      <a:pt x="731260" y="0"/>
                    </a:moveTo>
                    <a:cubicBezTo>
                      <a:pt x="799795" y="0"/>
                      <a:pt x="851910" y="55541"/>
                      <a:pt x="851910" y="123188"/>
                    </a:cubicBezTo>
                    <a:cubicBezTo>
                      <a:pt x="851910" y="129597"/>
                      <a:pt x="850482" y="136005"/>
                      <a:pt x="849055" y="142414"/>
                    </a:cubicBezTo>
                    <a:cubicBezTo>
                      <a:pt x="849055" y="143126"/>
                      <a:pt x="848341" y="143126"/>
                      <a:pt x="848341" y="143838"/>
                    </a:cubicBezTo>
                    <a:cubicBezTo>
                      <a:pt x="846913" y="150247"/>
                      <a:pt x="844771" y="155943"/>
                      <a:pt x="842629" y="161640"/>
                    </a:cubicBezTo>
                    <a:cubicBezTo>
                      <a:pt x="842629" y="161640"/>
                      <a:pt x="842629" y="161640"/>
                      <a:pt x="842629" y="162352"/>
                    </a:cubicBezTo>
                    <a:cubicBezTo>
                      <a:pt x="842629" y="163776"/>
                      <a:pt x="841202" y="167337"/>
                      <a:pt x="838346" y="171609"/>
                    </a:cubicBezTo>
                    <a:cubicBezTo>
                      <a:pt x="835490" y="178018"/>
                      <a:pt x="831207" y="185850"/>
                      <a:pt x="826210" y="192971"/>
                    </a:cubicBezTo>
                    <a:cubicBezTo>
                      <a:pt x="819785" y="202940"/>
                      <a:pt x="811932" y="212197"/>
                      <a:pt x="806220" y="216470"/>
                    </a:cubicBezTo>
                    <a:cubicBezTo>
                      <a:pt x="799081" y="234983"/>
                      <a:pt x="803365" y="227863"/>
                      <a:pt x="796940" y="238544"/>
                    </a:cubicBezTo>
                    <a:cubicBezTo>
                      <a:pt x="795512" y="240680"/>
                      <a:pt x="793370" y="242816"/>
                      <a:pt x="791228" y="244952"/>
                    </a:cubicBezTo>
                    <a:cubicBezTo>
                      <a:pt x="786231" y="249225"/>
                      <a:pt x="779092" y="254209"/>
                      <a:pt x="770525" y="258482"/>
                    </a:cubicBezTo>
                    <a:cubicBezTo>
                      <a:pt x="757675" y="264890"/>
                      <a:pt x="742683" y="269875"/>
                      <a:pt x="731260" y="269875"/>
                    </a:cubicBezTo>
                    <a:cubicBezTo>
                      <a:pt x="719838" y="269875"/>
                      <a:pt x="704846" y="264178"/>
                      <a:pt x="691995" y="257770"/>
                    </a:cubicBezTo>
                    <a:cubicBezTo>
                      <a:pt x="683429" y="253497"/>
                      <a:pt x="676290" y="248513"/>
                      <a:pt x="671292" y="244240"/>
                    </a:cubicBezTo>
                    <a:cubicBezTo>
                      <a:pt x="669150" y="242104"/>
                      <a:pt x="667009" y="239968"/>
                      <a:pt x="665581" y="238544"/>
                    </a:cubicBezTo>
                    <a:cubicBezTo>
                      <a:pt x="659870" y="229999"/>
                      <a:pt x="663439" y="234983"/>
                      <a:pt x="656300" y="216470"/>
                    </a:cubicBezTo>
                    <a:cubicBezTo>
                      <a:pt x="652017" y="213621"/>
                      <a:pt x="644164" y="203652"/>
                      <a:pt x="637025" y="192971"/>
                    </a:cubicBezTo>
                    <a:cubicBezTo>
                      <a:pt x="632027" y="185850"/>
                      <a:pt x="627744" y="178730"/>
                      <a:pt x="624174" y="171609"/>
                    </a:cubicBezTo>
                    <a:cubicBezTo>
                      <a:pt x="621319" y="166625"/>
                      <a:pt x="619177" y="162352"/>
                      <a:pt x="619177" y="159504"/>
                    </a:cubicBezTo>
                    <a:cubicBezTo>
                      <a:pt x="619177" y="158792"/>
                      <a:pt x="619177" y="158792"/>
                      <a:pt x="619177" y="158080"/>
                    </a:cubicBezTo>
                    <a:cubicBezTo>
                      <a:pt x="616321" y="147399"/>
                      <a:pt x="610610" y="135293"/>
                      <a:pt x="610610" y="123188"/>
                    </a:cubicBezTo>
                    <a:cubicBezTo>
                      <a:pt x="610610" y="55541"/>
                      <a:pt x="663439" y="0"/>
                      <a:pt x="731260" y="0"/>
                    </a:cubicBezTo>
                    <a:close/>
                    <a:moveTo>
                      <a:pt x="220085" y="0"/>
                    </a:moveTo>
                    <a:cubicBezTo>
                      <a:pt x="287906" y="0"/>
                      <a:pt x="340735" y="55541"/>
                      <a:pt x="340735" y="123188"/>
                    </a:cubicBezTo>
                    <a:cubicBezTo>
                      <a:pt x="340735" y="136718"/>
                      <a:pt x="335024" y="149535"/>
                      <a:pt x="331454" y="161640"/>
                    </a:cubicBezTo>
                    <a:cubicBezTo>
                      <a:pt x="331454" y="161640"/>
                      <a:pt x="331454" y="161640"/>
                      <a:pt x="331454" y="162352"/>
                    </a:cubicBezTo>
                    <a:cubicBezTo>
                      <a:pt x="331454" y="163776"/>
                      <a:pt x="330026" y="167337"/>
                      <a:pt x="327171" y="171609"/>
                    </a:cubicBezTo>
                    <a:cubicBezTo>
                      <a:pt x="324315" y="178018"/>
                      <a:pt x="320032" y="185850"/>
                      <a:pt x="315034" y="192971"/>
                    </a:cubicBezTo>
                    <a:cubicBezTo>
                      <a:pt x="307895" y="202940"/>
                      <a:pt x="300756" y="212197"/>
                      <a:pt x="295045" y="216470"/>
                    </a:cubicBezTo>
                    <a:cubicBezTo>
                      <a:pt x="287192" y="234983"/>
                      <a:pt x="291475" y="227863"/>
                      <a:pt x="285764" y="238544"/>
                    </a:cubicBezTo>
                    <a:cubicBezTo>
                      <a:pt x="284336" y="240680"/>
                      <a:pt x="282195" y="242816"/>
                      <a:pt x="279339" y="244952"/>
                    </a:cubicBezTo>
                    <a:cubicBezTo>
                      <a:pt x="274342" y="249225"/>
                      <a:pt x="267203" y="254209"/>
                      <a:pt x="259350" y="258482"/>
                    </a:cubicBezTo>
                    <a:cubicBezTo>
                      <a:pt x="246499" y="264890"/>
                      <a:pt x="231507" y="269875"/>
                      <a:pt x="220085" y="269875"/>
                    </a:cubicBezTo>
                    <a:cubicBezTo>
                      <a:pt x="207948" y="269875"/>
                      <a:pt x="192956" y="264178"/>
                      <a:pt x="180106" y="257770"/>
                    </a:cubicBezTo>
                    <a:cubicBezTo>
                      <a:pt x="172253" y="253497"/>
                      <a:pt x="164400" y="248513"/>
                      <a:pt x="159403" y="244240"/>
                    </a:cubicBezTo>
                    <a:cubicBezTo>
                      <a:pt x="157261" y="242104"/>
                      <a:pt x="155833" y="239968"/>
                      <a:pt x="154405" y="238544"/>
                    </a:cubicBezTo>
                    <a:cubicBezTo>
                      <a:pt x="148694" y="229999"/>
                      <a:pt x="152264" y="234983"/>
                      <a:pt x="145125" y="216470"/>
                    </a:cubicBezTo>
                    <a:cubicBezTo>
                      <a:pt x="140841" y="213621"/>
                      <a:pt x="132988" y="203652"/>
                      <a:pt x="125849" y="192971"/>
                    </a:cubicBezTo>
                    <a:cubicBezTo>
                      <a:pt x="120852" y="185850"/>
                      <a:pt x="115855" y="178730"/>
                      <a:pt x="112999" y="171609"/>
                    </a:cubicBezTo>
                    <a:cubicBezTo>
                      <a:pt x="110143" y="166625"/>
                      <a:pt x="108002" y="162352"/>
                      <a:pt x="108002" y="159504"/>
                    </a:cubicBezTo>
                    <a:cubicBezTo>
                      <a:pt x="107288" y="158792"/>
                      <a:pt x="108002" y="158792"/>
                      <a:pt x="107288" y="158080"/>
                    </a:cubicBezTo>
                    <a:cubicBezTo>
                      <a:pt x="105146" y="147399"/>
                      <a:pt x="99435" y="135293"/>
                      <a:pt x="99435" y="123188"/>
                    </a:cubicBezTo>
                    <a:cubicBezTo>
                      <a:pt x="99435" y="55541"/>
                      <a:pt x="151550" y="0"/>
                      <a:pt x="220085"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a:buClrTx/>
                  <a:buFontTx/>
                  <a:buNone/>
                </a:pPr>
                <a:endParaRPr lang="en-US" sz="1800" kern="1200">
                  <a:latin typeface="Calibri" panose="020F0502020204030204"/>
                  <a:ea typeface="+mn-ea"/>
                  <a:cs typeface="+mn-cs"/>
                </a:endParaRPr>
              </a:p>
            </p:txBody>
          </p:sp>
        </p:grpSp>
      </p:grpSp>
      <p:grpSp>
        <p:nvGrpSpPr>
          <p:cNvPr id="87" name="bcgIcons_Policy ">
            <a:extLst>
              <a:ext uri="{FF2B5EF4-FFF2-40B4-BE49-F238E27FC236}">
                <a16:creationId xmlns:a16="http://schemas.microsoft.com/office/drawing/2014/main" id="{B0097248-CB68-95DF-A404-32F546D8C137}"/>
              </a:ext>
            </a:extLst>
          </p:cNvPr>
          <p:cNvGrpSpPr>
            <a:grpSpLocks noChangeAspect="1"/>
          </p:cNvGrpSpPr>
          <p:nvPr/>
        </p:nvGrpSpPr>
        <p:grpSpPr>
          <a:xfrm>
            <a:off x="4028269" y="2185482"/>
            <a:ext cx="866140" cy="866140"/>
            <a:chOff x="5272088" y="2605088"/>
            <a:chExt cx="1647825" cy="1647825"/>
          </a:xfrm>
        </p:grpSpPr>
        <p:sp>
          <p:nvSpPr>
            <p:cNvPr id="88" name="AutoShape 15">
              <a:extLst>
                <a:ext uri="{FF2B5EF4-FFF2-40B4-BE49-F238E27FC236}">
                  <a16:creationId xmlns:a16="http://schemas.microsoft.com/office/drawing/2014/main" id="{18264EAD-E241-E2FD-E50E-CF72AECE06D7}"/>
                </a:ext>
              </a:extLst>
            </p:cNvPr>
            <p:cNvSpPr>
              <a:spLocks noChangeAspect="1" noChangeArrowheads="1" noTextEdit="1"/>
            </p:cNvSpPr>
            <p:nvPr/>
          </p:nvSpPr>
          <p:spPr bwMode="auto">
            <a:xfrm>
              <a:off x="5272088" y="2605088"/>
              <a:ext cx="1647825" cy="1647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buClrTx/>
                <a:buFontTx/>
                <a:buNone/>
              </a:pPr>
              <a:endParaRPr lang="en-US" sz="1800" kern="1200">
                <a:latin typeface="Calibri" panose="020F0502020204030204"/>
                <a:ea typeface="+mn-ea"/>
                <a:cs typeface="+mn-cs"/>
              </a:endParaRPr>
            </a:p>
          </p:txBody>
        </p:sp>
        <p:grpSp>
          <p:nvGrpSpPr>
            <p:cNvPr id="89" name="Group 88">
              <a:extLst>
                <a:ext uri="{FF2B5EF4-FFF2-40B4-BE49-F238E27FC236}">
                  <a16:creationId xmlns:a16="http://schemas.microsoft.com/office/drawing/2014/main" id="{147DCE63-86FA-DCEC-383F-1C1E5E57C0D5}"/>
                </a:ext>
              </a:extLst>
            </p:cNvPr>
            <p:cNvGrpSpPr/>
            <p:nvPr/>
          </p:nvGrpSpPr>
          <p:grpSpPr>
            <a:xfrm>
              <a:off x="5646738" y="2887662"/>
              <a:ext cx="898525" cy="1193800"/>
              <a:chOff x="5646738" y="2887662"/>
              <a:chExt cx="898525" cy="1193800"/>
            </a:xfrm>
          </p:grpSpPr>
          <p:sp>
            <p:nvSpPr>
              <p:cNvPr id="90" name="Freeform 10">
                <a:extLst>
                  <a:ext uri="{FF2B5EF4-FFF2-40B4-BE49-F238E27FC236}">
                    <a16:creationId xmlns:a16="http://schemas.microsoft.com/office/drawing/2014/main" id="{72192BEF-BB6F-D041-6C51-B4C1FCBF1D90}"/>
                  </a:ext>
                </a:extLst>
              </p:cNvPr>
              <p:cNvSpPr>
                <a:spLocks/>
              </p:cNvSpPr>
              <p:nvPr/>
            </p:nvSpPr>
            <p:spPr bwMode="auto">
              <a:xfrm>
                <a:off x="5763474" y="3074988"/>
                <a:ext cx="621452" cy="914401"/>
              </a:xfrm>
              <a:custGeom>
                <a:avLst/>
                <a:gdLst>
                  <a:gd name="connsiteX0" fmla="*/ 122620 w 621452"/>
                  <a:gd name="connsiteY0" fmla="*/ 661988 h 914401"/>
                  <a:gd name="connsiteX1" fmla="*/ 125475 w 621452"/>
                  <a:gd name="connsiteY1" fmla="*/ 663422 h 914401"/>
                  <a:gd name="connsiteX2" fmla="*/ 137608 w 621452"/>
                  <a:gd name="connsiteY2" fmla="*/ 690671 h 914401"/>
                  <a:gd name="connsiteX3" fmla="*/ 139749 w 621452"/>
                  <a:gd name="connsiteY3" fmla="*/ 692823 h 914401"/>
                  <a:gd name="connsiteX4" fmla="*/ 141890 w 621452"/>
                  <a:gd name="connsiteY4" fmla="*/ 691389 h 914401"/>
                  <a:gd name="connsiteX5" fmla="*/ 162587 w 621452"/>
                  <a:gd name="connsiteY5" fmla="*/ 669876 h 914401"/>
                  <a:gd name="connsiteX6" fmla="*/ 164728 w 621452"/>
                  <a:gd name="connsiteY6" fmla="*/ 669159 h 914401"/>
                  <a:gd name="connsiteX7" fmla="*/ 167583 w 621452"/>
                  <a:gd name="connsiteY7" fmla="*/ 672027 h 914401"/>
                  <a:gd name="connsiteX8" fmla="*/ 169724 w 621452"/>
                  <a:gd name="connsiteY8" fmla="*/ 701428 h 914401"/>
                  <a:gd name="connsiteX9" fmla="*/ 172579 w 621452"/>
                  <a:gd name="connsiteY9" fmla="*/ 704296 h 914401"/>
                  <a:gd name="connsiteX10" fmla="*/ 174006 w 621452"/>
                  <a:gd name="connsiteY10" fmla="*/ 704296 h 914401"/>
                  <a:gd name="connsiteX11" fmla="*/ 200412 w 621452"/>
                  <a:gd name="connsiteY11" fmla="*/ 691389 h 914401"/>
                  <a:gd name="connsiteX12" fmla="*/ 201840 w 621452"/>
                  <a:gd name="connsiteY12" fmla="*/ 690671 h 914401"/>
                  <a:gd name="connsiteX13" fmla="*/ 203981 w 621452"/>
                  <a:gd name="connsiteY13" fmla="*/ 694257 h 914401"/>
                  <a:gd name="connsiteX14" fmla="*/ 196130 w 621452"/>
                  <a:gd name="connsiteY14" fmla="*/ 722940 h 914401"/>
                  <a:gd name="connsiteX15" fmla="*/ 198985 w 621452"/>
                  <a:gd name="connsiteY15" fmla="*/ 726526 h 914401"/>
                  <a:gd name="connsiteX16" fmla="*/ 228960 w 621452"/>
                  <a:gd name="connsiteY16" fmla="*/ 723657 h 914401"/>
                  <a:gd name="connsiteX17" fmla="*/ 231101 w 621452"/>
                  <a:gd name="connsiteY17" fmla="*/ 727960 h 914401"/>
                  <a:gd name="connsiteX18" fmla="*/ 213973 w 621452"/>
                  <a:gd name="connsiteY18" fmla="*/ 752341 h 914401"/>
                  <a:gd name="connsiteX19" fmla="*/ 215400 w 621452"/>
                  <a:gd name="connsiteY19" fmla="*/ 756643 h 914401"/>
                  <a:gd name="connsiteX20" fmla="*/ 243947 w 621452"/>
                  <a:gd name="connsiteY20" fmla="*/ 763814 h 914401"/>
                  <a:gd name="connsiteX21" fmla="*/ 245375 w 621452"/>
                  <a:gd name="connsiteY21" fmla="*/ 768833 h 914401"/>
                  <a:gd name="connsiteX22" fmla="*/ 220396 w 621452"/>
                  <a:gd name="connsiteY22" fmla="*/ 785326 h 914401"/>
                  <a:gd name="connsiteX23" fmla="*/ 220396 w 621452"/>
                  <a:gd name="connsiteY23" fmla="*/ 790346 h 914401"/>
                  <a:gd name="connsiteX24" fmla="*/ 245375 w 621452"/>
                  <a:gd name="connsiteY24" fmla="*/ 806839 h 914401"/>
                  <a:gd name="connsiteX25" fmla="*/ 243947 w 621452"/>
                  <a:gd name="connsiteY25" fmla="*/ 811858 h 914401"/>
                  <a:gd name="connsiteX26" fmla="*/ 215400 w 621452"/>
                  <a:gd name="connsiteY26" fmla="*/ 819029 h 914401"/>
                  <a:gd name="connsiteX27" fmla="*/ 213973 w 621452"/>
                  <a:gd name="connsiteY27" fmla="*/ 824049 h 914401"/>
                  <a:gd name="connsiteX28" fmla="*/ 231101 w 621452"/>
                  <a:gd name="connsiteY28" fmla="*/ 847712 h 914401"/>
                  <a:gd name="connsiteX29" fmla="*/ 228960 w 621452"/>
                  <a:gd name="connsiteY29" fmla="*/ 852732 h 914401"/>
                  <a:gd name="connsiteX30" fmla="*/ 198985 w 621452"/>
                  <a:gd name="connsiteY30" fmla="*/ 849147 h 914401"/>
                  <a:gd name="connsiteX31" fmla="*/ 196130 w 621452"/>
                  <a:gd name="connsiteY31" fmla="*/ 852732 h 914401"/>
                  <a:gd name="connsiteX32" fmla="*/ 203981 w 621452"/>
                  <a:gd name="connsiteY32" fmla="*/ 881415 h 914401"/>
                  <a:gd name="connsiteX33" fmla="*/ 201840 w 621452"/>
                  <a:gd name="connsiteY33" fmla="*/ 885001 h 914401"/>
                  <a:gd name="connsiteX34" fmla="*/ 200412 w 621452"/>
                  <a:gd name="connsiteY34" fmla="*/ 885001 h 914401"/>
                  <a:gd name="connsiteX35" fmla="*/ 174006 w 621452"/>
                  <a:gd name="connsiteY35" fmla="*/ 872093 h 914401"/>
                  <a:gd name="connsiteX36" fmla="*/ 172579 w 621452"/>
                  <a:gd name="connsiteY36" fmla="*/ 871376 h 914401"/>
                  <a:gd name="connsiteX37" fmla="*/ 169724 w 621452"/>
                  <a:gd name="connsiteY37" fmla="*/ 874245 h 914401"/>
                  <a:gd name="connsiteX38" fmla="*/ 167583 w 621452"/>
                  <a:gd name="connsiteY38" fmla="*/ 903645 h 914401"/>
                  <a:gd name="connsiteX39" fmla="*/ 164728 w 621452"/>
                  <a:gd name="connsiteY39" fmla="*/ 906513 h 914401"/>
                  <a:gd name="connsiteX40" fmla="*/ 162587 w 621452"/>
                  <a:gd name="connsiteY40" fmla="*/ 905796 h 914401"/>
                  <a:gd name="connsiteX41" fmla="*/ 141890 w 621452"/>
                  <a:gd name="connsiteY41" fmla="*/ 884284 h 914401"/>
                  <a:gd name="connsiteX42" fmla="*/ 139749 w 621452"/>
                  <a:gd name="connsiteY42" fmla="*/ 883567 h 914401"/>
                  <a:gd name="connsiteX43" fmla="*/ 137608 w 621452"/>
                  <a:gd name="connsiteY43" fmla="*/ 885001 h 914401"/>
                  <a:gd name="connsiteX44" fmla="*/ 125475 w 621452"/>
                  <a:gd name="connsiteY44" fmla="*/ 912250 h 914401"/>
                  <a:gd name="connsiteX45" fmla="*/ 122620 w 621452"/>
                  <a:gd name="connsiteY45" fmla="*/ 914401 h 914401"/>
                  <a:gd name="connsiteX46" fmla="*/ 120479 w 621452"/>
                  <a:gd name="connsiteY46" fmla="*/ 912250 h 914401"/>
                  <a:gd name="connsiteX47" fmla="*/ 108347 w 621452"/>
                  <a:gd name="connsiteY47" fmla="*/ 885001 h 914401"/>
                  <a:gd name="connsiteX48" fmla="*/ 105492 w 621452"/>
                  <a:gd name="connsiteY48" fmla="*/ 883567 h 914401"/>
                  <a:gd name="connsiteX49" fmla="*/ 103351 w 621452"/>
                  <a:gd name="connsiteY49" fmla="*/ 884284 h 914401"/>
                  <a:gd name="connsiteX50" fmla="*/ 82654 w 621452"/>
                  <a:gd name="connsiteY50" fmla="*/ 905796 h 914401"/>
                  <a:gd name="connsiteX51" fmla="*/ 80513 w 621452"/>
                  <a:gd name="connsiteY51" fmla="*/ 906513 h 914401"/>
                  <a:gd name="connsiteX52" fmla="*/ 77658 w 621452"/>
                  <a:gd name="connsiteY52" fmla="*/ 903645 h 914401"/>
                  <a:gd name="connsiteX53" fmla="*/ 75517 w 621452"/>
                  <a:gd name="connsiteY53" fmla="*/ 874245 h 914401"/>
                  <a:gd name="connsiteX54" fmla="*/ 73376 w 621452"/>
                  <a:gd name="connsiteY54" fmla="*/ 871376 h 914401"/>
                  <a:gd name="connsiteX55" fmla="*/ 71948 w 621452"/>
                  <a:gd name="connsiteY55" fmla="*/ 872093 h 914401"/>
                  <a:gd name="connsiteX56" fmla="*/ 44828 w 621452"/>
                  <a:gd name="connsiteY56" fmla="*/ 885001 h 914401"/>
                  <a:gd name="connsiteX57" fmla="*/ 44115 w 621452"/>
                  <a:gd name="connsiteY57" fmla="*/ 885001 h 914401"/>
                  <a:gd name="connsiteX58" fmla="*/ 41974 w 621452"/>
                  <a:gd name="connsiteY58" fmla="*/ 881415 h 914401"/>
                  <a:gd name="connsiteX59" fmla="*/ 49110 w 621452"/>
                  <a:gd name="connsiteY59" fmla="*/ 852732 h 914401"/>
                  <a:gd name="connsiteX60" fmla="*/ 46256 w 621452"/>
                  <a:gd name="connsiteY60" fmla="*/ 849147 h 914401"/>
                  <a:gd name="connsiteX61" fmla="*/ 17708 w 621452"/>
                  <a:gd name="connsiteY61" fmla="*/ 852732 h 914401"/>
                  <a:gd name="connsiteX62" fmla="*/ 16994 w 621452"/>
                  <a:gd name="connsiteY62" fmla="*/ 852732 h 914401"/>
                  <a:gd name="connsiteX63" fmla="*/ 14853 w 621452"/>
                  <a:gd name="connsiteY63" fmla="*/ 847712 h 914401"/>
                  <a:gd name="connsiteX64" fmla="*/ 32696 w 621452"/>
                  <a:gd name="connsiteY64" fmla="*/ 824049 h 914401"/>
                  <a:gd name="connsiteX65" fmla="*/ 30555 w 621452"/>
                  <a:gd name="connsiteY65" fmla="*/ 819029 h 914401"/>
                  <a:gd name="connsiteX66" fmla="*/ 2007 w 621452"/>
                  <a:gd name="connsiteY66" fmla="*/ 811858 h 914401"/>
                  <a:gd name="connsiteX67" fmla="*/ 1293 w 621452"/>
                  <a:gd name="connsiteY67" fmla="*/ 806839 h 914401"/>
                  <a:gd name="connsiteX68" fmla="*/ 25559 w 621452"/>
                  <a:gd name="connsiteY68" fmla="*/ 790346 h 914401"/>
                  <a:gd name="connsiteX69" fmla="*/ 25559 w 621452"/>
                  <a:gd name="connsiteY69" fmla="*/ 785326 h 914401"/>
                  <a:gd name="connsiteX70" fmla="*/ 1293 w 621452"/>
                  <a:gd name="connsiteY70" fmla="*/ 768833 h 914401"/>
                  <a:gd name="connsiteX71" fmla="*/ 2007 w 621452"/>
                  <a:gd name="connsiteY71" fmla="*/ 763814 h 914401"/>
                  <a:gd name="connsiteX72" fmla="*/ 30555 w 621452"/>
                  <a:gd name="connsiteY72" fmla="*/ 756643 h 914401"/>
                  <a:gd name="connsiteX73" fmla="*/ 32696 w 621452"/>
                  <a:gd name="connsiteY73" fmla="*/ 752341 h 914401"/>
                  <a:gd name="connsiteX74" fmla="*/ 14853 w 621452"/>
                  <a:gd name="connsiteY74" fmla="*/ 727960 h 914401"/>
                  <a:gd name="connsiteX75" fmla="*/ 16994 w 621452"/>
                  <a:gd name="connsiteY75" fmla="*/ 723657 h 914401"/>
                  <a:gd name="connsiteX76" fmla="*/ 17708 w 621452"/>
                  <a:gd name="connsiteY76" fmla="*/ 723657 h 914401"/>
                  <a:gd name="connsiteX77" fmla="*/ 46256 w 621452"/>
                  <a:gd name="connsiteY77" fmla="*/ 726526 h 914401"/>
                  <a:gd name="connsiteX78" fmla="*/ 49110 w 621452"/>
                  <a:gd name="connsiteY78" fmla="*/ 722940 h 914401"/>
                  <a:gd name="connsiteX79" fmla="*/ 41974 w 621452"/>
                  <a:gd name="connsiteY79" fmla="*/ 694257 h 914401"/>
                  <a:gd name="connsiteX80" fmla="*/ 44115 w 621452"/>
                  <a:gd name="connsiteY80" fmla="*/ 690671 h 914401"/>
                  <a:gd name="connsiteX81" fmla="*/ 44828 w 621452"/>
                  <a:gd name="connsiteY81" fmla="*/ 691389 h 914401"/>
                  <a:gd name="connsiteX82" fmla="*/ 71948 w 621452"/>
                  <a:gd name="connsiteY82" fmla="*/ 704296 h 914401"/>
                  <a:gd name="connsiteX83" fmla="*/ 73376 w 621452"/>
                  <a:gd name="connsiteY83" fmla="*/ 704296 h 914401"/>
                  <a:gd name="connsiteX84" fmla="*/ 75517 w 621452"/>
                  <a:gd name="connsiteY84" fmla="*/ 701428 h 914401"/>
                  <a:gd name="connsiteX85" fmla="*/ 77658 w 621452"/>
                  <a:gd name="connsiteY85" fmla="*/ 672027 h 914401"/>
                  <a:gd name="connsiteX86" fmla="*/ 80513 w 621452"/>
                  <a:gd name="connsiteY86" fmla="*/ 669159 h 914401"/>
                  <a:gd name="connsiteX87" fmla="*/ 82654 w 621452"/>
                  <a:gd name="connsiteY87" fmla="*/ 669876 h 914401"/>
                  <a:gd name="connsiteX88" fmla="*/ 103351 w 621452"/>
                  <a:gd name="connsiteY88" fmla="*/ 691389 h 914401"/>
                  <a:gd name="connsiteX89" fmla="*/ 105492 w 621452"/>
                  <a:gd name="connsiteY89" fmla="*/ 692823 h 914401"/>
                  <a:gd name="connsiteX90" fmla="*/ 108347 w 621452"/>
                  <a:gd name="connsiteY90" fmla="*/ 690671 h 914401"/>
                  <a:gd name="connsiteX91" fmla="*/ 120479 w 621452"/>
                  <a:gd name="connsiteY91" fmla="*/ 663422 h 914401"/>
                  <a:gd name="connsiteX92" fmla="*/ 122620 w 621452"/>
                  <a:gd name="connsiteY92" fmla="*/ 661988 h 914401"/>
                  <a:gd name="connsiteX93" fmla="*/ 64291 w 621452"/>
                  <a:gd name="connsiteY93" fmla="*/ 520700 h 914401"/>
                  <a:gd name="connsiteX94" fmla="*/ 600764 w 621452"/>
                  <a:gd name="connsiteY94" fmla="*/ 520700 h 914401"/>
                  <a:gd name="connsiteX95" fmla="*/ 621452 w 621452"/>
                  <a:gd name="connsiteY95" fmla="*/ 539835 h 914401"/>
                  <a:gd name="connsiteX96" fmla="*/ 600764 w 621452"/>
                  <a:gd name="connsiteY96" fmla="*/ 560388 h 914401"/>
                  <a:gd name="connsiteX97" fmla="*/ 64291 w 621452"/>
                  <a:gd name="connsiteY97" fmla="*/ 560388 h 914401"/>
                  <a:gd name="connsiteX98" fmla="*/ 43602 w 621452"/>
                  <a:gd name="connsiteY98" fmla="*/ 539835 h 914401"/>
                  <a:gd name="connsiteX99" fmla="*/ 64291 w 621452"/>
                  <a:gd name="connsiteY99" fmla="*/ 520700 h 914401"/>
                  <a:gd name="connsiteX100" fmla="*/ 64291 w 621452"/>
                  <a:gd name="connsiteY100" fmla="*/ 390525 h 914401"/>
                  <a:gd name="connsiteX101" fmla="*/ 600764 w 621452"/>
                  <a:gd name="connsiteY101" fmla="*/ 390525 h 914401"/>
                  <a:gd name="connsiteX102" fmla="*/ 621452 w 621452"/>
                  <a:gd name="connsiteY102" fmla="*/ 409215 h 914401"/>
                  <a:gd name="connsiteX103" fmla="*/ 600764 w 621452"/>
                  <a:gd name="connsiteY103" fmla="*/ 428625 h 914401"/>
                  <a:gd name="connsiteX104" fmla="*/ 64291 w 621452"/>
                  <a:gd name="connsiteY104" fmla="*/ 428625 h 914401"/>
                  <a:gd name="connsiteX105" fmla="*/ 43602 w 621452"/>
                  <a:gd name="connsiteY105" fmla="*/ 409215 h 914401"/>
                  <a:gd name="connsiteX106" fmla="*/ 64291 w 621452"/>
                  <a:gd name="connsiteY106" fmla="*/ 390525 h 914401"/>
                  <a:gd name="connsiteX107" fmla="*/ 64291 w 621452"/>
                  <a:gd name="connsiteY107" fmla="*/ 260350 h 914401"/>
                  <a:gd name="connsiteX108" fmla="*/ 600764 w 621452"/>
                  <a:gd name="connsiteY108" fmla="*/ 260350 h 914401"/>
                  <a:gd name="connsiteX109" fmla="*/ 621452 w 621452"/>
                  <a:gd name="connsiteY109" fmla="*/ 280555 h 914401"/>
                  <a:gd name="connsiteX110" fmla="*/ 600764 w 621452"/>
                  <a:gd name="connsiteY110" fmla="*/ 300038 h 914401"/>
                  <a:gd name="connsiteX111" fmla="*/ 64291 w 621452"/>
                  <a:gd name="connsiteY111" fmla="*/ 300038 h 914401"/>
                  <a:gd name="connsiteX112" fmla="*/ 43602 w 621452"/>
                  <a:gd name="connsiteY112" fmla="*/ 280555 h 914401"/>
                  <a:gd name="connsiteX113" fmla="*/ 64291 w 621452"/>
                  <a:gd name="connsiteY113" fmla="*/ 260350 h 914401"/>
                  <a:gd name="connsiteX114" fmla="*/ 64291 w 621452"/>
                  <a:gd name="connsiteY114" fmla="*/ 130175 h 914401"/>
                  <a:gd name="connsiteX115" fmla="*/ 600764 w 621452"/>
                  <a:gd name="connsiteY115" fmla="*/ 130175 h 914401"/>
                  <a:gd name="connsiteX116" fmla="*/ 621452 w 621452"/>
                  <a:gd name="connsiteY116" fmla="*/ 148879 h 914401"/>
                  <a:gd name="connsiteX117" fmla="*/ 600764 w 621452"/>
                  <a:gd name="connsiteY117" fmla="*/ 168275 h 914401"/>
                  <a:gd name="connsiteX118" fmla="*/ 64291 w 621452"/>
                  <a:gd name="connsiteY118" fmla="*/ 168275 h 914401"/>
                  <a:gd name="connsiteX119" fmla="*/ 43602 w 621452"/>
                  <a:gd name="connsiteY119" fmla="*/ 148879 h 914401"/>
                  <a:gd name="connsiteX120" fmla="*/ 64291 w 621452"/>
                  <a:gd name="connsiteY120" fmla="*/ 130175 h 914401"/>
                  <a:gd name="connsiteX121" fmla="*/ 64291 w 621452"/>
                  <a:gd name="connsiteY121" fmla="*/ 0 h 914401"/>
                  <a:gd name="connsiteX122" fmla="*/ 600764 w 621452"/>
                  <a:gd name="connsiteY122" fmla="*/ 0 h 914401"/>
                  <a:gd name="connsiteX123" fmla="*/ 621452 w 621452"/>
                  <a:gd name="connsiteY123" fmla="*/ 20205 h 914401"/>
                  <a:gd name="connsiteX124" fmla="*/ 600764 w 621452"/>
                  <a:gd name="connsiteY124" fmla="*/ 39688 h 914401"/>
                  <a:gd name="connsiteX125" fmla="*/ 64291 w 621452"/>
                  <a:gd name="connsiteY125" fmla="*/ 39688 h 914401"/>
                  <a:gd name="connsiteX126" fmla="*/ 43602 w 621452"/>
                  <a:gd name="connsiteY126" fmla="*/ 20205 h 914401"/>
                  <a:gd name="connsiteX127" fmla="*/ 64291 w 621452"/>
                  <a:gd name="connsiteY127" fmla="*/ 0 h 914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Lst>
                <a:rect l="l" t="t" r="r" b="b"/>
                <a:pathLst>
                  <a:path w="621452" h="914401">
                    <a:moveTo>
                      <a:pt x="122620" y="661988"/>
                    </a:moveTo>
                    <a:cubicBezTo>
                      <a:pt x="124048" y="661988"/>
                      <a:pt x="124761" y="662705"/>
                      <a:pt x="125475" y="663422"/>
                    </a:cubicBezTo>
                    <a:cubicBezTo>
                      <a:pt x="125475" y="663422"/>
                      <a:pt x="125475" y="663422"/>
                      <a:pt x="137608" y="690671"/>
                    </a:cubicBezTo>
                    <a:cubicBezTo>
                      <a:pt x="137608" y="692106"/>
                      <a:pt x="139035" y="692823"/>
                      <a:pt x="139749" y="692823"/>
                    </a:cubicBezTo>
                    <a:cubicBezTo>
                      <a:pt x="140463" y="692823"/>
                      <a:pt x="141176" y="692106"/>
                      <a:pt x="141890" y="691389"/>
                    </a:cubicBezTo>
                    <a:cubicBezTo>
                      <a:pt x="141890" y="691389"/>
                      <a:pt x="141890" y="691389"/>
                      <a:pt x="162587" y="669876"/>
                    </a:cubicBezTo>
                    <a:cubicBezTo>
                      <a:pt x="163301" y="669876"/>
                      <a:pt x="164014" y="669159"/>
                      <a:pt x="164728" y="669159"/>
                    </a:cubicBezTo>
                    <a:cubicBezTo>
                      <a:pt x="166155" y="669159"/>
                      <a:pt x="167583" y="670593"/>
                      <a:pt x="167583" y="672027"/>
                    </a:cubicBezTo>
                    <a:cubicBezTo>
                      <a:pt x="167583" y="672027"/>
                      <a:pt x="167583" y="672027"/>
                      <a:pt x="169724" y="701428"/>
                    </a:cubicBezTo>
                    <a:cubicBezTo>
                      <a:pt x="169724" y="703579"/>
                      <a:pt x="171151" y="704296"/>
                      <a:pt x="172579" y="704296"/>
                    </a:cubicBezTo>
                    <a:cubicBezTo>
                      <a:pt x="172579" y="704296"/>
                      <a:pt x="173292" y="704296"/>
                      <a:pt x="174006" y="704296"/>
                    </a:cubicBezTo>
                    <a:cubicBezTo>
                      <a:pt x="174006" y="704296"/>
                      <a:pt x="174006" y="704296"/>
                      <a:pt x="200412" y="691389"/>
                    </a:cubicBezTo>
                    <a:cubicBezTo>
                      <a:pt x="200412" y="690671"/>
                      <a:pt x="201126" y="690671"/>
                      <a:pt x="201840" y="690671"/>
                    </a:cubicBezTo>
                    <a:cubicBezTo>
                      <a:pt x="203267" y="690671"/>
                      <a:pt x="204695" y="692106"/>
                      <a:pt x="203981" y="694257"/>
                    </a:cubicBezTo>
                    <a:cubicBezTo>
                      <a:pt x="203981" y="694257"/>
                      <a:pt x="203981" y="694257"/>
                      <a:pt x="196130" y="722940"/>
                    </a:cubicBezTo>
                    <a:cubicBezTo>
                      <a:pt x="195417" y="725091"/>
                      <a:pt x="196844" y="726526"/>
                      <a:pt x="198985" y="726526"/>
                    </a:cubicBezTo>
                    <a:cubicBezTo>
                      <a:pt x="198985" y="726526"/>
                      <a:pt x="198985" y="726526"/>
                      <a:pt x="228960" y="723657"/>
                    </a:cubicBezTo>
                    <a:cubicBezTo>
                      <a:pt x="231101" y="723657"/>
                      <a:pt x="232528" y="725808"/>
                      <a:pt x="231101" y="727960"/>
                    </a:cubicBezTo>
                    <a:cubicBezTo>
                      <a:pt x="231101" y="727960"/>
                      <a:pt x="231101" y="727960"/>
                      <a:pt x="213973" y="752341"/>
                    </a:cubicBezTo>
                    <a:cubicBezTo>
                      <a:pt x="212545" y="753775"/>
                      <a:pt x="213259" y="755926"/>
                      <a:pt x="215400" y="756643"/>
                    </a:cubicBezTo>
                    <a:cubicBezTo>
                      <a:pt x="215400" y="756643"/>
                      <a:pt x="215400" y="756643"/>
                      <a:pt x="243947" y="763814"/>
                    </a:cubicBezTo>
                    <a:cubicBezTo>
                      <a:pt x="246802" y="764531"/>
                      <a:pt x="246802" y="767399"/>
                      <a:pt x="245375" y="768833"/>
                    </a:cubicBezTo>
                    <a:cubicBezTo>
                      <a:pt x="245375" y="768833"/>
                      <a:pt x="245375" y="768833"/>
                      <a:pt x="220396" y="785326"/>
                    </a:cubicBezTo>
                    <a:cubicBezTo>
                      <a:pt x="218968" y="786760"/>
                      <a:pt x="218968" y="788912"/>
                      <a:pt x="220396" y="790346"/>
                    </a:cubicBezTo>
                    <a:cubicBezTo>
                      <a:pt x="220396" y="790346"/>
                      <a:pt x="220396" y="790346"/>
                      <a:pt x="245375" y="806839"/>
                    </a:cubicBezTo>
                    <a:cubicBezTo>
                      <a:pt x="246802" y="808273"/>
                      <a:pt x="246802" y="811858"/>
                      <a:pt x="243947" y="811858"/>
                    </a:cubicBezTo>
                    <a:cubicBezTo>
                      <a:pt x="243947" y="811858"/>
                      <a:pt x="243947" y="811858"/>
                      <a:pt x="215400" y="819029"/>
                    </a:cubicBezTo>
                    <a:cubicBezTo>
                      <a:pt x="213259" y="819746"/>
                      <a:pt x="212545" y="821898"/>
                      <a:pt x="213973" y="824049"/>
                    </a:cubicBezTo>
                    <a:cubicBezTo>
                      <a:pt x="213973" y="824049"/>
                      <a:pt x="213973" y="824049"/>
                      <a:pt x="231101" y="847712"/>
                    </a:cubicBezTo>
                    <a:cubicBezTo>
                      <a:pt x="232528" y="849864"/>
                      <a:pt x="231101" y="852732"/>
                      <a:pt x="228960" y="852732"/>
                    </a:cubicBezTo>
                    <a:cubicBezTo>
                      <a:pt x="228960" y="852732"/>
                      <a:pt x="228960" y="852732"/>
                      <a:pt x="198985" y="849147"/>
                    </a:cubicBezTo>
                    <a:cubicBezTo>
                      <a:pt x="196844" y="849147"/>
                      <a:pt x="195417" y="851298"/>
                      <a:pt x="196130" y="852732"/>
                    </a:cubicBezTo>
                    <a:cubicBezTo>
                      <a:pt x="196130" y="852732"/>
                      <a:pt x="196130" y="852732"/>
                      <a:pt x="203981" y="881415"/>
                    </a:cubicBezTo>
                    <a:cubicBezTo>
                      <a:pt x="204695" y="883567"/>
                      <a:pt x="203267" y="885001"/>
                      <a:pt x="201840" y="885001"/>
                    </a:cubicBezTo>
                    <a:cubicBezTo>
                      <a:pt x="201126" y="885001"/>
                      <a:pt x="200412" y="885001"/>
                      <a:pt x="200412" y="885001"/>
                    </a:cubicBezTo>
                    <a:cubicBezTo>
                      <a:pt x="200412" y="885001"/>
                      <a:pt x="200412" y="885001"/>
                      <a:pt x="174006" y="872093"/>
                    </a:cubicBezTo>
                    <a:cubicBezTo>
                      <a:pt x="173292" y="871376"/>
                      <a:pt x="172579" y="871376"/>
                      <a:pt x="172579" y="871376"/>
                    </a:cubicBezTo>
                    <a:cubicBezTo>
                      <a:pt x="171151" y="871376"/>
                      <a:pt x="169724" y="872810"/>
                      <a:pt x="169724" y="874245"/>
                    </a:cubicBezTo>
                    <a:cubicBezTo>
                      <a:pt x="169724" y="874245"/>
                      <a:pt x="169724" y="874245"/>
                      <a:pt x="167583" y="903645"/>
                    </a:cubicBezTo>
                    <a:cubicBezTo>
                      <a:pt x="167583" y="905796"/>
                      <a:pt x="166155" y="906513"/>
                      <a:pt x="164728" y="906513"/>
                    </a:cubicBezTo>
                    <a:cubicBezTo>
                      <a:pt x="164014" y="906513"/>
                      <a:pt x="163301" y="906513"/>
                      <a:pt x="162587" y="905796"/>
                    </a:cubicBezTo>
                    <a:cubicBezTo>
                      <a:pt x="162587" y="905796"/>
                      <a:pt x="162587" y="905796"/>
                      <a:pt x="141890" y="884284"/>
                    </a:cubicBezTo>
                    <a:cubicBezTo>
                      <a:pt x="141176" y="883567"/>
                      <a:pt x="140463" y="883567"/>
                      <a:pt x="139749" y="883567"/>
                    </a:cubicBezTo>
                    <a:cubicBezTo>
                      <a:pt x="139035" y="883567"/>
                      <a:pt x="137608" y="884284"/>
                      <a:pt x="137608" y="885001"/>
                    </a:cubicBezTo>
                    <a:cubicBezTo>
                      <a:pt x="137608" y="885001"/>
                      <a:pt x="137608" y="885001"/>
                      <a:pt x="125475" y="912250"/>
                    </a:cubicBezTo>
                    <a:cubicBezTo>
                      <a:pt x="124761" y="913684"/>
                      <a:pt x="124048" y="914401"/>
                      <a:pt x="122620" y="914401"/>
                    </a:cubicBezTo>
                    <a:cubicBezTo>
                      <a:pt x="121907" y="914401"/>
                      <a:pt x="120479" y="913684"/>
                      <a:pt x="120479" y="912250"/>
                    </a:cubicBezTo>
                    <a:cubicBezTo>
                      <a:pt x="120479" y="912250"/>
                      <a:pt x="120479" y="912250"/>
                      <a:pt x="108347" y="885001"/>
                    </a:cubicBezTo>
                    <a:cubicBezTo>
                      <a:pt x="107633" y="884284"/>
                      <a:pt x="106206" y="883567"/>
                      <a:pt x="105492" y="883567"/>
                    </a:cubicBezTo>
                    <a:cubicBezTo>
                      <a:pt x="104778" y="883567"/>
                      <a:pt x="104064" y="883567"/>
                      <a:pt x="103351" y="884284"/>
                    </a:cubicBezTo>
                    <a:cubicBezTo>
                      <a:pt x="103351" y="884284"/>
                      <a:pt x="103351" y="884284"/>
                      <a:pt x="82654" y="905796"/>
                    </a:cubicBezTo>
                    <a:cubicBezTo>
                      <a:pt x="81940" y="906513"/>
                      <a:pt x="81226" y="906513"/>
                      <a:pt x="80513" y="906513"/>
                    </a:cubicBezTo>
                    <a:cubicBezTo>
                      <a:pt x="79085" y="906513"/>
                      <a:pt x="78372" y="905796"/>
                      <a:pt x="77658" y="903645"/>
                    </a:cubicBezTo>
                    <a:cubicBezTo>
                      <a:pt x="77658" y="903645"/>
                      <a:pt x="77658" y="903645"/>
                      <a:pt x="75517" y="874245"/>
                    </a:cubicBezTo>
                    <a:cubicBezTo>
                      <a:pt x="75517" y="872810"/>
                      <a:pt x="74803" y="871376"/>
                      <a:pt x="73376" y="871376"/>
                    </a:cubicBezTo>
                    <a:cubicBezTo>
                      <a:pt x="72662" y="871376"/>
                      <a:pt x="71948" y="871376"/>
                      <a:pt x="71948" y="872093"/>
                    </a:cubicBezTo>
                    <a:cubicBezTo>
                      <a:pt x="71948" y="872093"/>
                      <a:pt x="71948" y="872093"/>
                      <a:pt x="44828" y="885001"/>
                    </a:cubicBezTo>
                    <a:cubicBezTo>
                      <a:pt x="44828" y="885001"/>
                      <a:pt x="44828" y="885001"/>
                      <a:pt x="44115" y="885001"/>
                    </a:cubicBezTo>
                    <a:cubicBezTo>
                      <a:pt x="42687" y="885001"/>
                      <a:pt x="41260" y="883567"/>
                      <a:pt x="41974" y="881415"/>
                    </a:cubicBezTo>
                    <a:cubicBezTo>
                      <a:pt x="41974" y="881415"/>
                      <a:pt x="41974" y="881415"/>
                      <a:pt x="49110" y="852732"/>
                    </a:cubicBezTo>
                    <a:cubicBezTo>
                      <a:pt x="49824" y="851298"/>
                      <a:pt x="48397" y="849147"/>
                      <a:pt x="46256" y="849147"/>
                    </a:cubicBezTo>
                    <a:cubicBezTo>
                      <a:pt x="46256" y="849147"/>
                      <a:pt x="46256" y="849147"/>
                      <a:pt x="17708" y="852732"/>
                    </a:cubicBezTo>
                    <a:cubicBezTo>
                      <a:pt x="17708" y="852732"/>
                      <a:pt x="17708" y="852732"/>
                      <a:pt x="16994" y="852732"/>
                    </a:cubicBezTo>
                    <a:cubicBezTo>
                      <a:pt x="14853" y="852732"/>
                      <a:pt x="13426" y="849864"/>
                      <a:pt x="14853" y="847712"/>
                    </a:cubicBezTo>
                    <a:cubicBezTo>
                      <a:pt x="14853" y="847712"/>
                      <a:pt x="14853" y="847712"/>
                      <a:pt x="32696" y="824049"/>
                    </a:cubicBezTo>
                    <a:cubicBezTo>
                      <a:pt x="33409" y="821898"/>
                      <a:pt x="32696" y="819746"/>
                      <a:pt x="30555" y="819029"/>
                    </a:cubicBezTo>
                    <a:cubicBezTo>
                      <a:pt x="30555" y="819029"/>
                      <a:pt x="30555" y="819029"/>
                      <a:pt x="2007" y="811858"/>
                    </a:cubicBezTo>
                    <a:cubicBezTo>
                      <a:pt x="-134" y="811858"/>
                      <a:pt x="-848" y="808273"/>
                      <a:pt x="1293" y="806839"/>
                    </a:cubicBezTo>
                    <a:cubicBezTo>
                      <a:pt x="1293" y="806839"/>
                      <a:pt x="1293" y="806839"/>
                      <a:pt x="25559" y="790346"/>
                    </a:cubicBezTo>
                    <a:cubicBezTo>
                      <a:pt x="26986" y="788912"/>
                      <a:pt x="26986" y="786760"/>
                      <a:pt x="25559" y="785326"/>
                    </a:cubicBezTo>
                    <a:cubicBezTo>
                      <a:pt x="25559" y="785326"/>
                      <a:pt x="25559" y="785326"/>
                      <a:pt x="1293" y="768833"/>
                    </a:cubicBezTo>
                    <a:cubicBezTo>
                      <a:pt x="-848" y="767399"/>
                      <a:pt x="-134" y="764531"/>
                      <a:pt x="2007" y="763814"/>
                    </a:cubicBezTo>
                    <a:cubicBezTo>
                      <a:pt x="2007" y="763814"/>
                      <a:pt x="2007" y="763814"/>
                      <a:pt x="30555" y="756643"/>
                    </a:cubicBezTo>
                    <a:cubicBezTo>
                      <a:pt x="32696" y="755926"/>
                      <a:pt x="33409" y="753775"/>
                      <a:pt x="32696" y="752341"/>
                    </a:cubicBezTo>
                    <a:cubicBezTo>
                      <a:pt x="32696" y="752341"/>
                      <a:pt x="32696" y="752341"/>
                      <a:pt x="14853" y="727960"/>
                    </a:cubicBezTo>
                    <a:cubicBezTo>
                      <a:pt x="13426" y="725808"/>
                      <a:pt x="14853" y="723657"/>
                      <a:pt x="16994" y="723657"/>
                    </a:cubicBezTo>
                    <a:cubicBezTo>
                      <a:pt x="16994" y="723657"/>
                      <a:pt x="16994" y="723657"/>
                      <a:pt x="17708" y="723657"/>
                    </a:cubicBezTo>
                    <a:cubicBezTo>
                      <a:pt x="17708" y="723657"/>
                      <a:pt x="17708" y="723657"/>
                      <a:pt x="46256" y="726526"/>
                    </a:cubicBezTo>
                    <a:cubicBezTo>
                      <a:pt x="48397" y="726526"/>
                      <a:pt x="49824" y="725091"/>
                      <a:pt x="49110" y="722940"/>
                    </a:cubicBezTo>
                    <a:cubicBezTo>
                      <a:pt x="49110" y="722940"/>
                      <a:pt x="49110" y="722940"/>
                      <a:pt x="41974" y="694257"/>
                    </a:cubicBezTo>
                    <a:cubicBezTo>
                      <a:pt x="41260" y="692106"/>
                      <a:pt x="42687" y="690671"/>
                      <a:pt x="44115" y="690671"/>
                    </a:cubicBezTo>
                    <a:cubicBezTo>
                      <a:pt x="44115" y="690671"/>
                      <a:pt x="44828" y="690671"/>
                      <a:pt x="44828" y="691389"/>
                    </a:cubicBezTo>
                    <a:cubicBezTo>
                      <a:pt x="44828" y="691389"/>
                      <a:pt x="44828" y="691389"/>
                      <a:pt x="71948" y="704296"/>
                    </a:cubicBezTo>
                    <a:cubicBezTo>
                      <a:pt x="71948" y="704296"/>
                      <a:pt x="72662" y="704296"/>
                      <a:pt x="73376" y="704296"/>
                    </a:cubicBezTo>
                    <a:cubicBezTo>
                      <a:pt x="74803" y="704296"/>
                      <a:pt x="75517" y="703579"/>
                      <a:pt x="75517" y="701428"/>
                    </a:cubicBezTo>
                    <a:cubicBezTo>
                      <a:pt x="75517" y="701428"/>
                      <a:pt x="75517" y="701428"/>
                      <a:pt x="77658" y="672027"/>
                    </a:cubicBezTo>
                    <a:cubicBezTo>
                      <a:pt x="78372" y="670593"/>
                      <a:pt x="79085" y="669159"/>
                      <a:pt x="80513" y="669159"/>
                    </a:cubicBezTo>
                    <a:cubicBezTo>
                      <a:pt x="81226" y="669159"/>
                      <a:pt x="81940" y="669876"/>
                      <a:pt x="82654" y="669876"/>
                    </a:cubicBezTo>
                    <a:cubicBezTo>
                      <a:pt x="82654" y="669876"/>
                      <a:pt x="82654" y="669876"/>
                      <a:pt x="103351" y="691389"/>
                    </a:cubicBezTo>
                    <a:cubicBezTo>
                      <a:pt x="104064" y="692106"/>
                      <a:pt x="104778" y="692823"/>
                      <a:pt x="105492" y="692823"/>
                    </a:cubicBezTo>
                    <a:cubicBezTo>
                      <a:pt x="106206" y="692823"/>
                      <a:pt x="107633" y="692106"/>
                      <a:pt x="108347" y="690671"/>
                    </a:cubicBezTo>
                    <a:cubicBezTo>
                      <a:pt x="108347" y="690671"/>
                      <a:pt x="108347" y="690671"/>
                      <a:pt x="120479" y="663422"/>
                    </a:cubicBezTo>
                    <a:cubicBezTo>
                      <a:pt x="120479" y="662705"/>
                      <a:pt x="121907" y="661988"/>
                      <a:pt x="122620" y="661988"/>
                    </a:cubicBezTo>
                    <a:close/>
                    <a:moveTo>
                      <a:pt x="64291" y="520700"/>
                    </a:moveTo>
                    <a:cubicBezTo>
                      <a:pt x="600764" y="520700"/>
                      <a:pt x="600764" y="520700"/>
                      <a:pt x="600764" y="520700"/>
                    </a:cubicBezTo>
                    <a:cubicBezTo>
                      <a:pt x="613605" y="520700"/>
                      <a:pt x="621452" y="529204"/>
                      <a:pt x="621452" y="539835"/>
                    </a:cubicBezTo>
                    <a:cubicBezTo>
                      <a:pt x="621452" y="551175"/>
                      <a:pt x="613605" y="560388"/>
                      <a:pt x="600764" y="560388"/>
                    </a:cubicBezTo>
                    <a:cubicBezTo>
                      <a:pt x="64291" y="560388"/>
                      <a:pt x="64291" y="560388"/>
                      <a:pt x="64291" y="560388"/>
                    </a:cubicBezTo>
                    <a:cubicBezTo>
                      <a:pt x="52876" y="560388"/>
                      <a:pt x="43602" y="551175"/>
                      <a:pt x="43602" y="539835"/>
                    </a:cubicBezTo>
                    <a:cubicBezTo>
                      <a:pt x="43602" y="529204"/>
                      <a:pt x="52876" y="520700"/>
                      <a:pt x="64291" y="520700"/>
                    </a:cubicBezTo>
                    <a:close/>
                    <a:moveTo>
                      <a:pt x="64291" y="390525"/>
                    </a:moveTo>
                    <a:cubicBezTo>
                      <a:pt x="600764" y="390525"/>
                      <a:pt x="600764" y="390525"/>
                      <a:pt x="600764" y="390525"/>
                    </a:cubicBezTo>
                    <a:cubicBezTo>
                      <a:pt x="613605" y="390525"/>
                      <a:pt x="621452" y="399151"/>
                      <a:pt x="621452" y="409215"/>
                    </a:cubicBezTo>
                    <a:cubicBezTo>
                      <a:pt x="621452" y="419998"/>
                      <a:pt x="613605" y="428625"/>
                      <a:pt x="600764" y="428625"/>
                    </a:cubicBezTo>
                    <a:cubicBezTo>
                      <a:pt x="64291" y="428625"/>
                      <a:pt x="64291" y="428625"/>
                      <a:pt x="64291" y="428625"/>
                    </a:cubicBezTo>
                    <a:cubicBezTo>
                      <a:pt x="52876" y="428625"/>
                      <a:pt x="43602" y="419998"/>
                      <a:pt x="43602" y="409215"/>
                    </a:cubicBezTo>
                    <a:cubicBezTo>
                      <a:pt x="43602" y="399151"/>
                      <a:pt x="52876" y="390525"/>
                      <a:pt x="64291" y="390525"/>
                    </a:cubicBezTo>
                    <a:close/>
                    <a:moveTo>
                      <a:pt x="64291" y="260350"/>
                    </a:moveTo>
                    <a:cubicBezTo>
                      <a:pt x="600764" y="260350"/>
                      <a:pt x="600764" y="260350"/>
                      <a:pt x="600764" y="260350"/>
                    </a:cubicBezTo>
                    <a:cubicBezTo>
                      <a:pt x="613605" y="260350"/>
                      <a:pt x="621452" y="269731"/>
                      <a:pt x="621452" y="280555"/>
                    </a:cubicBezTo>
                    <a:cubicBezTo>
                      <a:pt x="621452" y="291379"/>
                      <a:pt x="613605" y="300038"/>
                      <a:pt x="600764" y="300038"/>
                    </a:cubicBezTo>
                    <a:cubicBezTo>
                      <a:pt x="64291" y="300038"/>
                      <a:pt x="64291" y="300038"/>
                      <a:pt x="64291" y="300038"/>
                    </a:cubicBezTo>
                    <a:cubicBezTo>
                      <a:pt x="52876" y="300038"/>
                      <a:pt x="43602" y="291379"/>
                      <a:pt x="43602" y="280555"/>
                    </a:cubicBezTo>
                    <a:cubicBezTo>
                      <a:pt x="43602" y="269731"/>
                      <a:pt x="52876" y="260350"/>
                      <a:pt x="64291" y="260350"/>
                    </a:cubicBezTo>
                    <a:close/>
                    <a:moveTo>
                      <a:pt x="64291" y="130175"/>
                    </a:moveTo>
                    <a:cubicBezTo>
                      <a:pt x="600764" y="130175"/>
                      <a:pt x="600764" y="130175"/>
                      <a:pt x="600764" y="130175"/>
                    </a:cubicBezTo>
                    <a:cubicBezTo>
                      <a:pt x="613605" y="130175"/>
                      <a:pt x="621452" y="138488"/>
                      <a:pt x="621452" y="148879"/>
                    </a:cubicBezTo>
                    <a:cubicBezTo>
                      <a:pt x="621452" y="159269"/>
                      <a:pt x="613605" y="168275"/>
                      <a:pt x="600764" y="168275"/>
                    </a:cubicBezTo>
                    <a:cubicBezTo>
                      <a:pt x="64291" y="168275"/>
                      <a:pt x="64291" y="168275"/>
                      <a:pt x="64291" y="168275"/>
                    </a:cubicBezTo>
                    <a:cubicBezTo>
                      <a:pt x="52876" y="168275"/>
                      <a:pt x="43602" y="159269"/>
                      <a:pt x="43602" y="148879"/>
                    </a:cubicBezTo>
                    <a:cubicBezTo>
                      <a:pt x="43602" y="138488"/>
                      <a:pt x="52876" y="130175"/>
                      <a:pt x="64291" y="130175"/>
                    </a:cubicBezTo>
                    <a:close/>
                    <a:moveTo>
                      <a:pt x="64291" y="0"/>
                    </a:moveTo>
                    <a:cubicBezTo>
                      <a:pt x="600764" y="0"/>
                      <a:pt x="600764" y="0"/>
                      <a:pt x="600764" y="0"/>
                    </a:cubicBezTo>
                    <a:cubicBezTo>
                      <a:pt x="613605" y="0"/>
                      <a:pt x="621452" y="7937"/>
                      <a:pt x="621452" y="20205"/>
                    </a:cubicBezTo>
                    <a:cubicBezTo>
                      <a:pt x="621452" y="31029"/>
                      <a:pt x="613605" y="39688"/>
                      <a:pt x="600764" y="39688"/>
                    </a:cubicBezTo>
                    <a:cubicBezTo>
                      <a:pt x="64291" y="39688"/>
                      <a:pt x="64291" y="39688"/>
                      <a:pt x="64291" y="39688"/>
                    </a:cubicBezTo>
                    <a:cubicBezTo>
                      <a:pt x="52876" y="39688"/>
                      <a:pt x="43602" y="31029"/>
                      <a:pt x="43602" y="20205"/>
                    </a:cubicBezTo>
                    <a:cubicBezTo>
                      <a:pt x="43602" y="7937"/>
                      <a:pt x="52876" y="0"/>
                      <a:pt x="64291" y="0"/>
                    </a:cubicBez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p>
                <a:pPr>
                  <a:buClrTx/>
                  <a:buFontTx/>
                  <a:buNone/>
                </a:pPr>
                <a:endParaRPr lang="en-US" sz="1800" kern="1200">
                  <a:latin typeface="Calibri" panose="020F0502020204030204"/>
                  <a:ea typeface="+mn-ea"/>
                  <a:cs typeface="+mn-cs"/>
                </a:endParaRPr>
              </a:p>
            </p:txBody>
          </p:sp>
          <p:sp>
            <p:nvSpPr>
              <p:cNvPr id="91" name="Freeform 11">
                <a:extLst>
                  <a:ext uri="{FF2B5EF4-FFF2-40B4-BE49-F238E27FC236}">
                    <a16:creationId xmlns:a16="http://schemas.microsoft.com/office/drawing/2014/main" id="{BE4B0C35-11A2-2DD4-E71C-41347CAE5981}"/>
                  </a:ext>
                </a:extLst>
              </p:cNvPr>
              <p:cNvSpPr>
                <a:spLocks/>
              </p:cNvSpPr>
              <p:nvPr/>
            </p:nvSpPr>
            <p:spPr bwMode="auto">
              <a:xfrm>
                <a:off x="5646738" y="2887662"/>
                <a:ext cx="898525" cy="1193800"/>
              </a:xfrm>
              <a:custGeom>
                <a:avLst/>
                <a:gdLst>
                  <a:gd name="connsiteX0" fmla="*/ 399885 w 898525"/>
                  <a:gd name="connsiteY0" fmla="*/ 1031875 h 1193800"/>
                  <a:gd name="connsiteX1" fmla="*/ 766214 w 898525"/>
                  <a:gd name="connsiteY1" fmla="*/ 1031875 h 1193800"/>
                  <a:gd name="connsiteX2" fmla="*/ 782638 w 898525"/>
                  <a:gd name="connsiteY2" fmla="*/ 1046957 h 1193800"/>
                  <a:gd name="connsiteX3" fmla="*/ 766214 w 898525"/>
                  <a:gd name="connsiteY3" fmla="*/ 1062038 h 1193800"/>
                  <a:gd name="connsiteX4" fmla="*/ 399885 w 898525"/>
                  <a:gd name="connsiteY4" fmla="*/ 1062038 h 1193800"/>
                  <a:gd name="connsiteX5" fmla="*/ 384175 w 898525"/>
                  <a:gd name="connsiteY5" fmla="*/ 1046957 h 1193800"/>
                  <a:gd name="connsiteX6" fmla="*/ 399885 w 898525"/>
                  <a:gd name="connsiteY6" fmla="*/ 1031875 h 1193800"/>
                  <a:gd name="connsiteX7" fmla="*/ 519844 w 898525"/>
                  <a:gd name="connsiteY7" fmla="*/ 886484 h 1193800"/>
                  <a:gd name="connsiteX8" fmla="*/ 524153 w 898525"/>
                  <a:gd name="connsiteY8" fmla="*/ 891424 h 1193800"/>
                  <a:gd name="connsiteX9" fmla="*/ 527744 w 898525"/>
                  <a:gd name="connsiteY9" fmla="*/ 908669 h 1193800"/>
                  <a:gd name="connsiteX10" fmla="*/ 562219 w 898525"/>
                  <a:gd name="connsiteY10" fmla="*/ 984117 h 1193800"/>
                  <a:gd name="connsiteX11" fmla="*/ 573711 w 898525"/>
                  <a:gd name="connsiteY11" fmla="*/ 969746 h 1193800"/>
                  <a:gd name="connsiteX12" fmla="*/ 590230 w 898525"/>
                  <a:gd name="connsiteY12" fmla="*/ 951064 h 1193800"/>
                  <a:gd name="connsiteX13" fmla="*/ 590949 w 898525"/>
                  <a:gd name="connsiteY13" fmla="*/ 949626 h 1193800"/>
                  <a:gd name="connsiteX14" fmla="*/ 592385 w 898525"/>
                  <a:gd name="connsiteY14" fmla="*/ 948189 h 1193800"/>
                  <a:gd name="connsiteX15" fmla="*/ 604595 w 898525"/>
                  <a:gd name="connsiteY15" fmla="*/ 940285 h 1193800"/>
                  <a:gd name="connsiteX16" fmla="*/ 605313 w 898525"/>
                  <a:gd name="connsiteY16" fmla="*/ 939567 h 1193800"/>
                  <a:gd name="connsiteX17" fmla="*/ 606031 w 898525"/>
                  <a:gd name="connsiteY17" fmla="*/ 939567 h 1193800"/>
                  <a:gd name="connsiteX18" fmla="*/ 636915 w 898525"/>
                  <a:gd name="connsiteY18" fmla="*/ 949626 h 1193800"/>
                  <a:gd name="connsiteX19" fmla="*/ 640506 w 898525"/>
                  <a:gd name="connsiteY19" fmla="*/ 953219 h 1193800"/>
                  <a:gd name="connsiteX20" fmla="*/ 683600 w 898525"/>
                  <a:gd name="connsiteY20" fmla="*/ 939567 h 1193800"/>
                  <a:gd name="connsiteX21" fmla="*/ 687191 w 898525"/>
                  <a:gd name="connsiteY21" fmla="*/ 935255 h 1193800"/>
                  <a:gd name="connsiteX22" fmla="*/ 753987 w 898525"/>
                  <a:gd name="connsiteY22" fmla="*/ 904358 h 1193800"/>
                  <a:gd name="connsiteX23" fmla="*/ 766915 w 898525"/>
                  <a:gd name="connsiteY23" fmla="*/ 922321 h 1193800"/>
                  <a:gd name="connsiteX24" fmla="*/ 749677 w 898525"/>
                  <a:gd name="connsiteY24" fmla="*/ 935255 h 1193800"/>
                  <a:gd name="connsiteX25" fmla="*/ 707302 w 898525"/>
                  <a:gd name="connsiteY25" fmla="*/ 958249 h 1193800"/>
                  <a:gd name="connsiteX26" fmla="*/ 703711 w 898525"/>
                  <a:gd name="connsiteY26" fmla="*/ 961842 h 1193800"/>
                  <a:gd name="connsiteX27" fmla="*/ 623269 w 898525"/>
                  <a:gd name="connsiteY27" fmla="*/ 978369 h 1193800"/>
                  <a:gd name="connsiteX28" fmla="*/ 616805 w 898525"/>
                  <a:gd name="connsiteY28" fmla="*/ 973339 h 1193800"/>
                  <a:gd name="connsiteX29" fmla="*/ 613214 w 898525"/>
                  <a:gd name="connsiteY29" fmla="*/ 970464 h 1193800"/>
                  <a:gd name="connsiteX30" fmla="*/ 612496 w 898525"/>
                  <a:gd name="connsiteY30" fmla="*/ 971183 h 1193800"/>
                  <a:gd name="connsiteX31" fmla="*/ 597413 w 898525"/>
                  <a:gd name="connsiteY31" fmla="*/ 989865 h 1193800"/>
                  <a:gd name="connsiteX32" fmla="*/ 582330 w 898525"/>
                  <a:gd name="connsiteY32" fmla="*/ 1008548 h 1193800"/>
                  <a:gd name="connsiteX33" fmla="*/ 565811 w 898525"/>
                  <a:gd name="connsiteY33" fmla="*/ 1019326 h 1193800"/>
                  <a:gd name="connsiteX34" fmla="*/ 564374 w 898525"/>
                  <a:gd name="connsiteY34" fmla="*/ 1019326 h 1193800"/>
                  <a:gd name="connsiteX35" fmla="*/ 562938 w 898525"/>
                  <a:gd name="connsiteY35" fmla="*/ 1019326 h 1193800"/>
                  <a:gd name="connsiteX36" fmla="*/ 543546 w 898525"/>
                  <a:gd name="connsiteY36" fmla="*/ 1009985 h 1193800"/>
                  <a:gd name="connsiteX37" fmla="*/ 541391 w 898525"/>
                  <a:gd name="connsiteY37" fmla="*/ 1007829 h 1193800"/>
                  <a:gd name="connsiteX38" fmla="*/ 540673 w 898525"/>
                  <a:gd name="connsiteY38" fmla="*/ 1007111 h 1193800"/>
                  <a:gd name="connsiteX39" fmla="*/ 506198 w 898525"/>
                  <a:gd name="connsiteY39" fmla="*/ 941722 h 1193800"/>
                  <a:gd name="connsiteX40" fmla="*/ 425038 w 898525"/>
                  <a:gd name="connsiteY40" fmla="*/ 1015733 h 1193800"/>
                  <a:gd name="connsiteX41" fmla="*/ 403491 w 898525"/>
                  <a:gd name="connsiteY41" fmla="*/ 1012859 h 1193800"/>
                  <a:gd name="connsiteX42" fmla="*/ 406364 w 898525"/>
                  <a:gd name="connsiteY42" fmla="*/ 990584 h 1193800"/>
                  <a:gd name="connsiteX43" fmla="*/ 501888 w 898525"/>
                  <a:gd name="connsiteY43" fmla="*/ 900765 h 1193800"/>
                  <a:gd name="connsiteX44" fmla="*/ 513380 w 898525"/>
                  <a:gd name="connsiteY44" fmla="*/ 888549 h 1193800"/>
                  <a:gd name="connsiteX45" fmla="*/ 519844 w 898525"/>
                  <a:gd name="connsiteY45" fmla="*/ 886484 h 1193800"/>
                  <a:gd name="connsiteX46" fmla="*/ 31750 w 898525"/>
                  <a:gd name="connsiteY46" fmla="*/ 31750 h 1193800"/>
                  <a:gd name="connsiteX47" fmla="*/ 31750 w 898525"/>
                  <a:gd name="connsiteY47" fmla="*/ 1163638 h 1193800"/>
                  <a:gd name="connsiteX48" fmla="*/ 866775 w 898525"/>
                  <a:gd name="connsiteY48" fmla="*/ 1163638 h 1193800"/>
                  <a:gd name="connsiteX49" fmla="*/ 866775 w 898525"/>
                  <a:gd name="connsiteY49" fmla="*/ 31750 h 1193800"/>
                  <a:gd name="connsiteX50" fmla="*/ 31750 w 898525"/>
                  <a:gd name="connsiteY50" fmla="*/ 31750 h 1193800"/>
                  <a:gd name="connsiteX51" fmla="*/ 15739 w 898525"/>
                  <a:gd name="connsiteY51" fmla="*/ 0 h 1193800"/>
                  <a:gd name="connsiteX52" fmla="*/ 882787 w 898525"/>
                  <a:gd name="connsiteY52" fmla="*/ 0 h 1193800"/>
                  <a:gd name="connsiteX53" fmla="*/ 898525 w 898525"/>
                  <a:gd name="connsiteY53" fmla="*/ 15727 h 1193800"/>
                  <a:gd name="connsiteX54" fmla="*/ 898525 w 898525"/>
                  <a:gd name="connsiteY54" fmla="*/ 1178073 h 1193800"/>
                  <a:gd name="connsiteX55" fmla="*/ 882787 w 898525"/>
                  <a:gd name="connsiteY55" fmla="*/ 1193800 h 1193800"/>
                  <a:gd name="connsiteX56" fmla="*/ 15739 w 898525"/>
                  <a:gd name="connsiteY56" fmla="*/ 1193800 h 1193800"/>
                  <a:gd name="connsiteX57" fmla="*/ 0 w 898525"/>
                  <a:gd name="connsiteY57" fmla="*/ 1178073 h 1193800"/>
                  <a:gd name="connsiteX58" fmla="*/ 0 w 898525"/>
                  <a:gd name="connsiteY58" fmla="*/ 15727 h 1193800"/>
                  <a:gd name="connsiteX59" fmla="*/ 15739 w 898525"/>
                  <a:gd name="connsiteY59" fmla="*/ 0 h 1193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898525" h="1193800">
                    <a:moveTo>
                      <a:pt x="399885" y="1031875"/>
                    </a:moveTo>
                    <a:cubicBezTo>
                      <a:pt x="654816" y="1031875"/>
                      <a:pt x="766214" y="1031875"/>
                      <a:pt x="766214" y="1031875"/>
                    </a:cubicBezTo>
                    <a:cubicBezTo>
                      <a:pt x="775497" y="1031875"/>
                      <a:pt x="782638" y="1038045"/>
                      <a:pt x="782638" y="1046957"/>
                    </a:cubicBezTo>
                    <a:cubicBezTo>
                      <a:pt x="782638" y="1055183"/>
                      <a:pt x="775497" y="1062038"/>
                      <a:pt x="766214" y="1062038"/>
                    </a:cubicBezTo>
                    <a:cubicBezTo>
                      <a:pt x="471294" y="1062038"/>
                      <a:pt x="399885" y="1062038"/>
                      <a:pt x="399885" y="1062038"/>
                    </a:cubicBezTo>
                    <a:cubicBezTo>
                      <a:pt x="390602" y="1062038"/>
                      <a:pt x="384175" y="1055183"/>
                      <a:pt x="384175" y="1046957"/>
                    </a:cubicBezTo>
                    <a:cubicBezTo>
                      <a:pt x="384175" y="1038045"/>
                      <a:pt x="390602" y="1031875"/>
                      <a:pt x="399885" y="1031875"/>
                    </a:cubicBezTo>
                    <a:close/>
                    <a:moveTo>
                      <a:pt x="519844" y="886484"/>
                    </a:moveTo>
                    <a:cubicBezTo>
                      <a:pt x="521999" y="887112"/>
                      <a:pt x="523794" y="888909"/>
                      <a:pt x="524153" y="891424"/>
                    </a:cubicBezTo>
                    <a:cubicBezTo>
                      <a:pt x="524153" y="891424"/>
                      <a:pt x="524153" y="891424"/>
                      <a:pt x="527744" y="908669"/>
                    </a:cubicBezTo>
                    <a:cubicBezTo>
                      <a:pt x="533490" y="933818"/>
                      <a:pt x="545700" y="959686"/>
                      <a:pt x="562219" y="984117"/>
                    </a:cubicBezTo>
                    <a:cubicBezTo>
                      <a:pt x="565811" y="979806"/>
                      <a:pt x="570120" y="974776"/>
                      <a:pt x="573711" y="969746"/>
                    </a:cubicBezTo>
                    <a:cubicBezTo>
                      <a:pt x="579457" y="963279"/>
                      <a:pt x="585203" y="957530"/>
                      <a:pt x="590230" y="951064"/>
                    </a:cubicBezTo>
                    <a:cubicBezTo>
                      <a:pt x="590949" y="949626"/>
                      <a:pt x="590949" y="949626"/>
                      <a:pt x="590949" y="949626"/>
                    </a:cubicBezTo>
                    <a:cubicBezTo>
                      <a:pt x="591667" y="949626"/>
                      <a:pt x="592385" y="948908"/>
                      <a:pt x="592385" y="948189"/>
                    </a:cubicBezTo>
                    <a:cubicBezTo>
                      <a:pt x="594540" y="946034"/>
                      <a:pt x="598849" y="941722"/>
                      <a:pt x="604595" y="940285"/>
                    </a:cubicBezTo>
                    <a:cubicBezTo>
                      <a:pt x="605313" y="939567"/>
                      <a:pt x="605313" y="939567"/>
                      <a:pt x="605313" y="939567"/>
                    </a:cubicBezTo>
                    <a:cubicBezTo>
                      <a:pt x="606031" y="939567"/>
                      <a:pt x="606031" y="939567"/>
                      <a:pt x="606031" y="939567"/>
                    </a:cubicBezTo>
                    <a:cubicBezTo>
                      <a:pt x="619678" y="935974"/>
                      <a:pt x="630451" y="944597"/>
                      <a:pt x="636915" y="949626"/>
                    </a:cubicBezTo>
                    <a:cubicBezTo>
                      <a:pt x="638352" y="951064"/>
                      <a:pt x="639070" y="952501"/>
                      <a:pt x="640506" y="953219"/>
                    </a:cubicBezTo>
                    <a:cubicBezTo>
                      <a:pt x="651280" y="960405"/>
                      <a:pt x="670672" y="950345"/>
                      <a:pt x="683600" y="939567"/>
                    </a:cubicBezTo>
                    <a:cubicBezTo>
                      <a:pt x="684318" y="938130"/>
                      <a:pt x="685755" y="936692"/>
                      <a:pt x="687191" y="935255"/>
                    </a:cubicBezTo>
                    <a:cubicBezTo>
                      <a:pt x="704429" y="920166"/>
                      <a:pt x="725976" y="900046"/>
                      <a:pt x="753987" y="904358"/>
                    </a:cubicBezTo>
                    <a:cubicBezTo>
                      <a:pt x="762605" y="905795"/>
                      <a:pt x="768351" y="914417"/>
                      <a:pt x="766915" y="922321"/>
                    </a:cubicBezTo>
                    <a:cubicBezTo>
                      <a:pt x="765478" y="930944"/>
                      <a:pt x="757578" y="936692"/>
                      <a:pt x="749677" y="935255"/>
                    </a:cubicBezTo>
                    <a:cubicBezTo>
                      <a:pt x="736031" y="933100"/>
                      <a:pt x="721666" y="946034"/>
                      <a:pt x="707302" y="958249"/>
                    </a:cubicBezTo>
                    <a:cubicBezTo>
                      <a:pt x="705865" y="959686"/>
                      <a:pt x="704429" y="960405"/>
                      <a:pt x="703711" y="961842"/>
                    </a:cubicBezTo>
                    <a:cubicBezTo>
                      <a:pt x="674263" y="986991"/>
                      <a:pt x="644816" y="993458"/>
                      <a:pt x="623269" y="978369"/>
                    </a:cubicBezTo>
                    <a:cubicBezTo>
                      <a:pt x="620396" y="976213"/>
                      <a:pt x="618960" y="974776"/>
                      <a:pt x="616805" y="973339"/>
                    </a:cubicBezTo>
                    <a:cubicBezTo>
                      <a:pt x="616087" y="972620"/>
                      <a:pt x="614650" y="971183"/>
                      <a:pt x="613214" y="970464"/>
                    </a:cubicBezTo>
                    <a:cubicBezTo>
                      <a:pt x="613214" y="970464"/>
                      <a:pt x="613214" y="971183"/>
                      <a:pt x="612496" y="971183"/>
                    </a:cubicBezTo>
                    <a:cubicBezTo>
                      <a:pt x="608186" y="976931"/>
                      <a:pt x="603159" y="983398"/>
                      <a:pt x="597413" y="989865"/>
                    </a:cubicBezTo>
                    <a:cubicBezTo>
                      <a:pt x="592385" y="995614"/>
                      <a:pt x="587358" y="1002081"/>
                      <a:pt x="582330" y="1008548"/>
                    </a:cubicBezTo>
                    <a:cubicBezTo>
                      <a:pt x="580175" y="1011422"/>
                      <a:pt x="575148" y="1017170"/>
                      <a:pt x="565811" y="1019326"/>
                    </a:cubicBezTo>
                    <a:cubicBezTo>
                      <a:pt x="565811" y="1019326"/>
                      <a:pt x="565811" y="1019326"/>
                      <a:pt x="564374" y="1019326"/>
                    </a:cubicBezTo>
                    <a:cubicBezTo>
                      <a:pt x="562938" y="1019326"/>
                      <a:pt x="562938" y="1019326"/>
                      <a:pt x="562938" y="1019326"/>
                    </a:cubicBezTo>
                    <a:cubicBezTo>
                      <a:pt x="552883" y="1019326"/>
                      <a:pt x="546418" y="1012859"/>
                      <a:pt x="543546" y="1009985"/>
                    </a:cubicBezTo>
                    <a:cubicBezTo>
                      <a:pt x="541391" y="1007829"/>
                      <a:pt x="541391" y="1007829"/>
                      <a:pt x="541391" y="1007829"/>
                    </a:cubicBezTo>
                    <a:cubicBezTo>
                      <a:pt x="540673" y="1007111"/>
                      <a:pt x="540673" y="1007111"/>
                      <a:pt x="540673" y="1007111"/>
                    </a:cubicBezTo>
                    <a:cubicBezTo>
                      <a:pt x="526308" y="986273"/>
                      <a:pt x="514098" y="963997"/>
                      <a:pt x="506198" y="941722"/>
                    </a:cubicBezTo>
                    <a:cubicBezTo>
                      <a:pt x="480341" y="968309"/>
                      <a:pt x="453049" y="992740"/>
                      <a:pt x="425038" y="1015733"/>
                    </a:cubicBezTo>
                    <a:cubicBezTo>
                      <a:pt x="417855" y="1020763"/>
                      <a:pt x="409237" y="1019326"/>
                      <a:pt x="403491" y="1012859"/>
                    </a:cubicBezTo>
                    <a:cubicBezTo>
                      <a:pt x="398463" y="1006392"/>
                      <a:pt x="399900" y="995614"/>
                      <a:pt x="406364" y="990584"/>
                    </a:cubicBezTo>
                    <a:cubicBezTo>
                      <a:pt x="440121" y="964716"/>
                      <a:pt x="471723" y="934537"/>
                      <a:pt x="501888" y="900765"/>
                    </a:cubicBezTo>
                    <a:cubicBezTo>
                      <a:pt x="501888" y="900765"/>
                      <a:pt x="501888" y="900765"/>
                      <a:pt x="513380" y="888549"/>
                    </a:cubicBezTo>
                    <a:cubicBezTo>
                      <a:pt x="515176" y="886394"/>
                      <a:pt x="517689" y="885855"/>
                      <a:pt x="519844" y="886484"/>
                    </a:cubicBezTo>
                    <a:close/>
                    <a:moveTo>
                      <a:pt x="31750" y="31750"/>
                    </a:moveTo>
                    <a:cubicBezTo>
                      <a:pt x="31750" y="31750"/>
                      <a:pt x="31750" y="31750"/>
                      <a:pt x="31750" y="1163638"/>
                    </a:cubicBezTo>
                    <a:cubicBezTo>
                      <a:pt x="31750" y="1163638"/>
                      <a:pt x="31750" y="1163638"/>
                      <a:pt x="866775" y="1163638"/>
                    </a:cubicBezTo>
                    <a:cubicBezTo>
                      <a:pt x="866775" y="1163638"/>
                      <a:pt x="866775" y="1163638"/>
                      <a:pt x="866775" y="31750"/>
                    </a:cubicBezTo>
                    <a:cubicBezTo>
                      <a:pt x="866775" y="31750"/>
                      <a:pt x="866775" y="31750"/>
                      <a:pt x="31750" y="31750"/>
                    </a:cubicBezTo>
                    <a:close/>
                    <a:moveTo>
                      <a:pt x="15739" y="0"/>
                    </a:moveTo>
                    <a:cubicBezTo>
                      <a:pt x="15739" y="0"/>
                      <a:pt x="15739" y="0"/>
                      <a:pt x="882787" y="0"/>
                    </a:cubicBezTo>
                    <a:cubicBezTo>
                      <a:pt x="892087" y="0"/>
                      <a:pt x="898525" y="7149"/>
                      <a:pt x="898525" y="15727"/>
                    </a:cubicBezTo>
                    <a:cubicBezTo>
                      <a:pt x="898525" y="15727"/>
                      <a:pt x="898525" y="15727"/>
                      <a:pt x="898525" y="1178073"/>
                    </a:cubicBezTo>
                    <a:cubicBezTo>
                      <a:pt x="898525" y="1187367"/>
                      <a:pt x="892087" y="1193800"/>
                      <a:pt x="882787" y="1193800"/>
                    </a:cubicBezTo>
                    <a:cubicBezTo>
                      <a:pt x="882787" y="1193800"/>
                      <a:pt x="882787" y="1193800"/>
                      <a:pt x="15739" y="1193800"/>
                    </a:cubicBezTo>
                    <a:cubicBezTo>
                      <a:pt x="6439" y="1193800"/>
                      <a:pt x="0" y="1187367"/>
                      <a:pt x="0" y="1178073"/>
                    </a:cubicBezTo>
                    <a:cubicBezTo>
                      <a:pt x="0" y="1178073"/>
                      <a:pt x="0" y="1178073"/>
                      <a:pt x="0" y="15727"/>
                    </a:cubicBezTo>
                    <a:cubicBezTo>
                      <a:pt x="0" y="7149"/>
                      <a:pt x="6439" y="0"/>
                      <a:pt x="15739" y="0"/>
                    </a:cubicBez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p>
                <a:pPr>
                  <a:buClrTx/>
                  <a:buFontTx/>
                  <a:buNone/>
                </a:pPr>
                <a:endParaRPr lang="en-US" sz="1800" kern="1200">
                  <a:latin typeface="Calibri" panose="020F0502020204030204"/>
                  <a:ea typeface="+mn-ea"/>
                  <a:cs typeface="+mn-cs"/>
                </a:endParaRPr>
              </a:p>
            </p:txBody>
          </p:sp>
        </p:grpSp>
      </p:grpSp>
    </p:spTree>
    <p:extLst>
      <p:ext uri="{BB962C8B-B14F-4D97-AF65-F5344CB8AC3E}">
        <p14:creationId xmlns:p14="http://schemas.microsoft.com/office/powerpoint/2010/main" val="267754910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8D1598-C14B-0F48-F062-080390CE1670}"/>
              </a:ext>
            </a:extLst>
          </p:cNvPr>
          <p:cNvSpPr/>
          <p:nvPr/>
        </p:nvSpPr>
        <p:spPr>
          <a:xfrm flipV="1">
            <a:off x="0" y="0"/>
            <a:ext cx="12192000" cy="1287597"/>
          </a:xfrm>
          <a:prstGeom prst="rect">
            <a:avLst/>
          </a:prstGeom>
          <a:gradFill flip="none" rotWithShape="1">
            <a:gsLst>
              <a:gs pos="0">
                <a:srgbClr val="008C4F"/>
              </a:gs>
              <a:gs pos="100000">
                <a:srgbClr val="00693B"/>
              </a:gs>
            </a:gsLst>
            <a:lin ang="13500000" scaled="1"/>
            <a:tileRect/>
          </a:gradFill>
          <a:ln w="10795" cap="flat" cmpd="sng" algn="ctr">
            <a:noFill/>
            <a:prstDash val="solid"/>
          </a:ln>
          <a:effectLst/>
        </p:spPr>
        <p:txBody>
          <a:bodyPr lIns="91440" tIns="91440" rIns="91440" bIns="91440" rtlCol="0" anchor="ctr"/>
          <a:lstStyle/>
          <a:p>
            <a:pPr marL="0" marR="0" lvl="0" indent="0" algn="ctr" defTabSz="914400" eaLnBrk="1" fontAlgn="auto" latinLnBrk="0" hangingPunct="1">
              <a:lnSpc>
                <a:spcPct val="95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1" name="Rectangle: Rounded Corners 10">
            <a:extLst>
              <a:ext uri="{FF2B5EF4-FFF2-40B4-BE49-F238E27FC236}">
                <a16:creationId xmlns:a16="http://schemas.microsoft.com/office/drawing/2014/main" id="{FCFCDF52-7BEE-58B5-A33B-8973F923C4D9}"/>
              </a:ext>
            </a:extLst>
          </p:cNvPr>
          <p:cNvSpPr/>
          <p:nvPr/>
        </p:nvSpPr>
        <p:spPr>
          <a:xfrm>
            <a:off x="629324" y="1621127"/>
            <a:ext cx="10933350" cy="344710"/>
          </a:xfrm>
          <a:prstGeom prst="roundRect">
            <a:avLst>
              <a:gd name="adj" fmla="val 50000"/>
            </a:avLst>
          </a:prstGeom>
          <a:gradFill flip="none" rotWithShape="1">
            <a:gsLst>
              <a:gs pos="0">
                <a:srgbClr val="B1B3B3">
                  <a:shade val="30000"/>
                  <a:satMod val="115000"/>
                </a:srgbClr>
              </a:gs>
              <a:gs pos="50000">
                <a:srgbClr val="B1B3B3">
                  <a:shade val="67500"/>
                  <a:satMod val="115000"/>
                </a:srgbClr>
              </a:gs>
              <a:gs pos="100000">
                <a:srgbClr val="B1B3B3">
                  <a:shade val="100000"/>
                  <a:satMod val="115000"/>
                </a:srgbClr>
              </a:gs>
            </a:gsLst>
            <a:lin ang="18900000" scaled="1"/>
            <a:tileRect/>
          </a:gradFill>
          <a:ln w="9525" cap="rnd" cmpd="sng" algn="ctr">
            <a:noFill/>
            <a:prstDash val="dash"/>
            <a:round/>
            <a:headEnd type="none" w="med" len="med"/>
            <a:tailEnd type="none" w="med" len="med"/>
          </a:ln>
          <a:effectLst/>
        </p:spPr>
        <p:txBody>
          <a:bodyPr rot="0" spcFirstLastPara="0" vertOverflow="overflow" horzOverflow="overflow" vert="horz" wrap="none" lIns="18288" tIns="18288" rIns="18288" bIns="18288"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800" kern="1200" dirty="0">
                <a:solidFill>
                  <a:srgbClr val="FFFFFF"/>
                </a:solidFill>
                <a:latin typeface="Calibri" panose="020F0502020204030204"/>
                <a:ea typeface="+mn-ea"/>
                <a:cs typeface="+mn-cs"/>
              </a:rPr>
              <a:t>Six steps of Analyzing this dataset</a:t>
            </a: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2" name="Rectangle: Rounded Corners 11">
            <a:extLst>
              <a:ext uri="{FF2B5EF4-FFF2-40B4-BE49-F238E27FC236}">
                <a16:creationId xmlns:a16="http://schemas.microsoft.com/office/drawing/2014/main" id="{42C1F23E-A72D-AFD8-76E7-9D6F634B6B72}"/>
              </a:ext>
            </a:extLst>
          </p:cNvPr>
          <p:cNvSpPr/>
          <p:nvPr/>
        </p:nvSpPr>
        <p:spPr>
          <a:xfrm>
            <a:off x="630000" y="5824845"/>
            <a:ext cx="10933350" cy="344710"/>
          </a:xfrm>
          <a:prstGeom prst="roundRect">
            <a:avLst>
              <a:gd name="adj" fmla="val 50000"/>
            </a:avLst>
          </a:prstGeom>
          <a:gradFill flip="none" rotWithShape="1">
            <a:gsLst>
              <a:gs pos="0">
                <a:srgbClr val="008C4F">
                  <a:shade val="30000"/>
                  <a:satMod val="115000"/>
                </a:srgbClr>
              </a:gs>
              <a:gs pos="50000">
                <a:srgbClr val="008C4F">
                  <a:shade val="67500"/>
                  <a:satMod val="115000"/>
                </a:srgbClr>
              </a:gs>
              <a:gs pos="100000">
                <a:srgbClr val="008C4F">
                  <a:shade val="100000"/>
                  <a:satMod val="115000"/>
                </a:srgbClr>
              </a:gs>
            </a:gsLst>
            <a:lin ang="18900000" scaled="1"/>
            <a:tileRect/>
          </a:gradFill>
          <a:ln w="9525" cap="rnd" cmpd="sng" algn="ctr">
            <a:noFill/>
            <a:prstDash val="dash"/>
            <a:round/>
            <a:headEnd type="none" w="med" len="med"/>
            <a:tailEnd type="none" w="med" len="med"/>
          </a:ln>
          <a:effectLst/>
        </p:spPr>
        <p:txBody>
          <a:bodyPr rot="0" spcFirstLastPara="0" vertOverflow="overflow" horzOverflow="overflow" vert="horz" wrap="none" lIns="18288" tIns="18288" rIns="18288" bIns="18288"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6" name="Rectangle 15">
            <a:extLst>
              <a:ext uri="{FF2B5EF4-FFF2-40B4-BE49-F238E27FC236}">
                <a16:creationId xmlns:a16="http://schemas.microsoft.com/office/drawing/2014/main" id="{6B1A4033-C114-8C26-B7EF-D112B7F2AB20}"/>
              </a:ext>
            </a:extLst>
          </p:cNvPr>
          <p:cNvSpPr/>
          <p:nvPr/>
        </p:nvSpPr>
        <p:spPr>
          <a:xfrm flipV="1">
            <a:off x="0" y="1325818"/>
            <a:ext cx="12192000" cy="45719"/>
          </a:xfrm>
          <a:prstGeom prst="rect">
            <a:avLst/>
          </a:prstGeom>
          <a:gradFill flip="none" rotWithShape="1">
            <a:gsLst>
              <a:gs pos="0">
                <a:srgbClr val="008C4F"/>
              </a:gs>
              <a:gs pos="100000">
                <a:srgbClr val="00693B"/>
              </a:gs>
            </a:gsLst>
            <a:lin ang="13500000" scaled="1"/>
            <a:tileRect/>
          </a:gradFill>
          <a:ln w="10795" cap="flat" cmpd="sng" algn="ctr">
            <a:noFill/>
            <a:prstDash val="solid"/>
          </a:ln>
          <a:effectLst/>
        </p:spPr>
        <p:txBody>
          <a:bodyPr lIns="91440" tIns="91440" rIns="91440" bIns="91440" rtlCol="0" anchor="ctr"/>
          <a:lstStyle/>
          <a:p>
            <a:pPr marL="0" marR="0" lvl="0" indent="0" algn="ctr" defTabSz="914400" eaLnBrk="1" fontAlgn="auto" latinLnBrk="0" hangingPunct="1">
              <a:lnSpc>
                <a:spcPct val="95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pic>
        <p:nvPicPr>
          <p:cNvPr id="46" name="Google Shape;97;p3" descr="Diagram&#10;&#10;Description automatically generated">
            <a:extLst>
              <a:ext uri="{FF2B5EF4-FFF2-40B4-BE49-F238E27FC236}">
                <a16:creationId xmlns:a16="http://schemas.microsoft.com/office/drawing/2014/main" id="{CF077048-089C-1946-49EC-289A603D5540}"/>
              </a:ext>
            </a:extLst>
          </p:cNvPr>
          <p:cNvPicPr preferRelativeResize="0"/>
          <p:nvPr/>
        </p:nvPicPr>
        <p:blipFill rotWithShape="1">
          <a:blip r:embed="rId2">
            <a:alphaModFix/>
          </a:blip>
          <a:srcRect/>
          <a:stretch/>
        </p:blipFill>
        <p:spPr>
          <a:xfrm>
            <a:off x="1775034" y="2284523"/>
            <a:ext cx="8641931" cy="3247659"/>
          </a:xfrm>
          <a:prstGeom prst="rect">
            <a:avLst/>
          </a:prstGeom>
          <a:noFill/>
          <a:ln>
            <a:noFill/>
          </a:ln>
        </p:spPr>
      </p:pic>
      <p:sp>
        <p:nvSpPr>
          <p:cNvPr id="47" name="Title 1">
            <a:extLst>
              <a:ext uri="{FF2B5EF4-FFF2-40B4-BE49-F238E27FC236}">
                <a16:creationId xmlns:a16="http://schemas.microsoft.com/office/drawing/2014/main" id="{AEF8EE42-C840-00FD-DE9E-6DCD53D89E62}"/>
              </a:ext>
            </a:extLst>
          </p:cNvPr>
          <p:cNvSpPr>
            <a:spLocks noGrp="1"/>
          </p:cNvSpPr>
          <p:nvPr>
            <p:ph type="title"/>
          </p:nvPr>
        </p:nvSpPr>
        <p:spPr>
          <a:xfrm>
            <a:off x="482082" y="332033"/>
            <a:ext cx="10933200" cy="701690"/>
          </a:xfrm>
          <a:prstGeom prst="rect">
            <a:avLst/>
          </a:prstGeom>
        </p:spPr>
        <p:txBody>
          <a:bodyPr vert="horz">
            <a:spAutoFit/>
          </a:bodyPr>
          <a:lstStyle/>
          <a:p>
            <a:r>
              <a:rPr lang="en-US" dirty="0">
                <a:solidFill>
                  <a:srgbClr val="D4DF33"/>
                </a:solidFill>
                <a:latin typeface="Calibri" panose="020F0502020204030204" pitchFamily="34" charset="0"/>
              </a:rPr>
              <a:t>1 – </a:t>
            </a:r>
            <a:r>
              <a:rPr lang="en-US" dirty="0">
                <a:solidFill>
                  <a:srgbClr val="FFFFFF"/>
                </a:solidFill>
                <a:latin typeface="Calibri" panose="020F0502020204030204" pitchFamily="34" charset="0"/>
              </a:rPr>
              <a:t>Approach</a:t>
            </a:r>
          </a:p>
        </p:txBody>
      </p:sp>
    </p:spTree>
    <p:extLst>
      <p:ext uri="{BB962C8B-B14F-4D97-AF65-F5344CB8AC3E}">
        <p14:creationId xmlns:p14="http://schemas.microsoft.com/office/powerpoint/2010/main" val="207385088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B6557F4-5687-4C04-AAE2-835ADE53E43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a:extLst>
                          <a:ext uri="{FF2B5EF4-FFF2-40B4-BE49-F238E27FC236}">
                            <a16:creationId xmlns:a16="http://schemas.microsoft.com/office/drawing/2014/main" id="{FB6557F4-5687-4C04-AAE2-835ADE53E43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33" name="Picture 32">
            <a:extLst>
              <a:ext uri="{FF2B5EF4-FFF2-40B4-BE49-F238E27FC236}">
                <a16:creationId xmlns:a16="http://schemas.microsoft.com/office/drawing/2014/main" id="{E52512A8-D24F-4F7B-AA70-13CCB6F84EC7}"/>
              </a:ext>
            </a:extLst>
          </p:cNvPr>
          <p:cNvPicPr>
            <a:picLocks noChangeAspect="1"/>
          </p:cNvPicPr>
          <p:nvPr/>
        </p:nvPicPr>
        <p:blipFill rotWithShape="1">
          <a:blip r:embed="rId6"/>
          <a:srcRect t="41519" b="28376"/>
          <a:stretch/>
        </p:blipFill>
        <p:spPr>
          <a:xfrm>
            <a:off x="0" y="0"/>
            <a:ext cx="12192000" cy="2449520"/>
          </a:xfrm>
          <a:custGeom>
            <a:avLst/>
            <a:gdLst>
              <a:gd name="connsiteX0" fmla="*/ 0 w 12192000"/>
              <a:gd name="connsiteY0" fmla="*/ 0 h 2449520"/>
              <a:gd name="connsiteX1" fmla="*/ 12192000 w 12192000"/>
              <a:gd name="connsiteY1" fmla="*/ 0 h 2449520"/>
              <a:gd name="connsiteX2" fmla="*/ 12192000 w 12192000"/>
              <a:gd name="connsiteY2" fmla="*/ 2449520 h 2449520"/>
              <a:gd name="connsiteX3" fmla="*/ 0 w 12192000"/>
              <a:gd name="connsiteY3" fmla="*/ 2449520 h 2449520"/>
            </a:gdLst>
            <a:ahLst/>
            <a:cxnLst>
              <a:cxn ang="0">
                <a:pos x="connsiteX0" y="connsiteY0"/>
              </a:cxn>
              <a:cxn ang="0">
                <a:pos x="connsiteX1" y="connsiteY1"/>
              </a:cxn>
              <a:cxn ang="0">
                <a:pos x="connsiteX2" y="connsiteY2"/>
              </a:cxn>
              <a:cxn ang="0">
                <a:pos x="connsiteX3" y="connsiteY3"/>
              </a:cxn>
            </a:cxnLst>
            <a:rect l="l" t="t" r="r" b="b"/>
            <a:pathLst>
              <a:path w="12192000" h="2449520">
                <a:moveTo>
                  <a:pt x="0" y="0"/>
                </a:moveTo>
                <a:lnTo>
                  <a:pt x="12192000" y="0"/>
                </a:lnTo>
                <a:lnTo>
                  <a:pt x="12192000" y="2449520"/>
                </a:lnTo>
                <a:lnTo>
                  <a:pt x="0" y="2449520"/>
                </a:lnTo>
                <a:close/>
              </a:path>
            </a:pathLst>
          </a:custGeom>
        </p:spPr>
      </p:pic>
      <p:sp>
        <p:nvSpPr>
          <p:cNvPr id="34" name="GradientOverlay">
            <a:extLst>
              <a:ext uri="{FF2B5EF4-FFF2-40B4-BE49-F238E27FC236}">
                <a16:creationId xmlns:a16="http://schemas.microsoft.com/office/drawing/2014/main" id="{54FA9D2C-CBA2-4902-B81B-E8AA2A9C191D}"/>
              </a:ext>
            </a:extLst>
          </p:cNvPr>
          <p:cNvSpPr/>
          <p:nvPr>
            <p:custDataLst>
              <p:tags r:id="rId2"/>
            </p:custDataLst>
          </p:nvPr>
        </p:nvSpPr>
        <p:spPr>
          <a:xfrm>
            <a:off x="0" y="-7722"/>
            <a:ext cx="12192000" cy="2449520"/>
          </a:xfrm>
          <a:prstGeom prst="rect">
            <a:avLst/>
          </a:prstGeom>
          <a:solidFill>
            <a:srgbClr val="000000">
              <a:alpha val="45000"/>
            </a:srgb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0"/>
              </a:spcBef>
              <a:spcAft>
                <a:spcPts val="100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5" name="Freeform 7">
            <a:extLst>
              <a:ext uri="{FF2B5EF4-FFF2-40B4-BE49-F238E27FC236}">
                <a16:creationId xmlns:a16="http://schemas.microsoft.com/office/drawing/2014/main" id="{84B1A602-D9DF-437C-8E0B-5364939BBB2C}"/>
              </a:ext>
            </a:extLst>
          </p:cNvPr>
          <p:cNvSpPr>
            <a:spLocks/>
          </p:cNvSpPr>
          <p:nvPr/>
        </p:nvSpPr>
        <p:spPr bwMode="auto">
          <a:xfrm>
            <a:off x="767772" y="2200257"/>
            <a:ext cx="10793857" cy="2650844"/>
          </a:xfrm>
          <a:custGeom>
            <a:avLst/>
            <a:gdLst>
              <a:gd name="T0" fmla="*/ 1168 w 1168"/>
              <a:gd name="T1" fmla="*/ 1011 h 1350"/>
              <a:gd name="T2" fmla="*/ 1168 w 1168"/>
              <a:gd name="T3" fmla="*/ 336 h 1350"/>
              <a:gd name="T4" fmla="*/ 584 w 1168"/>
              <a:gd name="T5" fmla="*/ 0 h 1350"/>
              <a:gd name="T6" fmla="*/ 0 w 1168"/>
              <a:gd name="T7" fmla="*/ 336 h 1350"/>
              <a:gd name="T8" fmla="*/ 0 w 1168"/>
              <a:gd name="T9" fmla="*/ 1011 h 1350"/>
              <a:gd name="T10" fmla="*/ 584 w 1168"/>
              <a:gd name="T11" fmla="*/ 1350 h 1350"/>
              <a:gd name="T12" fmla="*/ 1168 w 1168"/>
              <a:gd name="T13" fmla="*/ 1011 h 1350"/>
            </a:gdLst>
            <a:ahLst/>
            <a:cxnLst>
              <a:cxn ang="0">
                <a:pos x="T0" y="T1"/>
              </a:cxn>
              <a:cxn ang="0">
                <a:pos x="T2" y="T3"/>
              </a:cxn>
              <a:cxn ang="0">
                <a:pos x="T4" y="T5"/>
              </a:cxn>
              <a:cxn ang="0">
                <a:pos x="T6" y="T7"/>
              </a:cxn>
              <a:cxn ang="0">
                <a:pos x="T8" y="T9"/>
              </a:cxn>
              <a:cxn ang="0">
                <a:pos x="T10" y="T11"/>
              </a:cxn>
              <a:cxn ang="0">
                <a:pos x="T12" y="T13"/>
              </a:cxn>
            </a:cxnLst>
            <a:rect l="0" t="0" r="r" b="b"/>
            <a:pathLst>
              <a:path w="1168" h="1350">
                <a:moveTo>
                  <a:pt x="1168" y="1011"/>
                </a:moveTo>
                <a:lnTo>
                  <a:pt x="1168" y="336"/>
                </a:lnTo>
                <a:lnTo>
                  <a:pt x="584" y="0"/>
                </a:lnTo>
                <a:lnTo>
                  <a:pt x="0" y="336"/>
                </a:lnTo>
                <a:lnTo>
                  <a:pt x="0" y="1011"/>
                </a:lnTo>
                <a:lnTo>
                  <a:pt x="584" y="1350"/>
                </a:lnTo>
                <a:lnTo>
                  <a:pt x="1168" y="1011"/>
                </a:lnTo>
              </a:path>
            </a:pathLst>
          </a:custGeom>
          <a:solidFill>
            <a:srgbClr val="004E2A"/>
          </a:solidFill>
          <a:ln w="9525" cap="flat" cmpd="sng" algn="ctr">
            <a:solidFill>
              <a:schemeClr val="accent1"/>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6" name="Rectangle: Rounded Corners 15">
            <a:extLst>
              <a:ext uri="{FF2B5EF4-FFF2-40B4-BE49-F238E27FC236}">
                <a16:creationId xmlns:a16="http://schemas.microsoft.com/office/drawing/2014/main" id="{02676483-D324-46C4-86D4-414572733BFF}"/>
              </a:ext>
            </a:extLst>
          </p:cNvPr>
          <p:cNvSpPr/>
          <p:nvPr/>
        </p:nvSpPr>
        <p:spPr>
          <a:xfrm>
            <a:off x="1179138" y="2441798"/>
            <a:ext cx="10101236" cy="3807322"/>
          </a:xfrm>
          <a:prstGeom prst="roundRect">
            <a:avLst>
              <a:gd name="adj" fmla="val 0"/>
            </a:avLst>
          </a:prstGeom>
          <a:solidFill>
            <a:schemeClr val="bg1"/>
          </a:solidFill>
          <a:ln w="9525" cap="rnd" cmpd="sng" algn="ctr">
            <a:solidFill>
              <a:srgbClr val="008C4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Calibri" panose="020F0502020204030204"/>
              <a:ea typeface="+mn-ea"/>
              <a:cs typeface="Poppins" panose="020B0604020202020204" charset="0"/>
            </a:endParaRPr>
          </a:p>
        </p:txBody>
      </p:sp>
      <p:sp>
        <p:nvSpPr>
          <p:cNvPr id="27" name="Rectangle 26">
            <a:extLst>
              <a:ext uri="{FF2B5EF4-FFF2-40B4-BE49-F238E27FC236}">
                <a16:creationId xmlns:a16="http://schemas.microsoft.com/office/drawing/2014/main" id="{3352C43E-2D94-47F5-99C4-D239FE4D285F}"/>
              </a:ext>
            </a:extLst>
          </p:cNvPr>
          <p:cNvSpPr/>
          <p:nvPr/>
        </p:nvSpPr>
        <p:spPr>
          <a:xfrm>
            <a:off x="1368747" y="3502438"/>
            <a:ext cx="9765418" cy="2602525"/>
          </a:xfrm>
          <a:prstGeom prst="rect">
            <a:avLst/>
          </a:prstGeom>
        </p:spPr>
        <p:txBody>
          <a:bodyPr wrap="square" lIns="0" tIns="0" rIns="0" bIns="0" anchor="t">
            <a:noAutofit/>
          </a:bodyPr>
          <a:lstStyle/>
          <a:p>
            <a:pPr marL="45720" marR="0" lvl="1" algn="l" defTabSz="829269" rtl="0" eaLnBrk="1" fontAlgn="base" latinLnBrk="0" hangingPunct="1">
              <a:lnSpc>
                <a:spcPct val="100000"/>
              </a:lnSpc>
              <a:spcBef>
                <a:spcPts val="0"/>
              </a:spcBef>
              <a:spcAft>
                <a:spcPts val="0"/>
              </a:spcAft>
              <a:buClr>
                <a:srgbClr val="008C4F"/>
              </a:buClr>
              <a:buSzTx/>
              <a:tabLst/>
              <a:defRPr/>
            </a:pPr>
            <a:r>
              <a:rPr kumimoji="0" lang="en-US" sz="1500" b="0" i="0" u="none" strike="noStrike" kern="1200" cap="none" spc="0" normalizeH="0" baseline="0" noProof="0" dirty="0">
                <a:ln>
                  <a:noFill/>
                </a:ln>
                <a:solidFill>
                  <a:srgbClr val="000000"/>
                </a:solidFill>
                <a:effectLst/>
                <a:uLnTx/>
                <a:uFillTx/>
                <a:latin typeface="Calibri" panose="020F0502020204030204"/>
                <a:ea typeface="+mn-ea"/>
                <a:cs typeface="+mn-cs"/>
              </a:rPr>
              <a:t>Topics to be covered in the report:</a:t>
            </a:r>
          </a:p>
          <a:p>
            <a:pPr marL="45720" marR="0" lvl="1" algn="l" defTabSz="829269" rtl="0" eaLnBrk="1" fontAlgn="base" latinLnBrk="0" hangingPunct="1">
              <a:lnSpc>
                <a:spcPct val="100000"/>
              </a:lnSpc>
              <a:spcBef>
                <a:spcPts val="0"/>
              </a:spcBef>
              <a:spcAft>
                <a:spcPts val="0"/>
              </a:spcAft>
              <a:buClr>
                <a:srgbClr val="008C4F"/>
              </a:buClr>
              <a:buSzTx/>
              <a:tabLst/>
              <a:defRPr/>
            </a:pPr>
            <a:r>
              <a:rPr kumimoji="0" lang="en-US" sz="1500" b="0" i="0" u="none" strike="noStrike" kern="1200" cap="none" spc="0" normalizeH="0" baseline="0" noProof="0" dirty="0">
                <a:ln>
                  <a:noFill/>
                </a:ln>
                <a:solidFill>
                  <a:srgbClr val="000000"/>
                </a:solidFill>
                <a:effectLst/>
                <a:uLnTx/>
                <a:uFillTx/>
                <a:latin typeface="Calibri" panose="020F0502020204030204"/>
                <a:ea typeface="+mn-ea"/>
                <a:cs typeface="+mn-cs"/>
              </a:rPr>
              <a:t>In terms of sales:</a:t>
            </a:r>
          </a:p>
          <a:p>
            <a:pPr marL="331470" marR="0" lvl="1" indent="-285750" algn="l" defTabSz="829269" rtl="0" eaLnBrk="1" fontAlgn="base" latinLnBrk="0" hangingPunct="1">
              <a:lnSpc>
                <a:spcPct val="100000"/>
              </a:lnSpc>
              <a:spcBef>
                <a:spcPts val="0"/>
              </a:spcBef>
              <a:spcAft>
                <a:spcPts val="0"/>
              </a:spcAft>
              <a:buClr>
                <a:srgbClr val="008C4F"/>
              </a:buClr>
              <a:buSzTx/>
              <a:buFont typeface="Arial" panose="020B0604020202020204" pitchFamily="34" charset="0"/>
              <a:buChar char="•"/>
              <a:tabLst/>
              <a:defRPr/>
            </a:pPr>
            <a:r>
              <a:rPr kumimoji="0" lang="en-US" sz="1500" b="0" i="0" u="none" strike="noStrike" kern="1200" cap="none" spc="0" normalizeH="0" baseline="0" noProof="0" dirty="0">
                <a:ln>
                  <a:noFill/>
                </a:ln>
                <a:solidFill>
                  <a:srgbClr val="000000"/>
                </a:solidFill>
                <a:effectLst/>
                <a:uLnTx/>
                <a:uFillTx/>
                <a:latin typeface="Calibri" panose="020F0502020204030204"/>
                <a:ea typeface="+mn-ea"/>
                <a:cs typeface="+mn-cs"/>
              </a:rPr>
              <a:t>Total Sales revenue</a:t>
            </a:r>
          </a:p>
          <a:p>
            <a:pPr marL="331470" marR="0" lvl="1" indent="-285750" algn="l" defTabSz="829269" rtl="0" eaLnBrk="1" fontAlgn="base" latinLnBrk="0" hangingPunct="1">
              <a:lnSpc>
                <a:spcPct val="100000"/>
              </a:lnSpc>
              <a:spcBef>
                <a:spcPts val="0"/>
              </a:spcBef>
              <a:spcAft>
                <a:spcPts val="0"/>
              </a:spcAft>
              <a:buClr>
                <a:srgbClr val="008C4F"/>
              </a:buClr>
              <a:buSzTx/>
              <a:buFont typeface="Arial" panose="020B0604020202020204" pitchFamily="34" charset="0"/>
              <a:buChar char="•"/>
              <a:tabLst/>
              <a:defRPr/>
            </a:pPr>
            <a:r>
              <a:rPr kumimoji="0" lang="en-US" sz="1500" b="0" i="0" u="none" strike="noStrike" kern="1200" cap="none" spc="0" normalizeH="0" baseline="0" noProof="0" dirty="0">
                <a:ln>
                  <a:noFill/>
                </a:ln>
                <a:solidFill>
                  <a:srgbClr val="000000"/>
                </a:solidFill>
                <a:effectLst/>
                <a:uLnTx/>
                <a:uFillTx/>
                <a:latin typeface="Calibri" panose="020F0502020204030204"/>
                <a:ea typeface="+mn-ea"/>
                <a:cs typeface="+mn-cs"/>
              </a:rPr>
              <a:t>Sales growth (comparing to Sales in previous year)</a:t>
            </a:r>
          </a:p>
          <a:p>
            <a:pPr marL="331470" marR="0" lvl="1" indent="-285750" algn="l" defTabSz="829269" rtl="0" eaLnBrk="1" fontAlgn="base" latinLnBrk="0" hangingPunct="1">
              <a:lnSpc>
                <a:spcPct val="100000"/>
              </a:lnSpc>
              <a:spcBef>
                <a:spcPts val="0"/>
              </a:spcBef>
              <a:spcAft>
                <a:spcPts val="0"/>
              </a:spcAft>
              <a:buClr>
                <a:srgbClr val="008C4F"/>
              </a:buClr>
              <a:buSzTx/>
              <a:buFont typeface="Arial" panose="020B0604020202020204" pitchFamily="34" charset="0"/>
              <a:buChar char="•"/>
              <a:tabLst/>
              <a:defRPr/>
            </a:pPr>
            <a:r>
              <a:rPr kumimoji="0" lang="en-US" sz="1500" b="0" i="0" u="none" strike="noStrike" kern="1200" cap="none" spc="0" normalizeH="0" baseline="0" noProof="0" dirty="0">
                <a:ln>
                  <a:noFill/>
                </a:ln>
                <a:solidFill>
                  <a:srgbClr val="000000"/>
                </a:solidFill>
                <a:effectLst/>
                <a:uLnTx/>
                <a:uFillTx/>
                <a:latin typeface="Calibri" panose="020F0502020204030204"/>
                <a:ea typeface="+mn-ea"/>
                <a:cs typeface="+mn-cs"/>
              </a:rPr>
              <a:t>Average Sales and Items Sold per Order</a:t>
            </a:r>
          </a:p>
          <a:p>
            <a:pPr marL="331470" marR="0" lvl="1" indent="-285750" algn="l" defTabSz="829269" rtl="0" eaLnBrk="1" fontAlgn="base" latinLnBrk="0" hangingPunct="1">
              <a:lnSpc>
                <a:spcPct val="100000"/>
              </a:lnSpc>
              <a:spcBef>
                <a:spcPts val="0"/>
              </a:spcBef>
              <a:spcAft>
                <a:spcPts val="0"/>
              </a:spcAft>
              <a:buClr>
                <a:srgbClr val="008C4F"/>
              </a:buClr>
              <a:buSzTx/>
              <a:buFont typeface="Arial" panose="020B0604020202020204" pitchFamily="34" charset="0"/>
              <a:buChar char="•"/>
              <a:tabLst/>
              <a:defRPr/>
            </a:pPr>
            <a:r>
              <a:rPr kumimoji="0" lang="en-US" sz="1500" b="0" i="0" u="none" strike="noStrike" kern="1200" cap="none" spc="0" normalizeH="0" baseline="0" noProof="0" dirty="0">
                <a:ln>
                  <a:noFill/>
                </a:ln>
                <a:solidFill>
                  <a:srgbClr val="000000"/>
                </a:solidFill>
                <a:effectLst/>
                <a:uLnTx/>
                <a:uFillTx/>
                <a:latin typeface="Calibri" panose="020F0502020204030204"/>
                <a:ea typeface="+mn-ea"/>
                <a:cs typeface="+mn-cs"/>
              </a:rPr>
              <a:t>Sales Performance over time</a:t>
            </a:r>
          </a:p>
          <a:p>
            <a:pPr marL="331470" marR="0" lvl="1" indent="-285750" algn="l" defTabSz="829269" rtl="0" eaLnBrk="1" fontAlgn="base" latinLnBrk="0" hangingPunct="1">
              <a:lnSpc>
                <a:spcPct val="100000"/>
              </a:lnSpc>
              <a:spcBef>
                <a:spcPts val="0"/>
              </a:spcBef>
              <a:spcAft>
                <a:spcPts val="0"/>
              </a:spcAft>
              <a:buClr>
                <a:srgbClr val="008C4F"/>
              </a:buClr>
              <a:buSzTx/>
              <a:buFont typeface="Arial" panose="020B0604020202020204" pitchFamily="34" charset="0"/>
              <a:buChar char="•"/>
              <a:tabLst/>
              <a:defRPr/>
            </a:pPr>
            <a:r>
              <a:rPr kumimoji="0" lang="en-US" sz="1500" b="0" i="0" u="none" strike="noStrike" kern="1200" cap="none" spc="0" normalizeH="0" baseline="0" noProof="0" dirty="0">
                <a:ln>
                  <a:noFill/>
                </a:ln>
                <a:solidFill>
                  <a:srgbClr val="000000"/>
                </a:solidFill>
                <a:effectLst/>
                <a:uLnTx/>
                <a:uFillTx/>
                <a:latin typeface="Calibri" panose="020F0502020204030204"/>
                <a:ea typeface="+mn-ea"/>
                <a:cs typeface="+mn-cs"/>
              </a:rPr>
              <a:t>Comparison between Current Year Sales and Previous Year Sales, mentioning Sales Growth YoY (Year over year)</a:t>
            </a:r>
          </a:p>
          <a:p>
            <a:pPr marL="331470" marR="0" lvl="1" indent="-285750" algn="l" defTabSz="829269" rtl="0" eaLnBrk="1" fontAlgn="base" latinLnBrk="0" hangingPunct="1">
              <a:lnSpc>
                <a:spcPct val="100000"/>
              </a:lnSpc>
              <a:spcBef>
                <a:spcPts val="0"/>
              </a:spcBef>
              <a:spcAft>
                <a:spcPts val="0"/>
              </a:spcAft>
              <a:buClr>
                <a:srgbClr val="008C4F"/>
              </a:buClr>
              <a:buSzTx/>
              <a:buFont typeface="Arial" panose="020B0604020202020204" pitchFamily="34" charset="0"/>
              <a:buChar char="•"/>
              <a:tabLst/>
              <a:defRPr/>
            </a:pPr>
            <a:r>
              <a:rPr kumimoji="0" lang="en-US" sz="1500" b="0" i="0" u="none" strike="noStrike" kern="1200" cap="none" spc="0" normalizeH="0" baseline="0" noProof="0" dirty="0">
                <a:ln>
                  <a:noFill/>
                </a:ln>
                <a:solidFill>
                  <a:srgbClr val="000000"/>
                </a:solidFill>
                <a:effectLst/>
                <a:uLnTx/>
                <a:uFillTx/>
                <a:latin typeface="Calibri" panose="020F0502020204030204"/>
                <a:ea typeface="+mn-ea"/>
                <a:cs typeface="+mn-cs"/>
              </a:rPr>
              <a:t>Top 5 product categories having highest Sales Revenue</a:t>
            </a:r>
          </a:p>
          <a:p>
            <a:pPr marL="331470" marR="0" lvl="1" indent="-285750" algn="l" defTabSz="829269" rtl="0" eaLnBrk="1" fontAlgn="base" latinLnBrk="0" hangingPunct="1">
              <a:lnSpc>
                <a:spcPct val="100000"/>
              </a:lnSpc>
              <a:spcBef>
                <a:spcPts val="0"/>
              </a:spcBef>
              <a:spcAft>
                <a:spcPts val="0"/>
              </a:spcAft>
              <a:buClr>
                <a:srgbClr val="008C4F"/>
              </a:buClr>
              <a:buSzTx/>
              <a:buFont typeface="Arial" panose="020B0604020202020204" pitchFamily="34" charset="0"/>
              <a:buChar char="•"/>
              <a:tabLst/>
              <a:defRPr/>
            </a:pPr>
            <a:r>
              <a:rPr kumimoji="0" lang="en-US" sz="1500" b="0" i="0" u="none" strike="noStrike" kern="1200" cap="none" spc="0" normalizeH="0" baseline="0" noProof="0" dirty="0">
                <a:ln>
                  <a:noFill/>
                </a:ln>
                <a:solidFill>
                  <a:srgbClr val="000000"/>
                </a:solidFill>
                <a:effectLst/>
                <a:uLnTx/>
                <a:uFillTx/>
                <a:latin typeface="Calibri" panose="020F0502020204030204"/>
                <a:ea typeface="+mn-ea"/>
                <a:cs typeface="+mn-cs"/>
              </a:rPr>
              <a:t>Top 5 cities having highest Sales Revenue</a:t>
            </a:r>
          </a:p>
          <a:p>
            <a:pPr marL="331470" marR="0" lvl="1" indent="-285750" algn="l" defTabSz="829269" rtl="0" eaLnBrk="1" fontAlgn="base" latinLnBrk="0" hangingPunct="1">
              <a:lnSpc>
                <a:spcPct val="100000"/>
              </a:lnSpc>
              <a:spcBef>
                <a:spcPts val="0"/>
              </a:spcBef>
              <a:spcAft>
                <a:spcPts val="0"/>
              </a:spcAft>
              <a:buClr>
                <a:srgbClr val="008C4F"/>
              </a:buClr>
              <a:buSzTx/>
              <a:buFont typeface="Arial" panose="020B0604020202020204" pitchFamily="34" charset="0"/>
              <a:buChar char="•"/>
              <a:tabLst/>
              <a:defRPr/>
            </a:pPr>
            <a:r>
              <a:rPr kumimoji="0" lang="en-US" sz="1500" b="0" i="0" u="none" strike="noStrike" kern="1200" cap="none" spc="0" normalizeH="0" baseline="0" noProof="0" dirty="0">
                <a:ln>
                  <a:noFill/>
                </a:ln>
                <a:solidFill>
                  <a:srgbClr val="000000"/>
                </a:solidFill>
                <a:effectLst/>
                <a:uLnTx/>
                <a:uFillTx/>
                <a:latin typeface="Calibri" panose="020F0502020204030204"/>
                <a:ea typeface="+mn-ea"/>
                <a:cs typeface="+mn-cs"/>
              </a:rPr>
              <a:t>Sales Performance per Payment type</a:t>
            </a:r>
          </a:p>
          <a:p>
            <a:pPr marL="45720" marR="0" lvl="1" algn="l" defTabSz="829269" rtl="0" eaLnBrk="1" fontAlgn="base" latinLnBrk="0" hangingPunct="1">
              <a:lnSpc>
                <a:spcPct val="100000"/>
              </a:lnSpc>
              <a:spcBef>
                <a:spcPts val="0"/>
              </a:spcBef>
              <a:spcAft>
                <a:spcPts val="0"/>
              </a:spcAft>
              <a:buClr>
                <a:srgbClr val="008C4F"/>
              </a:buClr>
              <a:buSzTx/>
              <a:tabLst/>
              <a:defRPr/>
            </a:pPr>
            <a:endPar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endParaRPr>
          </a:p>
          <a:p>
            <a:pPr marL="228600" marR="0" lvl="1" indent="-182880" algn="l" defTabSz="829269" rtl="0" eaLnBrk="1" fontAlgn="base" latinLnBrk="0" hangingPunct="1">
              <a:lnSpc>
                <a:spcPct val="100000"/>
              </a:lnSpc>
              <a:spcBef>
                <a:spcPts val="0"/>
              </a:spcBef>
              <a:spcAft>
                <a:spcPts val="0"/>
              </a:spcAft>
              <a:buClr>
                <a:srgbClr val="008C4F"/>
              </a:buClr>
              <a:buSzTx/>
              <a:buFont typeface="Arial" panose="020B0604020202020204" pitchFamily="34" charset="0"/>
              <a:buChar char="•"/>
              <a:tabLst/>
              <a:defRPr/>
            </a:pPr>
            <a:endParaRPr lang="en-US" sz="1200" kern="1200" dirty="0">
              <a:latin typeface="Calibri" panose="020F0502020204030204"/>
              <a:ea typeface="+mn-ea"/>
              <a:cs typeface="+mn-cs"/>
            </a:endParaRPr>
          </a:p>
          <a:p>
            <a:pPr marL="228600" marR="0" lvl="1" indent="-182880" algn="l" defTabSz="829269" rtl="0" eaLnBrk="1" fontAlgn="base" latinLnBrk="0" hangingPunct="1">
              <a:lnSpc>
                <a:spcPct val="100000"/>
              </a:lnSpc>
              <a:spcBef>
                <a:spcPts val="0"/>
              </a:spcBef>
              <a:spcAft>
                <a:spcPts val="0"/>
              </a:spcAft>
              <a:buClr>
                <a:srgbClr val="008C4F"/>
              </a:buClr>
              <a:buSzTx/>
              <a:buFont typeface="Arial" panose="020B0604020202020204" pitchFamily="34" charset="0"/>
              <a:buChar char="•"/>
              <a:tabLst/>
              <a:defRPr/>
            </a:pPr>
            <a:endPar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cxnSp>
        <p:nvCxnSpPr>
          <p:cNvPr id="41" name="Straight Connector 40">
            <a:extLst>
              <a:ext uri="{FF2B5EF4-FFF2-40B4-BE49-F238E27FC236}">
                <a16:creationId xmlns:a16="http://schemas.microsoft.com/office/drawing/2014/main" id="{75AEDD8A-9A75-4741-BE79-63FD3FB67655}"/>
              </a:ext>
            </a:extLst>
          </p:cNvPr>
          <p:cNvCxnSpPr/>
          <p:nvPr/>
        </p:nvCxnSpPr>
        <p:spPr>
          <a:xfrm>
            <a:off x="979315" y="3467792"/>
            <a:ext cx="3108960" cy="0"/>
          </a:xfrm>
          <a:prstGeom prst="line">
            <a:avLst/>
          </a:prstGeom>
          <a:ln w="9525" cap="rnd">
            <a:solidFill>
              <a:srgbClr val="9A9A9A"/>
            </a:solidFill>
            <a:prstDash val="sysDot"/>
            <a:round/>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0418E539-43CD-421B-8E55-9E47569E2FBF}"/>
              </a:ext>
            </a:extLst>
          </p:cNvPr>
          <p:cNvSpPr txBox="1"/>
          <p:nvPr/>
        </p:nvSpPr>
        <p:spPr>
          <a:xfrm>
            <a:off x="4794300" y="3085155"/>
            <a:ext cx="2728778" cy="344708"/>
          </a:xfrm>
          <a:prstGeom prst="rect">
            <a:avLst/>
          </a:prstGeom>
          <a:noFill/>
        </p:spPr>
        <p:txBody>
          <a:bodyPr wrap="square" lIns="0" tIns="36574" rIns="0" bIns="0" rtlCol="0">
            <a:spAutoFit/>
          </a:bodyPr>
          <a:lstStyle/>
          <a:p>
            <a:pPr marL="0" marR="0" lvl="0" indent="0" algn="ctr" defTabSz="829269" rtl="0" eaLnBrk="1" fontAlgn="base" latinLnBrk="0" hangingPunct="1">
              <a:lnSpc>
                <a:spcPct val="100000"/>
              </a:lnSpc>
              <a:spcBef>
                <a:spcPct val="0"/>
              </a:spcBef>
              <a:spcAft>
                <a:spcPts val="0"/>
              </a:spcAft>
              <a:buClr>
                <a:srgbClr val="FFE600"/>
              </a:buClr>
              <a:buSzPct val="70000"/>
              <a:buFontTx/>
              <a:buNone/>
              <a:tabLst/>
              <a:defRPr/>
            </a:pPr>
            <a:r>
              <a:rPr kumimoji="0" lang="en-US" sz="2000" b="0" i="0" u="none" strike="noStrike" kern="1200" cap="none" spc="0" normalizeH="0" baseline="0" noProof="0" dirty="0">
                <a:ln>
                  <a:noFill/>
                </a:ln>
                <a:solidFill>
                  <a:srgbClr val="008C4F"/>
                </a:solidFill>
                <a:effectLst/>
                <a:uLnTx/>
                <a:uFillTx/>
                <a:latin typeface="Trebuchet MS"/>
                <a:ea typeface="+mn-ea"/>
                <a:cs typeface="+mn-cs"/>
              </a:rPr>
              <a:t>Business Performance</a:t>
            </a:r>
          </a:p>
        </p:txBody>
      </p:sp>
      <p:cxnSp>
        <p:nvCxnSpPr>
          <p:cNvPr id="23" name="Straight Connector 22">
            <a:extLst>
              <a:ext uri="{FF2B5EF4-FFF2-40B4-BE49-F238E27FC236}">
                <a16:creationId xmlns:a16="http://schemas.microsoft.com/office/drawing/2014/main" id="{84AAC051-B51D-4A0C-B939-60BFF22EBF94}"/>
              </a:ext>
            </a:extLst>
          </p:cNvPr>
          <p:cNvCxnSpPr/>
          <p:nvPr/>
        </p:nvCxnSpPr>
        <p:spPr>
          <a:xfrm>
            <a:off x="4542196" y="3467792"/>
            <a:ext cx="3108960" cy="0"/>
          </a:xfrm>
          <a:prstGeom prst="line">
            <a:avLst/>
          </a:prstGeom>
          <a:ln w="9525" cap="rnd">
            <a:solidFill>
              <a:srgbClr val="9A9A9A"/>
            </a:solidFill>
            <a:prstDash val="sysDot"/>
            <a:round/>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E3F7FC53-6E32-4F10-B333-F09BFD125DC4}"/>
              </a:ext>
            </a:extLst>
          </p:cNvPr>
          <p:cNvCxnSpPr/>
          <p:nvPr/>
        </p:nvCxnSpPr>
        <p:spPr>
          <a:xfrm>
            <a:off x="8105073" y="3467792"/>
            <a:ext cx="3108960" cy="0"/>
          </a:xfrm>
          <a:prstGeom prst="line">
            <a:avLst/>
          </a:prstGeom>
          <a:ln w="9525" cap="rnd">
            <a:solidFill>
              <a:srgbClr val="9A9A9A"/>
            </a:solidFill>
            <a:prstDash val="sysDot"/>
            <a:round/>
          </a:ln>
        </p:spPr>
        <p:style>
          <a:lnRef idx="1">
            <a:schemeClr val="accent1"/>
          </a:lnRef>
          <a:fillRef idx="0">
            <a:schemeClr val="accent1"/>
          </a:fillRef>
          <a:effectRef idx="0">
            <a:schemeClr val="accent1"/>
          </a:effectRef>
          <a:fontRef idx="minor">
            <a:schemeClr val="tx1"/>
          </a:fontRef>
        </p:style>
      </p:cxnSp>
      <p:sp>
        <p:nvSpPr>
          <p:cNvPr id="19" name="Oval 18">
            <a:extLst>
              <a:ext uri="{FF2B5EF4-FFF2-40B4-BE49-F238E27FC236}">
                <a16:creationId xmlns:a16="http://schemas.microsoft.com/office/drawing/2014/main" id="{08BE54D5-8092-49B4-A56C-7FCFC88B7336}"/>
              </a:ext>
            </a:extLst>
          </p:cNvPr>
          <p:cNvSpPr/>
          <p:nvPr/>
        </p:nvSpPr>
        <p:spPr>
          <a:xfrm>
            <a:off x="5545409" y="1861855"/>
            <a:ext cx="1211290" cy="1205590"/>
          </a:xfrm>
          <a:prstGeom prst="ellipse">
            <a:avLst/>
          </a:prstGeom>
          <a:solidFill>
            <a:srgbClr val="FFFFFF"/>
          </a:solidFill>
          <a:ln w="38100"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95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lumMod val="50000"/>
                </a:prstClr>
              </a:solidFill>
              <a:effectLst/>
              <a:uLnTx/>
              <a:uFillTx/>
              <a:latin typeface="Calibri" panose="020F0502020204030204"/>
              <a:ea typeface="+mn-ea"/>
              <a:cs typeface="+mn-cs"/>
            </a:endParaRPr>
          </a:p>
        </p:txBody>
      </p:sp>
      <p:grpSp>
        <p:nvGrpSpPr>
          <p:cNvPr id="25" name="bcgIcons_Magnifying Glass, Search ">
            <a:extLst>
              <a:ext uri="{FF2B5EF4-FFF2-40B4-BE49-F238E27FC236}">
                <a16:creationId xmlns:a16="http://schemas.microsoft.com/office/drawing/2014/main" id="{D82E0767-E61D-42C5-BC0C-99886F4AAEC7}"/>
              </a:ext>
            </a:extLst>
          </p:cNvPr>
          <p:cNvGrpSpPr>
            <a:grpSpLocks noChangeAspect="1"/>
          </p:cNvGrpSpPr>
          <p:nvPr/>
        </p:nvGrpSpPr>
        <p:grpSpPr bwMode="auto">
          <a:xfrm>
            <a:off x="5666497" y="1979643"/>
            <a:ext cx="969116" cy="970014"/>
            <a:chOff x="1682" y="0"/>
            <a:chExt cx="4316" cy="4320"/>
          </a:xfrm>
        </p:grpSpPr>
        <p:sp>
          <p:nvSpPr>
            <p:cNvPr id="26" name="AutoShape 8">
              <a:extLst>
                <a:ext uri="{FF2B5EF4-FFF2-40B4-BE49-F238E27FC236}">
                  <a16:creationId xmlns:a16="http://schemas.microsoft.com/office/drawing/2014/main" id="{1C645C69-EA35-48DE-845B-866679B64027}"/>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0" name="Freeform 10">
              <a:extLst>
                <a:ext uri="{FF2B5EF4-FFF2-40B4-BE49-F238E27FC236}">
                  <a16:creationId xmlns:a16="http://schemas.microsoft.com/office/drawing/2014/main" id="{073E8011-B707-4060-9D57-FD4CFF1DF908}"/>
                </a:ext>
              </a:extLst>
            </p:cNvPr>
            <p:cNvSpPr>
              <a:spLocks noEditPoints="1"/>
            </p:cNvSpPr>
            <p:nvPr/>
          </p:nvSpPr>
          <p:spPr bwMode="auto">
            <a:xfrm>
              <a:off x="3280" y="703"/>
              <a:ext cx="1821" cy="1802"/>
            </a:xfrm>
            <a:custGeom>
              <a:avLst/>
              <a:gdLst>
                <a:gd name="T0" fmla="*/ 748 w 972"/>
                <a:gd name="T1" fmla="*/ 142 h 961"/>
                <a:gd name="T2" fmla="*/ 145 w 972"/>
                <a:gd name="T3" fmla="*/ 223 h 961"/>
                <a:gd name="T4" fmla="*/ 225 w 972"/>
                <a:gd name="T5" fmla="*/ 818 h 961"/>
                <a:gd name="T6" fmla="*/ 827 w 972"/>
                <a:gd name="T7" fmla="*/ 738 h 961"/>
                <a:gd name="T8" fmla="*/ 748 w 972"/>
                <a:gd name="T9" fmla="*/ 142 h 961"/>
                <a:gd name="T10" fmla="*/ 777 w 972"/>
                <a:gd name="T11" fmla="*/ 700 h 961"/>
                <a:gd name="T12" fmla="*/ 701 w 972"/>
                <a:gd name="T13" fmla="*/ 774 h 961"/>
                <a:gd name="T14" fmla="*/ 688 w 972"/>
                <a:gd name="T15" fmla="*/ 778 h 961"/>
                <a:gd name="T16" fmla="*/ 670 w 972"/>
                <a:gd name="T17" fmla="*/ 769 h 961"/>
                <a:gd name="T18" fmla="*/ 675 w 972"/>
                <a:gd name="T19" fmla="*/ 738 h 961"/>
                <a:gd name="T20" fmla="*/ 742 w 972"/>
                <a:gd name="T21" fmla="*/ 673 h 961"/>
                <a:gd name="T22" fmla="*/ 806 w 972"/>
                <a:gd name="T23" fmla="*/ 438 h 961"/>
                <a:gd name="T24" fmla="*/ 683 w 972"/>
                <a:gd name="T25" fmla="*/ 227 h 961"/>
                <a:gd name="T26" fmla="*/ 641 w 972"/>
                <a:gd name="T27" fmla="*/ 200 h 961"/>
                <a:gd name="T28" fmla="*/ 632 w 972"/>
                <a:gd name="T29" fmla="*/ 170 h 961"/>
                <a:gd name="T30" fmla="*/ 661 w 972"/>
                <a:gd name="T31" fmla="*/ 161 h 961"/>
                <a:gd name="T32" fmla="*/ 709 w 972"/>
                <a:gd name="T33" fmla="*/ 192 h 961"/>
                <a:gd name="T34" fmla="*/ 850 w 972"/>
                <a:gd name="T35" fmla="*/ 432 h 961"/>
                <a:gd name="T36" fmla="*/ 777 w 972"/>
                <a:gd name="T37" fmla="*/ 700 h 9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72" h="961">
                  <a:moveTo>
                    <a:pt x="748" y="142"/>
                  </a:moveTo>
                  <a:cubicBezTo>
                    <a:pt x="560" y="0"/>
                    <a:pt x="290" y="36"/>
                    <a:pt x="145" y="223"/>
                  </a:cubicBezTo>
                  <a:cubicBezTo>
                    <a:pt x="0" y="409"/>
                    <a:pt x="35" y="676"/>
                    <a:pt x="225" y="818"/>
                  </a:cubicBezTo>
                  <a:cubicBezTo>
                    <a:pt x="413" y="961"/>
                    <a:pt x="683" y="925"/>
                    <a:pt x="827" y="738"/>
                  </a:cubicBezTo>
                  <a:cubicBezTo>
                    <a:pt x="972" y="551"/>
                    <a:pt x="936" y="285"/>
                    <a:pt x="748" y="142"/>
                  </a:cubicBezTo>
                  <a:close/>
                  <a:moveTo>
                    <a:pt x="777" y="700"/>
                  </a:moveTo>
                  <a:cubicBezTo>
                    <a:pt x="755" y="729"/>
                    <a:pt x="730" y="753"/>
                    <a:pt x="701" y="774"/>
                  </a:cubicBezTo>
                  <a:cubicBezTo>
                    <a:pt x="697" y="777"/>
                    <a:pt x="692" y="778"/>
                    <a:pt x="688" y="778"/>
                  </a:cubicBezTo>
                  <a:cubicBezTo>
                    <a:pt x="681" y="778"/>
                    <a:pt x="674" y="775"/>
                    <a:pt x="670" y="769"/>
                  </a:cubicBezTo>
                  <a:cubicBezTo>
                    <a:pt x="663" y="759"/>
                    <a:pt x="665" y="746"/>
                    <a:pt x="675" y="738"/>
                  </a:cubicBezTo>
                  <a:cubicBezTo>
                    <a:pt x="700" y="720"/>
                    <a:pt x="723" y="698"/>
                    <a:pt x="742" y="673"/>
                  </a:cubicBezTo>
                  <a:cubicBezTo>
                    <a:pt x="795" y="606"/>
                    <a:pt x="817" y="522"/>
                    <a:pt x="806" y="438"/>
                  </a:cubicBezTo>
                  <a:cubicBezTo>
                    <a:pt x="795" y="353"/>
                    <a:pt x="751" y="279"/>
                    <a:pt x="683" y="227"/>
                  </a:cubicBezTo>
                  <a:cubicBezTo>
                    <a:pt x="669" y="217"/>
                    <a:pt x="655" y="208"/>
                    <a:pt x="641" y="200"/>
                  </a:cubicBezTo>
                  <a:cubicBezTo>
                    <a:pt x="630" y="194"/>
                    <a:pt x="626" y="181"/>
                    <a:pt x="632" y="170"/>
                  </a:cubicBezTo>
                  <a:cubicBezTo>
                    <a:pt x="637" y="159"/>
                    <a:pt x="651" y="155"/>
                    <a:pt x="661" y="161"/>
                  </a:cubicBezTo>
                  <a:cubicBezTo>
                    <a:pt x="678" y="170"/>
                    <a:pt x="694" y="180"/>
                    <a:pt x="709" y="192"/>
                  </a:cubicBezTo>
                  <a:cubicBezTo>
                    <a:pt x="787" y="251"/>
                    <a:pt x="837" y="336"/>
                    <a:pt x="850" y="432"/>
                  </a:cubicBezTo>
                  <a:cubicBezTo>
                    <a:pt x="862" y="528"/>
                    <a:pt x="837" y="623"/>
                    <a:pt x="777" y="700"/>
                  </a:cubicBezTo>
                  <a:close/>
                </a:path>
              </a:pathLst>
            </a:custGeom>
            <a:solidFill>
              <a:srgbClr val="008C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1" name="Freeform 11">
              <a:extLst>
                <a:ext uri="{FF2B5EF4-FFF2-40B4-BE49-F238E27FC236}">
                  <a16:creationId xmlns:a16="http://schemas.microsoft.com/office/drawing/2014/main" id="{6DB7D5D2-FB57-4B55-BA6D-704276DD1C9A}"/>
                </a:ext>
              </a:extLst>
            </p:cNvPr>
            <p:cNvSpPr>
              <a:spLocks noEditPoints="1"/>
            </p:cNvSpPr>
            <p:nvPr/>
          </p:nvSpPr>
          <p:spPr bwMode="auto">
            <a:xfrm>
              <a:off x="2422" y="465"/>
              <a:ext cx="2904" cy="3306"/>
            </a:xfrm>
            <a:custGeom>
              <a:avLst/>
              <a:gdLst>
                <a:gd name="T0" fmla="*/ 1270 w 1550"/>
                <a:gd name="T1" fmla="*/ 179 h 1763"/>
                <a:gd name="T2" fmla="*/ 517 w 1550"/>
                <a:gd name="T3" fmla="*/ 280 h 1763"/>
                <a:gd name="T4" fmla="*/ 545 w 1550"/>
                <a:gd name="T5" fmla="*/ 965 h 1763"/>
                <a:gd name="T6" fmla="*/ 437 w 1550"/>
                <a:gd name="T7" fmla="*/ 1107 h 1763"/>
                <a:gd name="T8" fmla="*/ 587 w 1550"/>
                <a:gd name="T9" fmla="*/ 1222 h 1763"/>
                <a:gd name="T10" fmla="*/ 694 w 1550"/>
                <a:gd name="T11" fmla="*/ 1082 h 1763"/>
                <a:gd name="T12" fmla="*/ 1370 w 1550"/>
                <a:gd name="T13" fmla="*/ 933 h 1763"/>
                <a:gd name="T14" fmla="*/ 1270 w 1550"/>
                <a:gd name="T15" fmla="*/ 179 h 1763"/>
                <a:gd name="T16" fmla="*/ 1317 w 1550"/>
                <a:gd name="T17" fmla="*/ 892 h 1763"/>
                <a:gd name="T18" fmla="*/ 701 w 1550"/>
                <a:gd name="T19" fmla="*/ 1009 h 1763"/>
                <a:gd name="T20" fmla="*/ 658 w 1550"/>
                <a:gd name="T21" fmla="*/ 980 h 1763"/>
                <a:gd name="T22" fmla="*/ 614 w 1550"/>
                <a:gd name="T23" fmla="*/ 941 h 1763"/>
                <a:gd name="T24" fmla="*/ 570 w 1550"/>
                <a:gd name="T25" fmla="*/ 320 h 1763"/>
                <a:gd name="T26" fmla="*/ 1229 w 1550"/>
                <a:gd name="T27" fmla="*/ 233 h 1763"/>
                <a:gd name="T28" fmla="*/ 1317 w 1550"/>
                <a:gd name="T29" fmla="*/ 892 h 1763"/>
                <a:gd name="T30" fmla="*/ 181 w 1550"/>
                <a:gd name="T31" fmla="*/ 1763 h 1763"/>
                <a:gd name="T32" fmla="*/ 162 w 1550"/>
                <a:gd name="T33" fmla="*/ 1761 h 1763"/>
                <a:gd name="T34" fmla="*/ 83 w 1550"/>
                <a:gd name="T35" fmla="*/ 1724 h 1763"/>
                <a:gd name="T36" fmla="*/ 27 w 1550"/>
                <a:gd name="T37" fmla="*/ 1584 h 1763"/>
                <a:gd name="T38" fmla="*/ 367 w 1550"/>
                <a:gd name="T39" fmla="*/ 1136 h 1763"/>
                <a:gd name="T40" fmla="*/ 382 w 1550"/>
                <a:gd name="T41" fmla="*/ 1128 h 1763"/>
                <a:gd name="T42" fmla="*/ 398 w 1550"/>
                <a:gd name="T43" fmla="*/ 1132 h 1763"/>
                <a:gd name="T44" fmla="*/ 568 w 1550"/>
                <a:gd name="T45" fmla="*/ 1263 h 1763"/>
                <a:gd name="T46" fmla="*/ 572 w 1550"/>
                <a:gd name="T47" fmla="*/ 1294 h 1763"/>
                <a:gd name="T48" fmla="*/ 233 w 1550"/>
                <a:gd name="T49" fmla="*/ 1740 h 1763"/>
                <a:gd name="T50" fmla="*/ 181 w 1550"/>
                <a:gd name="T51" fmla="*/ 1763 h 1763"/>
                <a:gd name="T52" fmla="*/ 389 w 1550"/>
                <a:gd name="T53" fmla="*/ 1181 h 1763"/>
                <a:gd name="T54" fmla="*/ 62 w 1550"/>
                <a:gd name="T55" fmla="*/ 1610 h 1763"/>
                <a:gd name="T56" fmla="*/ 109 w 1550"/>
                <a:gd name="T57" fmla="*/ 1689 h 1763"/>
                <a:gd name="T58" fmla="*/ 170 w 1550"/>
                <a:gd name="T59" fmla="*/ 1718 h 1763"/>
                <a:gd name="T60" fmla="*/ 198 w 1550"/>
                <a:gd name="T61" fmla="*/ 1714 h 1763"/>
                <a:gd name="T62" fmla="*/ 524 w 1550"/>
                <a:gd name="T63" fmla="*/ 1284 h 1763"/>
                <a:gd name="T64" fmla="*/ 389 w 1550"/>
                <a:gd name="T65" fmla="*/ 1181 h 17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550" h="1763">
                  <a:moveTo>
                    <a:pt x="1270" y="179"/>
                  </a:moveTo>
                  <a:cubicBezTo>
                    <a:pt x="1034" y="0"/>
                    <a:pt x="697" y="45"/>
                    <a:pt x="517" y="280"/>
                  </a:cubicBezTo>
                  <a:cubicBezTo>
                    <a:pt x="358" y="488"/>
                    <a:pt x="375" y="777"/>
                    <a:pt x="545" y="965"/>
                  </a:cubicBezTo>
                  <a:cubicBezTo>
                    <a:pt x="466" y="1068"/>
                    <a:pt x="444" y="1098"/>
                    <a:pt x="437" y="1107"/>
                  </a:cubicBezTo>
                  <a:cubicBezTo>
                    <a:pt x="587" y="1222"/>
                    <a:pt x="587" y="1222"/>
                    <a:pt x="587" y="1222"/>
                  </a:cubicBezTo>
                  <a:cubicBezTo>
                    <a:pt x="694" y="1082"/>
                    <a:pt x="694" y="1082"/>
                    <a:pt x="694" y="1082"/>
                  </a:cubicBezTo>
                  <a:cubicBezTo>
                    <a:pt x="921" y="1201"/>
                    <a:pt x="1209" y="1143"/>
                    <a:pt x="1370" y="933"/>
                  </a:cubicBezTo>
                  <a:cubicBezTo>
                    <a:pt x="1550" y="697"/>
                    <a:pt x="1505" y="360"/>
                    <a:pt x="1270" y="179"/>
                  </a:cubicBezTo>
                  <a:close/>
                  <a:moveTo>
                    <a:pt x="1317" y="892"/>
                  </a:moveTo>
                  <a:cubicBezTo>
                    <a:pt x="1170" y="1084"/>
                    <a:pt x="903" y="1131"/>
                    <a:pt x="701" y="1009"/>
                  </a:cubicBezTo>
                  <a:cubicBezTo>
                    <a:pt x="686" y="1000"/>
                    <a:pt x="672" y="990"/>
                    <a:pt x="658" y="980"/>
                  </a:cubicBezTo>
                  <a:cubicBezTo>
                    <a:pt x="643" y="968"/>
                    <a:pt x="628" y="955"/>
                    <a:pt x="614" y="941"/>
                  </a:cubicBezTo>
                  <a:cubicBezTo>
                    <a:pt x="447" y="778"/>
                    <a:pt x="425" y="511"/>
                    <a:pt x="570" y="320"/>
                  </a:cubicBezTo>
                  <a:cubicBezTo>
                    <a:pt x="728" y="114"/>
                    <a:pt x="1023" y="75"/>
                    <a:pt x="1229" y="233"/>
                  </a:cubicBezTo>
                  <a:cubicBezTo>
                    <a:pt x="1435" y="390"/>
                    <a:pt x="1474" y="686"/>
                    <a:pt x="1317" y="892"/>
                  </a:cubicBezTo>
                  <a:close/>
                  <a:moveTo>
                    <a:pt x="181" y="1763"/>
                  </a:moveTo>
                  <a:cubicBezTo>
                    <a:pt x="175" y="1763"/>
                    <a:pt x="169" y="1762"/>
                    <a:pt x="162" y="1761"/>
                  </a:cubicBezTo>
                  <a:cubicBezTo>
                    <a:pt x="137" y="1757"/>
                    <a:pt x="108" y="1743"/>
                    <a:pt x="83" y="1724"/>
                  </a:cubicBezTo>
                  <a:cubicBezTo>
                    <a:pt x="24" y="1679"/>
                    <a:pt x="0" y="1619"/>
                    <a:pt x="27" y="1584"/>
                  </a:cubicBezTo>
                  <a:cubicBezTo>
                    <a:pt x="367" y="1136"/>
                    <a:pt x="367" y="1136"/>
                    <a:pt x="367" y="1136"/>
                  </a:cubicBezTo>
                  <a:cubicBezTo>
                    <a:pt x="371" y="1132"/>
                    <a:pt x="376" y="1129"/>
                    <a:pt x="382" y="1128"/>
                  </a:cubicBezTo>
                  <a:cubicBezTo>
                    <a:pt x="387" y="1127"/>
                    <a:pt x="393" y="1129"/>
                    <a:pt x="398" y="1132"/>
                  </a:cubicBezTo>
                  <a:cubicBezTo>
                    <a:pt x="568" y="1263"/>
                    <a:pt x="568" y="1263"/>
                    <a:pt x="568" y="1263"/>
                  </a:cubicBezTo>
                  <a:cubicBezTo>
                    <a:pt x="578" y="1270"/>
                    <a:pt x="579" y="1284"/>
                    <a:pt x="572" y="1294"/>
                  </a:cubicBezTo>
                  <a:cubicBezTo>
                    <a:pt x="233" y="1740"/>
                    <a:pt x="233" y="1740"/>
                    <a:pt x="233" y="1740"/>
                  </a:cubicBezTo>
                  <a:cubicBezTo>
                    <a:pt x="221" y="1755"/>
                    <a:pt x="203" y="1763"/>
                    <a:pt x="181" y="1763"/>
                  </a:cubicBezTo>
                  <a:close/>
                  <a:moveTo>
                    <a:pt x="389" y="1181"/>
                  </a:moveTo>
                  <a:cubicBezTo>
                    <a:pt x="62" y="1610"/>
                    <a:pt x="62" y="1610"/>
                    <a:pt x="62" y="1610"/>
                  </a:cubicBezTo>
                  <a:cubicBezTo>
                    <a:pt x="54" y="1621"/>
                    <a:pt x="69" y="1658"/>
                    <a:pt x="109" y="1689"/>
                  </a:cubicBezTo>
                  <a:cubicBezTo>
                    <a:pt x="129" y="1704"/>
                    <a:pt x="151" y="1714"/>
                    <a:pt x="170" y="1718"/>
                  </a:cubicBezTo>
                  <a:cubicBezTo>
                    <a:pt x="183" y="1720"/>
                    <a:pt x="194" y="1718"/>
                    <a:pt x="198" y="1714"/>
                  </a:cubicBezTo>
                  <a:cubicBezTo>
                    <a:pt x="524" y="1284"/>
                    <a:pt x="524" y="1284"/>
                    <a:pt x="524" y="1284"/>
                  </a:cubicBezTo>
                  <a:lnTo>
                    <a:pt x="389" y="1181"/>
                  </a:lnTo>
                  <a:close/>
                </a:path>
              </a:pathLst>
            </a:custGeom>
            <a:solidFill>
              <a:srgbClr val="004E2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grpSp>
      <p:sp>
        <p:nvSpPr>
          <p:cNvPr id="56" name="Title 1">
            <a:extLst>
              <a:ext uri="{FF2B5EF4-FFF2-40B4-BE49-F238E27FC236}">
                <a16:creationId xmlns:a16="http://schemas.microsoft.com/office/drawing/2014/main" id="{D3D02270-8215-70B8-F877-FA4081BA3220}"/>
              </a:ext>
            </a:extLst>
          </p:cNvPr>
          <p:cNvSpPr txBox="1">
            <a:spLocks/>
          </p:cNvSpPr>
          <p:nvPr/>
        </p:nvSpPr>
        <p:spPr>
          <a:xfrm>
            <a:off x="422203" y="601158"/>
            <a:ext cx="10933200" cy="701690"/>
          </a:xfrm>
          <a:prstGeom prst="rect">
            <a:avLst/>
          </a:prstGeom>
          <a:noFill/>
          <a:ln>
            <a:noFill/>
          </a:ln>
        </p:spPr>
        <p:txBody>
          <a:bodyPr spcFirstLastPara="1" vert="horz" wrap="square" lIns="91425" tIns="45700" rIns="91425" bIns="45700" anchor="ctr" anchorCtr="0">
            <a:spAutoFit/>
          </a:bodyPr>
          <a:lstStyle>
            <a:defPPr marR="0" lvl="0" algn="l" rtl="0">
              <a:lnSpc>
                <a:spcPct val="100000"/>
              </a:lnSpc>
              <a:spcBef>
                <a:spcPts val="0"/>
              </a:spcBef>
              <a:spcAft>
                <a:spcPts val="0"/>
              </a:spcAft>
            </a:defPPr>
            <a:lvl1pPr marR="0" lvl="0" algn="l" rtl="0">
              <a:lnSpc>
                <a:spcPct val="90000"/>
              </a:lnSpc>
              <a:spcBef>
                <a:spcPts val="0"/>
              </a:spcBef>
              <a:spcAft>
                <a:spcPts val="0"/>
              </a:spcAft>
              <a:buClr>
                <a:schemeClr val="dk1"/>
              </a:buClr>
              <a:buSzPts val="1800"/>
              <a:buFont typeface="Calibri"/>
              <a:buNone/>
              <a:defRPr sz="44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r>
              <a:rPr lang="en-US" dirty="0">
                <a:solidFill>
                  <a:srgbClr val="D4DF33"/>
                </a:solidFill>
                <a:latin typeface="Calibri" panose="020F0502020204030204" pitchFamily="34" charset="0"/>
              </a:rPr>
              <a:t>2. First step – </a:t>
            </a:r>
            <a:r>
              <a:rPr lang="en-US" dirty="0">
                <a:solidFill>
                  <a:srgbClr val="FFFFFF"/>
                </a:solidFill>
                <a:latin typeface="Calibri" panose="020F0502020204030204" pitchFamily="34" charset="0"/>
              </a:rPr>
              <a:t>Ask</a:t>
            </a:r>
          </a:p>
        </p:txBody>
      </p:sp>
    </p:spTree>
    <p:extLst>
      <p:ext uri="{BB962C8B-B14F-4D97-AF65-F5344CB8AC3E}">
        <p14:creationId xmlns:p14="http://schemas.microsoft.com/office/powerpoint/2010/main" val="34348235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B6557F4-5687-4C04-AAE2-835ADE53E43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a:extLst>
                          <a:ext uri="{FF2B5EF4-FFF2-40B4-BE49-F238E27FC236}">
                            <a16:creationId xmlns:a16="http://schemas.microsoft.com/office/drawing/2014/main" id="{FB6557F4-5687-4C04-AAE2-835ADE53E43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33" name="Picture 32">
            <a:extLst>
              <a:ext uri="{FF2B5EF4-FFF2-40B4-BE49-F238E27FC236}">
                <a16:creationId xmlns:a16="http://schemas.microsoft.com/office/drawing/2014/main" id="{E52512A8-D24F-4F7B-AA70-13CCB6F84EC7}"/>
              </a:ext>
            </a:extLst>
          </p:cNvPr>
          <p:cNvPicPr>
            <a:picLocks noChangeAspect="1"/>
          </p:cNvPicPr>
          <p:nvPr/>
        </p:nvPicPr>
        <p:blipFill rotWithShape="1">
          <a:blip r:embed="rId6"/>
          <a:srcRect t="41519" b="28376"/>
          <a:stretch/>
        </p:blipFill>
        <p:spPr>
          <a:xfrm>
            <a:off x="0" y="0"/>
            <a:ext cx="12192000" cy="2449520"/>
          </a:xfrm>
          <a:custGeom>
            <a:avLst/>
            <a:gdLst>
              <a:gd name="connsiteX0" fmla="*/ 0 w 12192000"/>
              <a:gd name="connsiteY0" fmla="*/ 0 h 2449520"/>
              <a:gd name="connsiteX1" fmla="*/ 12192000 w 12192000"/>
              <a:gd name="connsiteY1" fmla="*/ 0 h 2449520"/>
              <a:gd name="connsiteX2" fmla="*/ 12192000 w 12192000"/>
              <a:gd name="connsiteY2" fmla="*/ 2449520 h 2449520"/>
              <a:gd name="connsiteX3" fmla="*/ 0 w 12192000"/>
              <a:gd name="connsiteY3" fmla="*/ 2449520 h 2449520"/>
            </a:gdLst>
            <a:ahLst/>
            <a:cxnLst>
              <a:cxn ang="0">
                <a:pos x="connsiteX0" y="connsiteY0"/>
              </a:cxn>
              <a:cxn ang="0">
                <a:pos x="connsiteX1" y="connsiteY1"/>
              </a:cxn>
              <a:cxn ang="0">
                <a:pos x="connsiteX2" y="connsiteY2"/>
              </a:cxn>
              <a:cxn ang="0">
                <a:pos x="connsiteX3" y="connsiteY3"/>
              </a:cxn>
            </a:cxnLst>
            <a:rect l="l" t="t" r="r" b="b"/>
            <a:pathLst>
              <a:path w="12192000" h="2449520">
                <a:moveTo>
                  <a:pt x="0" y="0"/>
                </a:moveTo>
                <a:lnTo>
                  <a:pt x="12192000" y="0"/>
                </a:lnTo>
                <a:lnTo>
                  <a:pt x="12192000" y="2449520"/>
                </a:lnTo>
                <a:lnTo>
                  <a:pt x="0" y="2449520"/>
                </a:lnTo>
                <a:close/>
              </a:path>
            </a:pathLst>
          </a:custGeom>
        </p:spPr>
      </p:pic>
      <p:sp>
        <p:nvSpPr>
          <p:cNvPr id="34" name="GradientOverlay">
            <a:extLst>
              <a:ext uri="{FF2B5EF4-FFF2-40B4-BE49-F238E27FC236}">
                <a16:creationId xmlns:a16="http://schemas.microsoft.com/office/drawing/2014/main" id="{54FA9D2C-CBA2-4902-B81B-E8AA2A9C191D}"/>
              </a:ext>
            </a:extLst>
          </p:cNvPr>
          <p:cNvSpPr/>
          <p:nvPr>
            <p:custDataLst>
              <p:tags r:id="rId2"/>
            </p:custDataLst>
          </p:nvPr>
        </p:nvSpPr>
        <p:spPr>
          <a:xfrm>
            <a:off x="0" y="8855"/>
            <a:ext cx="12192000" cy="2449520"/>
          </a:xfrm>
          <a:prstGeom prst="rect">
            <a:avLst/>
          </a:prstGeom>
          <a:solidFill>
            <a:srgbClr val="000000">
              <a:alpha val="45000"/>
            </a:srgb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0"/>
              </a:spcBef>
              <a:spcAft>
                <a:spcPts val="100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5" name="Freeform 7">
            <a:extLst>
              <a:ext uri="{FF2B5EF4-FFF2-40B4-BE49-F238E27FC236}">
                <a16:creationId xmlns:a16="http://schemas.microsoft.com/office/drawing/2014/main" id="{84B1A602-D9DF-437C-8E0B-5364939BBB2C}"/>
              </a:ext>
            </a:extLst>
          </p:cNvPr>
          <p:cNvSpPr>
            <a:spLocks/>
          </p:cNvSpPr>
          <p:nvPr/>
        </p:nvSpPr>
        <p:spPr bwMode="auto">
          <a:xfrm>
            <a:off x="767772" y="2200257"/>
            <a:ext cx="10793857" cy="2650844"/>
          </a:xfrm>
          <a:custGeom>
            <a:avLst/>
            <a:gdLst>
              <a:gd name="T0" fmla="*/ 1168 w 1168"/>
              <a:gd name="T1" fmla="*/ 1011 h 1350"/>
              <a:gd name="T2" fmla="*/ 1168 w 1168"/>
              <a:gd name="T3" fmla="*/ 336 h 1350"/>
              <a:gd name="T4" fmla="*/ 584 w 1168"/>
              <a:gd name="T5" fmla="*/ 0 h 1350"/>
              <a:gd name="T6" fmla="*/ 0 w 1168"/>
              <a:gd name="T7" fmla="*/ 336 h 1350"/>
              <a:gd name="T8" fmla="*/ 0 w 1168"/>
              <a:gd name="T9" fmla="*/ 1011 h 1350"/>
              <a:gd name="T10" fmla="*/ 584 w 1168"/>
              <a:gd name="T11" fmla="*/ 1350 h 1350"/>
              <a:gd name="T12" fmla="*/ 1168 w 1168"/>
              <a:gd name="T13" fmla="*/ 1011 h 1350"/>
            </a:gdLst>
            <a:ahLst/>
            <a:cxnLst>
              <a:cxn ang="0">
                <a:pos x="T0" y="T1"/>
              </a:cxn>
              <a:cxn ang="0">
                <a:pos x="T2" y="T3"/>
              </a:cxn>
              <a:cxn ang="0">
                <a:pos x="T4" y="T5"/>
              </a:cxn>
              <a:cxn ang="0">
                <a:pos x="T6" y="T7"/>
              </a:cxn>
              <a:cxn ang="0">
                <a:pos x="T8" y="T9"/>
              </a:cxn>
              <a:cxn ang="0">
                <a:pos x="T10" y="T11"/>
              </a:cxn>
              <a:cxn ang="0">
                <a:pos x="T12" y="T13"/>
              </a:cxn>
            </a:cxnLst>
            <a:rect l="0" t="0" r="r" b="b"/>
            <a:pathLst>
              <a:path w="1168" h="1350">
                <a:moveTo>
                  <a:pt x="1168" y="1011"/>
                </a:moveTo>
                <a:lnTo>
                  <a:pt x="1168" y="336"/>
                </a:lnTo>
                <a:lnTo>
                  <a:pt x="584" y="0"/>
                </a:lnTo>
                <a:lnTo>
                  <a:pt x="0" y="336"/>
                </a:lnTo>
                <a:lnTo>
                  <a:pt x="0" y="1011"/>
                </a:lnTo>
                <a:lnTo>
                  <a:pt x="584" y="1350"/>
                </a:lnTo>
                <a:lnTo>
                  <a:pt x="1168" y="1011"/>
                </a:lnTo>
              </a:path>
            </a:pathLst>
          </a:custGeom>
          <a:solidFill>
            <a:srgbClr val="004E2A"/>
          </a:solidFill>
          <a:ln w="9525" cap="flat" cmpd="sng" algn="ctr">
            <a:solidFill>
              <a:schemeClr val="accent1"/>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6" name="Rectangle: Rounded Corners 15">
            <a:extLst>
              <a:ext uri="{FF2B5EF4-FFF2-40B4-BE49-F238E27FC236}">
                <a16:creationId xmlns:a16="http://schemas.microsoft.com/office/drawing/2014/main" id="{02676483-D324-46C4-86D4-414572733BFF}"/>
              </a:ext>
            </a:extLst>
          </p:cNvPr>
          <p:cNvSpPr/>
          <p:nvPr/>
        </p:nvSpPr>
        <p:spPr>
          <a:xfrm>
            <a:off x="1179138" y="2441798"/>
            <a:ext cx="10101236" cy="3807322"/>
          </a:xfrm>
          <a:prstGeom prst="roundRect">
            <a:avLst>
              <a:gd name="adj" fmla="val 0"/>
            </a:avLst>
          </a:prstGeom>
          <a:solidFill>
            <a:schemeClr val="bg1"/>
          </a:solidFill>
          <a:ln w="9525" cap="rnd" cmpd="sng" algn="ctr">
            <a:solidFill>
              <a:srgbClr val="008C4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Calibri" panose="020F0502020204030204"/>
              <a:ea typeface="+mn-ea"/>
              <a:cs typeface="Poppins" panose="020B0604020202020204" charset="0"/>
            </a:endParaRPr>
          </a:p>
        </p:txBody>
      </p:sp>
      <p:sp>
        <p:nvSpPr>
          <p:cNvPr id="27" name="Rectangle 26">
            <a:extLst>
              <a:ext uri="{FF2B5EF4-FFF2-40B4-BE49-F238E27FC236}">
                <a16:creationId xmlns:a16="http://schemas.microsoft.com/office/drawing/2014/main" id="{3352C43E-2D94-47F5-99C4-D239FE4D285F}"/>
              </a:ext>
            </a:extLst>
          </p:cNvPr>
          <p:cNvSpPr/>
          <p:nvPr/>
        </p:nvSpPr>
        <p:spPr>
          <a:xfrm>
            <a:off x="1368747" y="3502438"/>
            <a:ext cx="9765418" cy="2602525"/>
          </a:xfrm>
          <a:prstGeom prst="rect">
            <a:avLst/>
          </a:prstGeom>
        </p:spPr>
        <p:txBody>
          <a:bodyPr wrap="square" lIns="0" tIns="0" rIns="0" bIns="0" anchor="t">
            <a:noAutofit/>
          </a:bodyPr>
          <a:lstStyle/>
          <a:p>
            <a:pPr marL="45720" marR="0" lvl="1" algn="l" defTabSz="829269" rtl="0" eaLnBrk="1" fontAlgn="base" latinLnBrk="0" hangingPunct="1">
              <a:lnSpc>
                <a:spcPct val="100000"/>
              </a:lnSpc>
              <a:spcBef>
                <a:spcPts val="0"/>
              </a:spcBef>
              <a:spcAft>
                <a:spcPts val="0"/>
              </a:spcAft>
              <a:buClr>
                <a:srgbClr val="008C4F"/>
              </a:buClr>
              <a:buSzTx/>
              <a:tabLst/>
              <a:defRPr/>
            </a:pPr>
            <a:r>
              <a:rPr kumimoji="0" lang="en-US" sz="1500" b="0" i="0" u="none" strike="noStrike" kern="1200" cap="none" spc="0" normalizeH="0" baseline="0" noProof="0" dirty="0">
                <a:ln>
                  <a:noFill/>
                </a:ln>
                <a:solidFill>
                  <a:srgbClr val="000000"/>
                </a:solidFill>
                <a:effectLst/>
                <a:uLnTx/>
                <a:uFillTx/>
                <a:latin typeface="Calibri" panose="020F0502020204030204"/>
                <a:ea typeface="+mn-ea"/>
                <a:cs typeface="+mn-cs"/>
              </a:rPr>
              <a:t>Topics to be covered in the report:</a:t>
            </a:r>
          </a:p>
          <a:p>
            <a:pPr marL="45720" marR="0" lvl="1" algn="l" defTabSz="829269" rtl="0" eaLnBrk="1" fontAlgn="base" latinLnBrk="0" hangingPunct="1">
              <a:lnSpc>
                <a:spcPct val="100000"/>
              </a:lnSpc>
              <a:spcBef>
                <a:spcPts val="0"/>
              </a:spcBef>
              <a:spcAft>
                <a:spcPts val="0"/>
              </a:spcAft>
              <a:buClr>
                <a:srgbClr val="008C4F"/>
              </a:buClr>
              <a:buSzTx/>
              <a:tabLst/>
              <a:defRPr/>
            </a:pPr>
            <a:r>
              <a:rPr kumimoji="0" lang="en-US" sz="1500" b="0" i="0" u="none" strike="noStrike" kern="1200" cap="none" spc="0" normalizeH="0" baseline="0" noProof="0" dirty="0">
                <a:ln>
                  <a:noFill/>
                </a:ln>
                <a:solidFill>
                  <a:srgbClr val="000000"/>
                </a:solidFill>
                <a:effectLst/>
                <a:uLnTx/>
                <a:uFillTx/>
                <a:latin typeface="Calibri" panose="020F0502020204030204"/>
                <a:ea typeface="+mn-ea"/>
                <a:cs typeface="+mn-cs"/>
              </a:rPr>
              <a:t>In terms of orders:</a:t>
            </a:r>
          </a:p>
          <a:p>
            <a:pPr marL="331470" marR="0" lvl="1" indent="-285750" algn="l" defTabSz="829269" rtl="0" eaLnBrk="1" fontAlgn="base" latinLnBrk="0" hangingPunct="1">
              <a:lnSpc>
                <a:spcPct val="100000"/>
              </a:lnSpc>
              <a:spcBef>
                <a:spcPts val="0"/>
              </a:spcBef>
              <a:spcAft>
                <a:spcPts val="0"/>
              </a:spcAft>
              <a:buClr>
                <a:srgbClr val="008C4F"/>
              </a:buClr>
              <a:buSzTx/>
              <a:buFont typeface="Arial" panose="020B0604020202020204" pitchFamily="34" charset="0"/>
              <a:buChar char="•"/>
              <a:tabLst/>
              <a:defRPr/>
            </a:pPr>
            <a:r>
              <a:rPr kumimoji="0" lang="en-US" sz="1500" b="0" i="0" u="none" strike="noStrike" kern="1200" cap="none" spc="0" normalizeH="0" baseline="0" noProof="0" dirty="0">
                <a:ln>
                  <a:noFill/>
                </a:ln>
                <a:solidFill>
                  <a:srgbClr val="000000"/>
                </a:solidFill>
                <a:effectLst/>
                <a:uLnTx/>
                <a:uFillTx/>
                <a:latin typeface="Calibri" panose="020F0502020204030204"/>
                <a:ea typeface="+mn-ea"/>
                <a:cs typeface="+mn-cs"/>
              </a:rPr>
              <a:t>Total Sold Items</a:t>
            </a:r>
          </a:p>
          <a:p>
            <a:pPr marL="331470" marR="0" lvl="1" indent="-285750" algn="l" defTabSz="829269" rtl="0" eaLnBrk="1" fontAlgn="base" latinLnBrk="0" hangingPunct="1">
              <a:lnSpc>
                <a:spcPct val="100000"/>
              </a:lnSpc>
              <a:spcBef>
                <a:spcPts val="0"/>
              </a:spcBef>
              <a:spcAft>
                <a:spcPts val="0"/>
              </a:spcAft>
              <a:buClr>
                <a:srgbClr val="008C4F"/>
              </a:buClr>
              <a:buSzTx/>
              <a:buFont typeface="Arial" panose="020B0604020202020204" pitchFamily="34" charset="0"/>
              <a:buChar char="•"/>
              <a:tabLst/>
              <a:defRPr/>
            </a:pPr>
            <a:r>
              <a:rPr kumimoji="0" lang="en-US" sz="1500" b="0" i="0" u="none" strike="noStrike" kern="1200" cap="none" spc="0" normalizeH="0" baseline="0" noProof="0" dirty="0">
                <a:ln>
                  <a:noFill/>
                </a:ln>
                <a:solidFill>
                  <a:srgbClr val="000000"/>
                </a:solidFill>
                <a:effectLst/>
                <a:uLnTx/>
                <a:uFillTx/>
                <a:latin typeface="Calibri" panose="020F0502020204030204"/>
                <a:ea typeface="+mn-ea"/>
                <a:cs typeface="+mn-cs"/>
              </a:rPr>
              <a:t>Total Orders</a:t>
            </a:r>
          </a:p>
          <a:p>
            <a:pPr marL="331470" marR="0" lvl="1" indent="-285750" algn="l" defTabSz="829269" rtl="0" eaLnBrk="1" fontAlgn="base" latinLnBrk="0" hangingPunct="1">
              <a:lnSpc>
                <a:spcPct val="100000"/>
              </a:lnSpc>
              <a:spcBef>
                <a:spcPts val="0"/>
              </a:spcBef>
              <a:spcAft>
                <a:spcPts val="0"/>
              </a:spcAft>
              <a:buClr>
                <a:srgbClr val="008C4F"/>
              </a:buClr>
              <a:buSzTx/>
              <a:buFont typeface="Arial" panose="020B0604020202020204" pitchFamily="34" charset="0"/>
              <a:buChar char="•"/>
              <a:tabLst/>
              <a:defRPr/>
            </a:pPr>
            <a:r>
              <a:rPr kumimoji="0" lang="en-US" sz="1500" b="0" i="0" u="none" strike="noStrike" kern="1200" cap="none" spc="0" normalizeH="0" baseline="0" noProof="0" dirty="0">
                <a:ln>
                  <a:noFill/>
                </a:ln>
                <a:solidFill>
                  <a:srgbClr val="000000"/>
                </a:solidFill>
                <a:effectLst/>
                <a:uLnTx/>
                <a:uFillTx/>
                <a:latin typeface="Calibri" panose="020F0502020204030204"/>
                <a:ea typeface="+mn-ea"/>
                <a:cs typeface="+mn-cs"/>
              </a:rPr>
              <a:t>Orders Growth (Comparing to previous year)</a:t>
            </a:r>
          </a:p>
          <a:p>
            <a:pPr marL="331470" marR="0" lvl="1" indent="-285750" algn="l" defTabSz="829269" rtl="0" eaLnBrk="1" fontAlgn="base" latinLnBrk="0" hangingPunct="1">
              <a:lnSpc>
                <a:spcPct val="100000"/>
              </a:lnSpc>
              <a:spcBef>
                <a:spcPts val="0"/>
              </a:spcBef>
              <a:spcAft>
                <a:spcPts val="0"/>
              </a:spcAft>
              <a:buClr>
                <a:srgbClr val="008C4F"/>
              </a:buClr>
              <a:buSzTx/>
              <a:buFont typeface="Arial" panose="020B0604020202020204" pitchFamily="34" charset="0"/>
              <a:buChar char="•"/>
              <a:tabLst/>
              <a:defRPr/>
            </a:pPr>
            <a:r>
              <a:rPr kumimoji="0" lang="en-US" sz="1500" b="0" i="0" u="none" strike="noStrike" kern="1200" cap="none" spc="0" normalizeH="0" baseline="0" noProof="0" dirty="0">
                <a:ln>
                  <a:noFill/>
                </a:ln>
                <a:solidFill>
                  <a:srgbClr val="000000"/>
                </a:solidFill>
                <a:effectLst/>
                <a:uLnTx/>
                <a:uFillTx/>
                <a:latin typeface="Calibri" panose="020F0502020204030204"/>
                <a:ea typeface="+mn-ea"/>
                <a:cs typeface="+mn-cs"/>
              </a:rPr>
              <a:t>Total orders over time</a:t>
            </a:r>
          </a:p>
          <a:p>
            <a:pPr marL="331470" marR="0" lvl="1" indent="-285750" algn="l" defTabSz="829269" rtl="0" eaLnBrk="1" fontAlgn="base" latinLnBrk="0" hangingPunct="1">
              <a:lnSpc>
                <a:spcPct val="100000"/>
              </a:lnSpc>
              <a:spcBef>
                <a:spcPts val="0"/>
              </a:spcBef>
              <a:spcAft>
                <a:spcPts val="0"/>
              </a:spcAft>
              <a:buClr>
                <a:srgbClr val="008C4F"/>
              </a:buClr>
              <a:buSzTx/>
              <a:buFont typeface="Arial" panose="020B0604020202020204" pitchFamily="34" charset="0"/>
              <a:buChar char="•"/>
              <a:tabLst/>
              <a:defRPr/>
            </a:pPr>
            <a:r>
              <a:rPr kumimoji="0" lang="en-US" sz="1500" b="0" i="0" u="none" strike="noStrike" kern="1200" cap="none" spc="0" normalizeH="0" baseline="0" noProof="0" dirty="0">
                <a:ln>
                  <a:noFill/>
                </a:ln>
                <a:solidFill>
                  <a:srgbClr val="000000"/>
                </a:solidFill>
                <a:effectLst/>
                <a:uLnTx/>
                <a:uFillTx/>
                <a:latin typeface="Calibri" panose="020F0502020204030204"/>
                <a:ea typeface="+mn-ea"/>
                <a:cs typeface="+mn-cs"/>
              </a:rPr>
              <a:t>Overview of Orders based on each kind Review Score(Average order processing days, Average total items, Average, Order Price)</a:t>
            </a:r>
          </a:p>
          <a:p>
            <a:pPr marL="331470" marR="0" lvl="1" indent="-285750" algn="l" defTabSz="829269" rtl="0" eaLnBrk="1" fontAlgn="base" latinLnBrk="0" hangingPunct="1">
              <a:lnSpc>
                <a:spcPct val="100000"/>
              </a:lnSpc>
              <a:spcBef>
                <a:spcPts val="0"/>
              </a:spcBef>
              <a:spcAft>
                <a:spcPts val="0"/>
              </a:spcAft>
              <a:buClr>
                <a:srgbClr val="008C4F"/>
              </a:buClr>
              <a:buSzTx/>
              <a:buFont typeface="Arial" panose="020B0604020202020204" pitchFamily="34" charset="0"/>
              <a:buChar char="•"/>
              <a:tabLst/>
              <a:defRPr/>
            </a:pPr>
            <a:r>
              <a:rPr kumimoji="0" lang="en-US" sz="1500" b="0" i="0" u="none" strike="noStrike" kern="1200" cap="none" spc="0" normalizeH="0" baseline="0" noProof="0" dirty="0">
                <a:ln>
                  <a:noFill/>
                </a:ln>
                <a:solidFill>
                  <a:srgbClr val="000000"/>
                </a:solidFill>
                <a:effectLst/>
                <a:uLnTx/>
                <a:uFillTx/>
                <a:latin typeface="Calibri" panose="020F0502020204030204"/>
                <a:ea typeface="+mn-ea"/>
                <a:cs typeface="+mn-cs"/>
              </a:rPr>
              <a:t>Top 5 cities having highest number of orders</a:t>
            </a:r>
          </a:p>
          <a:p>
            <a:pPr marL="331470" marR="0" lvl="1" indent="-285750" algn="l" defTabSz="829269" rtl="0" eaLnBrk="1" fontAlgn="base" latinLnBrk="0" hangingPunct="1">
              <a:lnSpc>
                <a:spcPct val="100000"/>
              </a:lnSpc>
              <a:spcBef>
                <a:spcPts val="0"/>
              </a:spcBef>
              <a:spcAft>
                <a:spcPts val="0"/>
              </a:spcAft>
              <a:buClr>
                <a:srgbClr val="008C4F"/>
              </a:buClr>
              <a:buSzTx/>
              <a:buFont typeface="Arial" panose="020B0604020202020204" pitchFamily="34" charset="0"/>
              <a:buChar char="•"/>
              <a:tabLst/>
              <a:defRPr/>
            </a:pPr>
            <a:r>
              <a:rPr kumimoji="0" lang="en-US" sz="1500" b="0" i="0" u="none" strike="noStrike" kern="1200" cap="none" spc="0" normalizeH="0" baseline="0" noProof="0" dirty="0">
                <a:ln>
                  <a:noFill/>
                </a:ln>
                <a:solidFill>
                  <a:srgbClr val="000000"/>
                </a:solidFill>
                <a:effectLst/>
                <a:uLnTx/>
                <a:uFillTx/>
                <a:latin typeface="Calibri" panose="020F0502020204030204"/>
                <a:ea typeface="+mn-ea"/>
                <a:cs typeface="+mn-cs"/>
              </a:rPr>
              <a:t>Top 5 product categories having highest number of orders</a:t>
            </a:r>
          </a:p>
          <a:p>
            <a:pPr marL="331470" marR="0" lvl="1" indent="-285750" algn="l" defTabSz="829269" rtl="0" eaLnBrk="1" fontAlgn="base" latinLnBrk="0" hangingPunct="1">
              <a:lnSpc>
                <a:spcPct val="100000"/>
              </a:lnSpc>
              <a:spcBef>
                <a:spcPts val="0"/>
              </a:spcBef>
              <a:spcAft>
                <a:spcPts val="0"/>
              </a:spcAft>
              <a:buClr>
                <a:srgbClr val="008C4F"/>
              </a:buClr>
              <a:buSzTx/>
              <a:buFont typeface="Arial" panose="020B0604020202020204" pitchFamily="34" charset="0"/>
              <a:buChar char="•"/>
              <a:tabLst/>
              <a:defRPr/>
            </a:pPr>
            <a:r>
              <a:rPr kumimoji="0" lang="en-US" sz="1500" b="0" i="0" u="none" strike="noStrike" kern="1200" cap="none" spc="0" normalizeH="0" baseline="0" noProof="0" dirty="0">
                <a:ln>
                  <a:noFill/>
                </a:ln>
                <a:solidFill>
                  <a:srgbClr val="000000"/>
                </a:solidFill>
                <a:effectLst/>
                <a:uLnTx/>
                <a:uFillTx/>
                <a:latin typeface="Calibri" panose="020F0502020204030204"/>
                <a:ea typeface="+mn-ea"/>
                <a:cs typeface="+mn-cs"/>
              </a:rPr>
              <a:t>Orders per Payment type</a:t>
            </a:r>
          </a:p>
          <a:p>
            <a:pPr marL="45720" marR="0" lvl="1" algn="l" defTabSz="829269" rtl="0" eaLnBrk="1" fontAlgn="base" latinLnBrk="0" hangingPunct="1">
              <a:lnSpc>
                <a:spcPct val="100000"/>
              </a:lnSpc>
              <a:spcBef>
                <a:spcPts val="0"/>
              </a:spcBef>
              <a:spcAft>
                <a:spcPts val="0"/>
              </a:spcAft>
              <a:buClr>
                <a:srgbClr val="008C4F"/>
              </a:buClr>
              <a:buSzTx/>
              <a:tabLst/>
              <a:defRPr/>
            </a:pPr>
            <a:endPar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endParaRPr>
          </a:p>
          <a:p>
            <a:pPr marL="228600" marR="0" lvl="1" indent="-182880" algn="l" defTabSz="829269" rtl="0" eaLnBrk="1" fontAlgn="base" latinLnBrk="0" hangingPunct="1">
              <a:lnSpc>
                <a:spcPct val="100000"/>
              </a:lnSpc>
              <a:spcBef>
                <a:spcPts val="0"/>
              </a:spcBef>
              <a:spcAft>
                <a:spcPts val="0"/>
              </a:spcAft>
              <a:buClr>
                <a:srgbClr val="008C4F"/>
              </a:buClr>
              <a:buSzTx/>
              <a:buFont typeface="Arial" panose="020B0604020202020204" pitchFamily="34" charset="0"/>
              <a:buChar char="•"/>
              <a:tabLst/>
              <a:defRPr/>
            </a:pPr>
            <a:endParaRPr lang="en-US" sz="1200" kern="1200" dirty="0">
              <a:latin typeface="Calibri" panose="020F0502020204030204"/>
              <a:ea typeface="+mn-ea"/>
              <a:cs typeface="+mn-cs"/>
            </a:endParaRPr>
          </a:p>
          <a:p>
            <a:pPr marL="228600" marR="0" lvl="1" indent="-182880" algn="l" defTabSz="829269" rtl="0" eaLnBrk="1" fontAlgn="base" latinLnBrk="0" hangingPunct="1">
              <a:lnSpc>
                <a:spcPct val="100000"/>
              </a:lnSpc>
              <a:spcBef>
                <a:spcPts val="0"/>
              </a:spcBef>
              <a:spcAft>
                <a:spcPts val="0"/>
              </a:spcAft>
              <a:buClr>
                <a:srgbClr val="008C4F"/>
              </a:buClr>
              <a:buSzTx/>
              <a:buFont typeface="Arial" panose="020B0604020202020204" pitchFamily="34" charset="0"/>
              <a:buChar char="•"/>
              <a:tabLst/>
              <a:defRPr/>
            </a:pPr>
            <a:endPar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cxnSp>
        <p:nvCxnSpPr>
          <p:cNvPr id="41" name="Straight Connector 40">
            <a:extLst>
              <a:ext uri="{FF2B5EF4-FFF2-40B4-BE49-F238E27FC236}">
                <a16:creationId xmlns:a16="http://schemas.microsoft.com/office/drawing/2014/main" id="{75AEDD8A-9A75-4741-BE79-63FD3FB67655}"/>
              </a:ext>
            </a:extLst>
          </p:cNvPr>
          <p:cNvCxnSpPr/>
          <p:nvPr/>
        </p:nvCxnSpPr>
        <p:spPr>
          <a:xfrm>
            <a:off x="979315" y="3467792"/>
            <a:ext cx="3108960" cy="0"/>
          </a:xfrm>
          <a:prstGeom prst="line">
            <a:avLst/>
          </a:prstGeom>
          <a:ln w="9525" cap="rnd">
            <a:solidFill>
              <a:srgbClr val="9A9A9A"/>
            </a:solidFill>
            <a:prstDash val="sysDot"/>
            <a:round/>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0418E539-43CD-421B-8E55-9E47569E2FBF}"/>
              </a:ext>
            </a:extLst>
          </p:cNvPr>
          <p:cNvSpPr txBox="1"/>
          <p:nvPr/>
        </p:nvSpPr>
        <p:spPr>
          <a:xfrm>
            <a:off x="4794300" y="3085155"/>
            <a:ext cx="2728778" cy="344708"/>
          </a:xfrm>
          <a:prstGeom prst="rect">
            <a:avLst/>
          </a:prstGeom>
          <a:noFill/>
        </p:spPr>
        <p:txBody>
          <a:bodyPr wrap="square" lIns="0" tIns="36574" rIns="0" bIns="0" rtlCol="0">
            <a:spAutoFit/>
          </a:bodyPr>
          <a:lstStyle/>
          <a:p>
            <a:pPr marL="0" marR="0" lvl="0" indent="0" algn="ctr" defTabSz="829269" rtl="0" eaLnBrk="1" fontAlgn="base" latinLnBrk="0" hangingPunct="1">
              <a:lnSpc>
                <a:spcPct val="100000"/>
              </a:lnSpc>
              <a:spcBef>
                <a:spcPct val="0"/>
              </a:spcBef>
              <a:spcAft>
                <a:spcPts val="0"/>
              </a:spcAft>
              <a:buClr>
                <a:srgbClr val="FFE600"/>
              </a:buClr>
              <a:buSzPct val="70000"/>
              <a:buFontTx/>
              <a:buNone/>
              <a:tabLst/>
              <a:defRPr/>
            </a:pPr>
            <a:r>
              <a:rPr kumimoji="0" lang="en-US" sz="2000" b="0" i="0" u="none" strike="noStrike" kern="1200" cap="none" spc="0" normalizeH="0" baseline="0" noProof="0" dirty="0">
                <a:ln>
                  <a:noFill/>
                </a:ln>
                <a:solidFill>
                  <a:srgbClr val="008C4F"/>
                </a:solidFill>
                <a:effectLst/>
                <a:uLnTx/>
                <a:uFillTx/>
                <a:latin typeface="Trebuchet MS"/>
                <a:ea typeface="+mn-ea"/>
                <a:cs typeface="+mn-cs"/>
              </a:rPr>
              <a:t>Business Performance</a:t>
            </a:r>
          </a:p>
        </p:txBody>
      </p:sp>
      <p:cxnSp>
        <p:nvCxnSpPr>
          <p:cNvPr id="23" name="Straight Connector 22">
            <a:extLst>
              <a:ext uri="{FF2B5EF4-FFF2-40B4-BE49-F238E27FC236}">
                <a16:creationId xmlns:a16="http://schemas.microsoft.com/office/drawing/2014/main" id="{84AAC051-B51D-4A0C-B939-60BFF22EBF94}"/>
              </a:ext>
            </a:extLst>
          </p:cNvPr>
          <p:cNvCxnSpPr/>
          <p:nvPr/>
        </p:nvCxnSpPr>
        <p:spPr>
          <a:xfrm>
            <a:off x="4542196" y="3467792"/>
            <a:ext cx="3108960" cy="0"/>
          </a:xfrm>
          <a:prstGeom prst="line">
            <a:avLst/>
          </a:prstGeom>
          <a:ln w="9525" cap="rnd">
            <a:solidFill>
              <a:srgbClr val="9A9A9A"/>
            </a:solidFill>
            <a:prstDash val="sysDot"/>
            <a:round/>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E3F7FC53-6E32-4F10-B333-F09BFD125DC4}"/>
              </a:ext>
            </a:extLst>
          </p:cNvPr>
          <p:cNvCxnSpPr/>
          <p:nvPr/>
        </p:nvCxnSpPr>
        <p:spPr>
          <a:xfrm>
            <a:off x="8105073" y="3467792"/>
            <a:ext cx="3108960" cy="0"/>
          </a:xfrm>
          <a:prstGeom prst="line">
            <a:avLst/>
          </a:prstGeom>
          <a:ln w="9525" cap="rnd">
            <a:solidFill>
              <a:srgbClr val="9A9A9A"/>
            </a:solidFill>
            <a:prstDash val="sysDot"/>
            <a:round/>
          </a:ln>
        </p:spPr>
        <p:style>
          <a:lnRef idx="1">
            <a:schemeClr val="accent1"/>
          </a:lnRef>
          <a:fillRef idx="0">
            <a:schemeClr val="accent1"/>
          </a:fillRef>
          <a:effectRef idx="0">
            <a:schemeClr val="accent1"/>
          </a:effectRef>
          <a:fontRef idx="minor">
            <a:schemeClr val="tx1"/>
          </a:fontRef>
        </p:style>
      </p:cxnSp>
      <p:sp>
        <p:nvSpPr>
          <p:cNvPr id="19" name="Oval 18">
            <a:extLst>
              <a:ext uri="{FF2B5EF4-FFF2-40B4-BE49-F238E27FC236}">
                <a16:creationId xmlns:a16="http://schemas.microsoft.com/office/drawing/2014/main" id="{08BE54D5-8092-49B4-A56C-7FCFC88B7336}"/>
              </a:ext>
            </a:extLst>
          </p:cNvPr>
          <p:cNvSpPr/>
          <p:nvPr/>
        </p:nvSpPr>
        <p:spPr>
          <a:xfrm>
            <a:off x="5545409" y="1861855"/>
            <a:ext cx="1211290" cy="1205590"/>
          </a:xfrm>
          <a:prstGeom prst="ellipse">
            <a:avLst/>
          </a:prstGeom>
          <a:solidFill>
            <a:srgbClr val="FFFFFF"/>
          </a:solidFill>
          <a:ln w="38100"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95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lumMod val="50000"/>
                </a:prstClr>
              </a:solidFill>
              <a:effectLst/>
              <a:uLnTx/>
              <a:uFillTx/>
              <a:latin typeface="Calibri" panose="020F0502020204030204"/>
              <a:ea typeface="+mn-ea"/>
              <a:cs typeface="+mn-cs"/>
            </a:endParaRPr>
          </a:p>
        </p:txBody>
      </p:sp>
      <p:grpSp>
        <p:nvGrpSpPr>
          <p:cNvPr id="25" name="bcgIcons_Magnifying Glass, Search ">
            <a:extLst>
              <a:ext uri="{FF2B5EF4-FFF2-40B4-BE49-F238E27FC236}">
                <a16:creationId xmlns:a16="http://schemas.microsoft.com/office/drawing/2014/main" id="{D82E0767-E61D-42C5-BC0C-99886F4AAEC7}"/>
              </a:ext>
            </a:extLst>
          </p:cNvPr>
          <p:cNvGrpSpPr>
            <a:grpSpLocks noChangeAspect="1"/>
          </p:cNvGrpSpPr>
          <p:nvPr/>
        </p:nvGrpSpPr>
        <p:grpSpPr bwMode="auto">
          <a:xfrm>
            <a:off x="5666497" y="1979643"/>
            <a:ext cx="969116" cy="970014"/>
            <a:chOff x="1682" y="0"/>
            <a:chExt cx="4316" cy="4320"/>
          </a:xfrm>
        </p:grpSpPr>
        <p:sp>
          <p:nvSpPr>
            <p:cNvPr id="26" name="AutoShape 8">
              <a:extLst>
                <a:ext uri="{FF2B5EF4-FFF2-40B4-BE49-F238E27FC236}">
                  <a16:creationId xmlns:a16="http://schemas.microsoft.com/office/drawing/2014/main" id="{1C645C69-EA35-48DE-845B-866679B64027}"/>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0" name="Freeform 10">
              <a:extLst>
                <a:ext uri="{FF2B5EF4-FFF2-40B4-BE49-F238E27FC236}">
                  <a16:creationId xmlns:a16="http://schemas.microsoft.com/office/drawing/2014/main" id="{073E8011-B707-4060-9D57-FD4CFF1DF908}"/>
                </a:ext>
              </a:extLst>
            </p:cNvPr>
            <p:cNvSpPr>
              <a:spLocks noEditPoints="1"/>
            </p:cNvSpPr>
            <p:nvPr/>
          </p:nvSpPr>
          <p:spPr bwMode="auto">
            <a:xfrm>
              <a:off x="3280" y="703"/>
              <a:ext cx="1821" cy="1802"/>
            </a:xfrm>
            <a:custGeom>
              <a:avLst/>
              <a:gdLst>
                <a:gd name="T0" fmla="*/ 748 w 972"/>
                <a:gd name="T1" fmla="*/ 142 h 961"/>
                <a:gd name="T2" fmla="*/ 145 w 972"/>
                <a:gd name="T3" fmla="*/ 223 h 961"/>
                <a:gd name="T4" fmla="*/ 225 w 972"/>
                <a:gd name="T5" fmla="*/ 818 h 961"/>
                <a:gd name="T6" fmla="*/ 827 w 972"/>
                <a:gd name="T7" fmla="*/ 738 h 961"/>
                <a:gd name="T8" fmla="*/ 748 w 972"/>
                <a:gd name="T9" fmla="*/ 142 h 961"/>
                <a:gd name="T10" fmla="*/ 777 w 972"/>
                <a:gd name="T11" fmla="*/ 700 h 961"/>
                <a:gd name="T12" fmla="*/ 701 w 972"/>
                <a:gd name="T13" fmla="*/ 774 h 961"/>
                <a:gd name="T14" fmla="*/ 688 w 972"/>
                <a:gd name="T15" fmla="*/ 778 h 961"/>
                <a:gd name="T16" fmla="*/ 670 w 972"/>
                <a:gd name="T17" fmla="*/ 769 h 961"/>
                <a:gd name="T18" fmla="*/ 675 w 972"/>
                <a:gd name="T19" fmla="*/ 738 h 961"/>
                <a:gd name="T20" fmla="*/ 742 w 972"/>
                <a:gd name="T21" fmla="*/ 673 h 961"/>
                <a:gd name="T22" fmla="*/ 806 w 972"/>
                <a:gd name="T23" fmla="*/ 438 h 961"/>
                <a:gd name="T24" fmla="*/ 683 w 972"/>
                <a:gd name="T25" fmla="*/ 227 h 961"/>
                <a:gd name="T26" fmla="*/ 641 w 972"/>
                <a:gd name="T27" fmla="*/ 200 h 961"/>
                <a:gd name="T28" fmla="*/ 632 w 972"/>
                <a:gd name="T29" fmla="*/ 170 h 961"/>
                <a:gd name="T30" fmla="*/ 661 w 972"/>
                <a:gd name="T31" fmla="*/ 161 h 961"/>
                <a:gd name="T32" fmla="*/ 709 w 972"/>
                <a:gd name="T33" fmla="*/ 192 h 961"/>
                <a:gd name="T34" fmla="*/ 850 w 972"/>
                <a:gd name="T35" fmla="*/ 432 h 961"/>
                <a:gd name="T36" fmla="*/ 777 w 972"/>
                <a:gd name="T37" fmla="*/ 700 h 9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72" h="961">
                  <a:moveTo>
                    <a:pt x="748" y="142"/>
                  </a:moveTo>
                  <a:cubicBezTo>
                    <a:pt x="560" y="0"/>
                    <a:pt x="290" y="36"/>
                    <a:pt x="145" y="223"/>
                  </a:cubicBezTo>
                  <a:cubicBezTo>
                    <a:pt x="0" y="409"/>
                    <a:pt x="35" y="676"/>
                    <a:pt x="225" y="818"/>
                  </a:cubicBezTo>
                  <a:cubicBezTo>
                    <a:pt x="413" y="961"/>
                    <a:pt x="683" y="925"/>
                    <a:pt x="827" y="738"/>
                  </a:cubicBezTo>
                  <a:cubicBezTo>
                    <a:pt x="972" y="551"/>
                    <a:pt x="936" y="285"/>
                    <a:pt x="748" y="142"/>
                  </a:cubicBezTo>
                  <a:close/>
                  <a:moveTo>
                    <a:pt x="777" y="700"/>
                  </a:moveTo>
                  <a:cubicBezTo>
                    <a:pt x="755" y="729"/>
                    <a:pt x="730" y="753"/>
                    <a:pt x="701" y="774"/>
                  </a:cubicBezTo>
                  <a:cubicBezTo>
                    <a:pt x="697" y="777"/>
                    <a:pt x="692" y="778"/>
                    <a:pt x="688" y="778"/>
                  </a:cubicBezTo>
                  <a:cubicBezTo>
                    <a:pt x="681" y="778"/>
                    <a:pt x="674" y="775"/>
                    <a:pt x="670" y="769"/>
                  </a:cubicBezTo>
                  <a:cubicBezTo>
                    <a:pt x="663" y="759"/>
                    <a:pt x="665" y="746"/>
                    <a:pt x="675" y="738"/>
                  </a:cubicBezTo>
                  <a:cubicBezTo>
                    <a:pt x="700" y="720"/>
                    <a:pt x="723" y="698"/>
                    <a:pt x="742" y="673"/>
                  </a:cubicBezTo>
                  <a:cubicBezTo>
                    <a:pt x="795" y="606"/>
                    <a:pt x="817" y="522"/>
                    <a:pt x="806" y="438"/>
                  </a:cubicBezTo>
                  <a:cubicBezTo>
                    <a:pt x="795" y="353"/>
                    <a:pt x="751" y="279"/>
                    <a:pt x="683" y="227"/>
                  </a:cubicBezTo>
                  <a:cubicBezTo>
                    <a:pt x="669" y="217"/>
                    <a:pt x="655" y="208"/>
                    <a:pt x="641" y="200"/>
                  </a:cubicBezTo>
                  <a:cubicBezTo>
                    <a:pt x="630" y="194"/>
                    <a:pt x="626" y="181"/>
                    <a:pt x="632" y="170"/>
                  </a:cubicBezTo>
                  <a:cubicBezTo>
                    <a:pt x="637" y="159"/>
                    <a:pt x="651" y="155"/>
                    <a:pt x="661" y="161"/>
                  </a:cubicBezTo>
                  <a:cubicBezTo>
                    <a:pt x="678" y="170"/>
                    <a:pt x="694" y="180"/>
                    <a:pt x="709" y="192"/>
                  </a:cubicBezTo>
                  <a:cubicBezTo>
                    <a:pt x="787" y="251"/>
                    <a:pt x="837" y="336"/>
                    <a:pt x="850" y="432"/>
                  </a:cubicBezTo>
                  <a:cubicBezTo>
                    <a:pt x="862" y="528"/>
                    <a:pt x="837" y="623"/>
                    <a:pt x="777" y="700"/>
                  </a:cubicBezTo>
                  <a:close/>
                </a:path>
              </a:pathLst>
            </a:custGeom>
            <a:solidFill>
              <a:srgbClr val="008C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1" name="Freeform 11">
              <a:extLst>
                <a:ext uri="{FF2B5EF4-FFF2-40B4-BE49-F238E27FC236}">
                  <a16:creationId xmlns:a16="http://schemas.microsoft.com/office/drawing/2014/main" id="{6DB7D5D2-FB57-4B55-BA6D-704276DD1C9A}"/>
                </a:ext>
              </a:extLst>
            </p:cNvPr>
            <p:cNvSpPr>
              <a:spLocks noEditPoints="1"/>
            </p:cNvSpPr>
            <p:nvPr/>
          </p:nvSpPr>
          <p:spPr bwMode="auto">
            <a:xfrm>
              <a:off x="2422" y="465"/>
              <a:ext cx="2904" cy="3306"/>
            </a:xfrm>
            <a:custGeom>
              <a:avLst/>
              <a:gdLst>
                <a:gd name="T0" fmla="*/ 1270 w 1550"/>
                <a:gd name="T1" fmla="*/ 179 h 1763"/>
                <a:gd name="T2" fmla="*/ 517 w 1550"/>
                <a:gd name="T3" fmla="*/ 280 h 1763"/>
                <a:gd name="T4" fmla="*/ 545 w 1550"/>
                <a:gd name="T5" fmla="*/ 965 h 1763"/>
                <a:gd name="T6" fmla="*/ 437 w 1550"/>
                <a:gd name="T7" fmla="*/ 1107 h 1763"/>
                <a:gd name="T8" fmla="*/ 587 w 1550"/>
                <a:gd name="T9" fmla="*/ 1222 h 1763"/>
                <a:gd name="T10" fmla="*/ 694 w 1550"/>
                <a:gd name="T11" fmla="*/ 1082 h 1763"/>
                <a:gd name="T12" fmla="*/ 1370 w 1550"/>
                <a:gd name="T13" fmla="*/ 933 h 1763"/>
                <a:gd name="T14" fmla="*/ 1270 w 1550"/>
                <a:gd name="T15" fmla="*/ 179 h 1763"/>
                <a:gd name="T16" fmla="*/ 1317 w 1550"/>
                <a:gd name="T17" fmla="*/ 892 h 1763"/>
                <a:gd name="T18" fmla="*/ 701 w 1550"/>
                <a:gd name="T19" fmla="*/ 1009 h 1763"/>
                <a:gd name="T20" fmla="*/ 658 w 1550"/>
                <a:gd name="T21" fmla="*/ 980 h 1763"/>
                <a:gd name="T22" fmla="*/ 614 w 1550"/>
                <a:gd name="T23" fmla="*/ 941 h 1763"/>
                <a:gd name="T24" fmla="*/ 570 w 1550"/>
                <a:gd name="T25" fmla="*/ 320 h 1763"/>
                <a:gd name="T26" fmla="*/ 1229 w 1550"/>
                <a:gd name="T27" fmla="*/ 233 h 1763"/>
                <a:gd name="T28" fmla="*/ 1317 w 1550"/>
                <a:gd name="T29" fmla="*/ 892 h 1763"/>
                <a:gd name="T30" fmla="*/ 181 w 1550"/>
                <a:gd name="T31" fmla="*/ 1763 h 1763"/>
                <a:gd name="T32" fmla="*/ 162 w 1550"/>
                <a:gd name="T33" fmla="*/ 1761 h 1763"/>
                <a:gd name="T34" fmla="*/ 83 w 1550"/>
                <a:gd name="T35" fmla="*/ 1724 h 1763"/>
                <a:gd name="T36" fmla="*/ 27 w 1550"/>
                <a:gd name="T37" fmla="*/ 1584 h 1763"/>
                <a:gd name="T38" fmla="*/ 367 w 1550"/>
                <a:gd name="T39" fmla="*/ 1136 h 1763"/>
                <a:gd name="T40" fmla="*/ 382 w 1550"/>
                <a:gd name="T41" fmla="*/ 1128 h 1763"/>
                <a:gd name="T42" fmla="*/ 398 w 1550"/>
                <a:gd name="T43" fmla="*/ 1132 h 1763"/>
                <a:gd name="T44" fmla="*/ 568 w 1550"/>
                <a:gd name="T45" fmla="*/ 1263 h 1763"/>
                <a:gd name="T46" fmla="*/ 572 w 1550"/>
                <a:gd name="T47" fmla="*/ 1294 h 1763"/>
                <a:gd name="T48" fmla="*/ 233 w 1550"/>
                <a:gd name="T49" fmla="*/ 1740 h 1763"/>
                <a:gd name="T50" fmla="*/ 181 w 1550"/>
                <a:gd name="T51" fmla="*/ 1763 h 1763"/>
                <a:gd name="T52" fmla="*/ 389 w 1550"/>
                <a:gd name="T53" fmla="*/ 1181 h 1763"/>
                <a:gd name="T54" fmla="*/ 62 w 1550"/>
                <a:gd name="T55" fmla="*/ 1610 h 1763"/>
                <a:gd name="T56" fmla="*/ 109 w 1550"/>
                <a:gd name="T57" fmla="*/ 1689 h 1763"/>
                <a:gd name="T58" fmla="*/ 170 w 1550"/>
                <a:gd name="T59" fmla="*/ 1718 h 1763"/>
                <a:gd name="T60" fmla="*/ 198 w 1550"/>
                <a:gd name="T61" fmla="*/ 1714 h 1763"/>
                <a:gd name="T62" fmla="*/ 524 w 1550"/>
                <a:gd name="T63" fmla="*/ 1284 h 1763"/>
                <a:gd name="T64" fmla="*/ 389 w 1550"/>
                <a:gd name="T65" fmla="*/ 1181 h 17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550" h="1763">
                  <a:moveTo>
                    <a:pt x="1270" y="179"/>
                  </a:moveTo>
                  <a:cubicBezTo>
                    <a:pt x="1034" y="0"/>
                    <a:pt x="697" y="45"/>
                    <a:pt x="517" y="280"/>
                  </a:cubicBezTo>
                  <a:cubicBezTo>
                    <a:pt x="358" y="488"/>
                    <a:pt x="375" y="777"/>
                    <a:pt x="545" y="965"/>
                  </a:cubicBezTo>
                  <a:cubicBezTo>
                    <a:pt x="466" y="1068"/>
                    <a:pt x="444" y="1098"/>
                    <a:pt x="437" y="1107"/>
                  </a:cubicBezTo>
                  <a:cubicBezTo>
                    <a:pt x="587" y="1222"/>
                    <a:pt x="587" y="1222"/>
                    <a:pt x="587" y="1222"/>
                  </a:cubicBezTo>
                  <a:cubicBezTo>
                    <a:pt x="694" y="1082"/>
                    <a:pt x="694" y="1082"/>
                    <a:pt x="694" y="1082"/>
                  </a:cubicBezTo>
                  <a:cubicBezTo>
                    <a:pt x="921" y="1201"/>
                    <a:pt x="1209" y="1143"/>
                    <a:pt x="1370" y="933"/>
                  </a:cubicBezTo>
                  <a:cubicBezTo>
                    <a:pt x="1550" y="697"/>
                    <a:pt x="1505" y="360"/>
                    <a:pt x="1270" y="179"/>
                  </a:cubicBezTo>
                  <a:close/>
                  <a:moveTo>
                    <a:pt x="1317" y="892"/>
                  </a:moveTo>
                  <a:cubicBezTo>
                    <a:pt x="1170" y="1084"/>
                    <a:pt x="903" y="1131"/>
                    <a:pt x="701" y="1009"/>
                  </a:cubicBezTo>
                  <a:cubicBezTo>
                    <a:pt x="686" y="1000"/>
                    <a:pt x="672" y="990"/>
                    <a:pt x="658" y="980"/>
                  </a:cubicBezTo>
                  <a:cubicBezTo>
                    <a:pt x="643" y="968"/>
                    <a:pt x="628" y="955"/>
                    <a:pt x="614" y="941"/>
                  </a:cubicBezTo>
                  <a:cubicBezTo>
                    <a:pt x="447" y="778"/>
                    <a:pt x="425" y="511"/>
                    <a:pt x="570" y="320"/>
                  </a:cubicBezTo>
                  <a:cubicBezTo>
                    <a:pt x="728" y="114"/>
                    <a:pt x="1023" y="75"/>
                    <a:pt x="1229" y="233"/>
                  </a:cubicBezTo>
                  <a:cubicBezTo>
                    <a:pt x="1435" y="390"/>
                    <a:pt x="1474" y="686"/>
                    <a:pt x="1317" y="892"/>
                  </a:cubicBezTo>
                  <a:close/>
                  <a:moveTo>
                    <a:pt x="181" y="1763"/>
                  </a:moveTo>
                  <a:cubicBezTo>
                    <a:pt x="175" y="1763"/>
                    <a:pt x="169" y="1762"/>
                    <a:pt x="162" y="1761"/>
                  </a:cubicBezTo>
                  <a:cubicBezTo>
                    <a:pt x="137" y="1757"/>
                    <a:pt x="108" y="1743"/>
                    <a:pt x="83" y="1724"/>
                  </a:cubicBezTo>
                  <a:cubicBezTo>
                    <a:pt x="24" y="1679"/>
                    <a:pt x="0" y="1619"/>
                    <a:pt x="27" y="1584"/>
                  </a:cubicBezTo>
                  <a:cubicBezTo>
                    <a:pt x="367" y="1136"/>
                    <a:pt x="367" y="1136"/>
                    <a:pt x="367" y="1136"/>
                  </a:cubicBezTo>
                  <a:cubicBezTo>
                    <a:pt x="371" y="1132"/>
                    <a:pt x="376" y="1129"/>
                    <a:pt x="382" y="1128"/>
                  </a:cubicBezTo>
                  <a:cubicBezTo>
                    <a:pt x="387" y="1127"/>
                    <a:pt x="393" y="1129"/>
                    <a:pt x="398" y="1132"/>
                  </a:cubicBezTo>
                  <a:cubicBezTo>
                    <a:pt x="568" y="1263"/>
                    <a:pt x="568" y="1263"/>
                    <a:pt x="568" y="1263"/>
                  </a:cubicBezTo>
                  <a:cubicBezTo>
                    <a:pt x="578" y="1270"/>
                    <a:pt x="579" y="1284"/>
                    <a:pt x="572" y="1294"/>
                  </a:cubicBezTo>
                  <a:cubicBezTo>
                    <a:pt x="233" y="1740"/>
                    <a:pt x="233" y="1740"/>
                    <a:pt x="233" y="1740"/>
                  </a:cubicBezTo>
                  <a:cubicBezTo>
                    <a:pt x="221" y="1755"/>
                    <a:pt x="203" y="1763"/>
                    <a:pt x="181" y="1763"/>
                  </a:cubicBezTo>
                  <a:close/>
                  <a:moveTo>
                    <a:pt x="389" y="1181"/>
                  </a:moveTo>
                  <a:cubicBezTo>
                    <a:pt x="62" y="1610"/>
                    <a:pt x="62" y="1610"/>
                    <a:pt x="62" y="1610"/>
                  </a:cubicBezTo>
                  <a:cubicBezTo>
                    <a:pt x="54" y="1621"/>
                    <a:pt x="69" y="1658"/>
                    <a:pt x="109" y="1689"/>
                  </a:cubicBezTo>
                  <a:cubicBezTo>
                    <a:pt x="129" y="1704"/>
                    <a:pt x="151" y="1714"/>
                    <a:pt x="170" y="1718"/>
                  </a:cubicBezTo>
                  <a:cubicBezTo>
                    <a:pt x="183" y="1720"/>
                    <a:pt x="194" y="1718"/>
                    <a:pt x="198" y="1714"/>
                  </a:cubicBezTo>
                  <a:cubicBezTo>
                    <a:pt x="524" y="1284"/>
                    <a:pt x="524" y="1284"/>
                    <a:pt x="524" y="1284"/>
                  </a:cubicBezTo>
                  <a:lnTo>
                    <a:pt x="389" y="1181"/>
                  </a:lnTo>
                  <a:close/>
                </a:path>
              </a:pathLst>
            </a:custGeom>
            <a:solidFill>
              <a:srgbClr val="004E2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grpSp>
      <p:sp>
        <p:nvSpPr>
          <p:cNvPr id="56" name="Title 1">
            <a:extLst>
              <a:ext uri="{FF2B5EF4-FFF2-40B4-BE49-F238E27FC236}">
                <a16:creationId xmlns:a16="http://schemas.microsoft.com/office/drawing/2014/main" id="{D3D02270-8215-70B8-F877-FA4081BA3220}"/>
              </a:ext>
            </a:extLst>
          </p:cNvPr>
          <p:cNvSpPr txBox="1">
            <a:spLocks/>
          </p:cNvSpPr>
          <p:nvPr/>
        </p:nvSpPr>
        <p:spPr>
          <a:xfrm>
            <a:off x="422203" y="601158"/>
            <a:ext cx="10933200" cy="701690"/>
          </a:xfrm>
          <a:prstGeom prst="rect">
            <a:avLst/>
          </a:prstGeom>
          <a:noFill/>
          <a:ln>
            <a:noFill/>
          </a:ln>
        </p:spPr>
        <p:txBody>
          <a:bodyPr spcFirstLastPara="1" vert="horz" wrap="square" lIns="91425" tIns="45700" rIns="91425" bIns="45700" anchor="ctr" anchorCtr="0">
            <a:spAutoFit/>
          </a:bodyPr>
          <a:lstStyle>
            <a:defPPr marR="0" lvl="0" algn="l" rtl="0">
              <a:lnSpc>
                <a:spcPct val="100000"/>
              </a:lnSpc>
              <a:spcBef>
                <a:spcPts val="0"/>
              </a:spcBef>
              <a:spcAft>
                <a:spcPts val="0"/>
              </a:spcAft>
            </a:defPPr>
            <a:lvl1pPr marR="0" lvl="0" algn="l" rtl="0">
              <a:lnSpc>
                <a:spcPct val="90000"/>
              </a:lnSpc>
              <a:spcBef>
                <a:spcPts val="0"/>
              </a:spcBef>
              <a:spcAft>
                <a:spcPts val="0"/>
              </a:spcAft>
              <a:buClr>
                <a:schemeClr val="dk1"/>
              </a:buClr>
              <a:buSzPts val="1800"/>
              <a:buFont typeface="Calibri"/>
              <a:buNone/>
              <a:defRPr sz="44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r>
              <a:rPr lang="en-US" dirty="0">
                <a:solidFill>
                  <a:srgbClr val="D4DF33"/>
                </a:solidFill>
                <a:latin typeface="Calibri" panose="020F0502020204030204" pitchFamily="34" charset="0"/>
              </a:rPr>
              <a:t>2. First step – </a:t>
            </a:r>
            <a:r>
              <a:rPr lang="en-US" dirty="0">
                <a:solidFill>
                  <a:srgbClr val="FFFFFF"/>
                </a:solidFill>
                <a:latin typeface="Calibri" panose="020F0502020204030204" pitchFamily="34" charset="0"/>
              </a:rPr>
              <a:t>Ask</a:t>
            </a:r>
          </a:p>
        </p:txBody>
      </p:sp>
    </p:spTree>
    <p:extLst>
      <p:ext uri="{BB962C8B-B14F-4D97-AF65-F5344CB8AC3E}">
        <p14:creationId xmlns:p14="http://schemas.microsoft.com/office/powerpoint/2010/main" val="35883253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B6557F4-5687-4C04-AAE2-835ADE53E43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a:extLst>
                          <a:ext uri="{FF2B5EF4-FFF2-40B4-BE49-F238E27FC236}">
                            <a16:creationId xmlns:a16="http://schemas.microsoft.com/office/drawing/2014/main" id="{FB6557F4-5687-4C04-AAE2-835ADE53E43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33" name="Picture 32">
            <a:extLst>
              <a:ext uri="{FF2B5EF4-FFF2-40B4-BE49-F238E27FC236}">
                <a16:creationId xmlns:a16="http://schemas.microsoft.com/office/drawing/2014/main" id="{E52512A8-D24F-4F7B-AA70-13CCB6F84EC7}"/>
              </a:ext>
            </a:extLst>
          </p:cNvPr>
          <p:cNvPicPr>
            <a:picLocks noChangeAspect="1"/>
          </p:cNvPicPr>
          <p:nvPr/>
        </p:nvPicPr>
        <p:blipFill rotWithShape="1">
          <a:blip r:embed="rId6"/>
          <a:srcRect t="41519" b="28376"/>
          <a:stretch/>
        </p:blipFill>
        <p:spPr>
          <a:xfrm>
            <a:off x="0" y="0"/>
            <a:ext cx="12192000" cy="2449520"/>
          </a:xfrm>
          <a:custGeom>
            <a:avLst/>
            <a:gdLst>
              <a:gd name="connsiteX0" fmla="*/ 0 w 12192000"/>
              <a:gd name="connsiteY0" fmla="*/ 0 h 2449520"/>
              <a:gd name="connsiteX1" fmla="*/ 12192000 w 12192000"/>
              <a:gd name="connsiteY1" fmla="*/ 0 h 2449520"/>
              <a:gd name="connsiteX2" fmla="*/ 12192000 w 12192000"/>
              <a:gd name="connsiteY2" fmla="*/ 2449520 h 2449520"/>
              <a:gd name="connsiteX3" fmla="*/ 0 w 12192000"/>
              <a:gd name="connsiteY3" fmla="*/ 2449520 h 2449520"/>
            </a:gdLst>
            <a:ahLst/>
            <a:cxnLst>
              <a:cxn ang="0">
                <a:pos x="connsiteX0" y="connsiteY0"/>
              </a:cxn>
              <a:cxn ang="0">
                <a:pos x="connsiteX1" y="connsiteY1"/>
              </a:cxn>
              <a:cxn ang="0">
                <a:pos x="connsiteX2" y="connsiteY2"/>
              </a:cxn>
              <a:cxn ang="0">
                <a:pos x="connsiteX3" y="connsiteY3"/>
              </a:cxn>
            </a:cxnLst>
            <a:rect l="l" t="t" r="r" b="b"/>
            <a:pathLst>
              <a:path w="12192000" h="2449520">
                <a:moveTo>
                  <a:pt x="0" y="0"/>
                </a:moveTo>
                <a:lnTo>
                  <a:pt x="12192000" y="0"/>
                </a:lnTo>
                <a:lnTo>
                  <a:pt x="12192000" y="2449520"/>
                </a:lnTo>
                <a:lnTo>
                  <a:pt x="0" y="2449520"/>
                </a:lnTo>
                <a:close/>
              </a:path>
            </a:pathLst>
          </a:custGeom>
        </p:spPr>
      </p:pic>
      <p:sp>
        <p:nvSpPr>
          <p:cNvPr id="34" name="GradientOverlay">
            <a:extLst>
              <a:ext uri="{FF2B5EF4-FFF2-40B4-BE49-F238E27FC236}">
                <a16:creationId xmlns:a16="http://schemas.microsoft.com/office/drawing/2014/main" id="{54FA9D2C-CBA2-4902-B81B-E8AA2A9C191D}"/>
              </a:ext>
            </a:extLst>
          </p:cNvPr>
          <p:cNvSpPr/>
          <p:nvPr>
            <p:custDataLst>
              <p:tags r:id="rId2"/>
            </p:custDataLst>
          </p:nvPr>
        </p:nvSpPr>
        <p:spPr>
          <a:xfrm>
            <a:off x="0" y="8855"/>
            <a:ext cx="12192000" cy="2449520"/>
          </a:xfrm>
          <a:prstGeom prst="rect">
            <a:avLst/>
          </a:prstGeom>
          <a:solidFill>
            <a:srgbClr val="000000">
              <a:alpha val="45000"/>
            </a:srgb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0"/>
              </a:spcBef>
              <a:spcAft>
                <a:spcPts val="100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5" name="Freeform 7">
            <a:extLst>
              <a:ext uri="{FF2B5EF4-FFF2-40B4-BE49-F238E27FC236}">
                <a16:creationId xmlns:a16="http://schemas.microsoft.com/office/drawing/2014/main" id="{84B1A602-D9DF-437C-8E0B-5364939BBB2C}"/>
              </a:ext>
            </a:extLst>
          </p:cNvPr>
          <p:cNvSpPr>
            <a:spLocks/>
          </p:cNvSpPr>
          <p:nvPr/>
        </p:nvSpPr>
        <p:spPr bwMode="auto">
          <a:xfrm>
            <a:off x="767772" y="2200257"/>
            <a:ext cx="10793857" cy="2650844"/>
          </a:xfrm>
          <a:custGeom>
            <a:avLst/>
            <a:gdLst>
              <a:gd name="T0" fmla="*/ 1168 w 1168"/>
              <a:gd name="T1" fmla="*/ 1011 h 1350"/>
              <a:gd name="T2" fmla="*/ 1168 w 1168"/>
              <a:gd name="T3" fmla="*/ 336 h 1350"/>
              <a:gd name="T4" fmla="*/ 584 w 1168"/>
              <a:gd name="T5" fmla="*/ 0 h 1350"/>
              <a:gd name="T6" fmla="*/ 0 w 1168"/>
              <a:gd name="T7" fmla="*/ 336 h 1350"/>
              <a:gd name="T8" fmla="*/ 0 w 1168"/>
              <a:gd name="T9" fmla="*/ 1011 h 1350"/>
              <a:gd name="T10" fmla="*/ 584 w 1168"/>
              <a:gd name="T11" fmla="*/ 1350 h 1350"/>
              <a:gd name="T12" fmla="*/ 1168 w 1168"/>
              <a:gd name="T13" fmla="*/ 1011 h 1350"/>
            </a:gdLst>
            <a:ahLst/>
            <a:cxnLst>
              <a:cxn ang="0">
                <a:pos x="T0" y="T1"/>
              </a:cxn>
              <a:cxn ang="0">
                <a:pos x="T2" y="T3"/>
              </a:cxn>
              <a:cxn ang="0">
                <a:pos x="T4" y="T5"/>
              </a:cxn>
              <a:cxn ang="0">
                <a:pos x="T6" y="T7"/>
              </a:cxn>
              <a:cxn ang="0">
                <a:pos x="T8" y="T9"/>
              </a:cxn>
              <a:cxn ang="0">
                <a:pos x="T10" y="T11"/>
              </a:cxn>
              <a:cxn ang="0">
                <a:pos x="T12" y="T13"/>
              </a:cxn>
            </a:cxnLst>
            <a:rect l="0" t="0" r="r" b="b"/>
            <a:pathLst>
              <a:path w="1168" h="1350">
                <a:moveTo>
                  <a:pt x="1168" y="1011"/>
                </a:moveTo>
                <a:lnTo>
                  <a:pt x="1168" y="336"/>
                </a:lnTo>
                <a:lnTo>
                  <a:pt x="584" y="0"/>
                </a:lnTo>
                <a:lnTo>
                  <a:pt x="0" y="336"/>
                </a:lnTo>
                <a:lnTo>
                  <a:pt x="0" y="1011"/>
                </a:lnTo>
                <a:lnTo>
                  <a:pt x="584" y="1350"/>
                </a:lnTo>
                <a:lnTo>
                  <a:pt x="1168" y="1011"/>
                </a:lnTo>
              </a:path>
            </a:pathLst>
          </a:custGeom>
          <a:solidFill>
            <a:srgbClr val="004E2A"/>
          </a:solidFill>
          <a:ln w="9525" cap="flat" cmpd="sng" algn="ctr">
            <a:solidFill>
              <a:schemeClr val="accent1"/>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6" name="Rectangle: Rounded Corners 15">
            <a:extLst>
              <a:ext uri="{FF2B5EF4-FFF2-40B4-BE49-F238E27FC236}">
                <a16:creationId xmlns:a16="http://schemas.microsoft.com/office/drawing/2014/main" id="{02676483-D324-46C4-86D4-414572733BFF}"/>
              </a:ext>
            </a:extLst>
          </p:cNvPr>
          <p:cNvSpPr/>
          <p:nvPr/>
        </p:nvSpPr>
        <p:spPr>
          <a:xfrm>
            <a:off x="1179138" y="2441798"/>
            <a:ext cx="10101236" cy="3807322"/>
          </a:xfrm>
          <a:prstGeom prst="roundRect">
            <a:avLst>
              <a:gd name="adj" fmla="val 0"/>
            </a:avLst>
          </a:prstGeom>
          <a:solidFill>
            <a:schemeClr val="bg1"/>
          </a:solidFill>
          <a:ln w="9525" cap="rnd" cmpd="sng" algn="ctr">
            <a:solidFill>
              <a:srgbClr val="008C4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Calibri" panose="020F0502020204030204"/>
              <a:ea typeface="+mn-ea"/>
              <a:cs typeface="Poppins" panose="020B0604020202020204" charset="0"/>
            </a:endParaRPr>
          </a:p>
        </p:txBody>
      </p:sp>
      <p:sp>
        <p:nvSpPr>
          <p:cNvPr id="27" name="Rectangle 26">
            <a:extLst>
              <a:ext uri="{FF2B5EF4-FFF2-40B4-BE49-F238E27FC236}">
                <a16:creationId xmlns:a16="http://schemas.microsoft.com/office/drawing/2014/main" id="{3352C43E-2D94-47F5-99C4-D239FE4D285F}"/>
              </a:ext>
            </a:extLst>
          </p:cNvPr>
          <p:cNvSpPr/>
          <p:nvPr/>
        </p:nvSpPr>
        <p:spPr>
          <a:xfrm>
            <a:off x="1368747" y="3502438"/>
            <a:ext cx="9765418" cy="2602525"/>
          </a:xfrm>
          <a:prstGeom prst="rect">
            <a:avLst/>
          </a:prstGeom>
        </p:spPr>
        <p:txBody>
          <a:bodyPr wrap="square" lIns="0" tIns="0" rIns="0" bIns="0" anchor="t">
            <a:noAutofit/>
          </a:bodyPr>
          <a:lstStyle/>
          <a:p>
            <a:pPr marL="45720" marR="0" lvl="1" algn="l" defTabSz="829269" rtl="0" eaLnBrk="1" fontAlgn="base" latinLnBrk="0" hangingPunct="1">
              <a:lnSpc>
                <a:spcPct val="100000"/>
              </a:lnSpc>
              <a:spcBef>
                <a:spcPts val="0"/>
              </a:spcBef>
              <a:spcAft>
                <a:spcPts val="0"/>
              </a:spcAft>
              <a:buClr>
                <a:srgbClr val="008C4F"/>
              </a:buClr>
              <a:buSzTx/>
              <a:tabLst/>
              <a:defRPr/>
            </a:pPr>
            <a:endParaRPr lang="en-US" sz="1500" kern="1200" dirty="0">
              <a:latin typeface="Calibri" panose="020F0502020204030204"/>
              <a:ea typeface="+mn-ea"/>
              <a:cs typeface="+mn-cs"/>
            </a:endParaRPr>
          </a:p>
          <a:p>
            <a:pPr marL="45720" marR="0" lvl="1" algn="l" defTabSz="829269" rtl="0" eaLnBrk="1" fontAlgn="base" latinLnBrk="0" hangingPunct="1">
              <a:lnSpc>
                <a:spcPct val="100000"/>
              </a:lnSpc>
              <a:spcBef>
                <a:spcPts val="0"/>
              </a:spcBef>
              <a:spcAft>
                <a:spcPts val="0"/>
              </a:spcAft>
              <a:buClr>
                <a:srgbClr val="008C4F"/>
              </a:buClr>
              <a:buSzTx/>
              <a:tabLst/>
              <a:defRPr/>
            </a:pPr>
            <a:r>
              <a:rPr kumimoji="0" lang="en-US" sz="1500" b="0" i="0" u="none" strike="noStrike" kern="1200" cap="none" spc="0" normalizeH="0" baseline="0" noProof="0" dirty="0">
                <a:ln>
                  <a:noFill/>
                </a:ln>
                <a:solidFill>
                  <a:srgbClr val="000000"/>
                </a:solidFill>
                <a:effectLst/>
                <a:uLnTx/>
                <a:uFillTx/>
                <a:latin typeface="Calibri" panose="020F0502020204030204"/>
                <a:ea typeface="+mn-ea"/>
                <a:cs typeface="+mn-cs"/>
              </a:rPr>
              <a:t>Topics to be covered in the report:</a:t>
            </a:r>
          </a:p>
          <a:p>
            <a:pPr marL="331470" marR="0" lvl="1" indent="-285750" algn="l" defTabSz="829269" rtl="0" eaLnBrk="1" fontAlgn="base" latinLnBrk="0" hangingPunct="1">
              <a:lnSpc>
                <a:spcPct val="100000"/>
              </a:lnSpc>
              <a:spcBef>
                <a:spcPts val="0"/>
              </a:spcBef>
              <a:spcAft>
                <a:spcPts val="0"/>
              </a:spcAft>
              <a:buClr>
                <a:srgbClr val="008C4F"/>
              </a:buClr>
              <a:buSzTx/>
              <a:buFont typeface="Arial" panose="020B0604020202020204" pitchFamily="34" charset="0"/>
              <a:buChar char="•"/>
              <a:tabLst/>
              <a:defRPr/>
            </a:pPr>
            <a:r>
              <a:rPr kumimoji="0" lang="en-US" sz="1500" b="0" i="0" u="none" strike="noStrike" kern="1200" cap="none" spc="0" normalizeH="0" baseline="0" noProof="0" dirty="0">
                <a:ln>
                  <a:noFill/>
                </a:ln>
                <a:solidFill>
                  <a:srgbClr val="000000"/>
                </a:solidFill>
                <a:effectLst/>
                <a:uLnTx/>
                <a:uFillTx/>
                <a:latin typeface="Calibri" panose="020F0502020204030204"/>
                <a:ea typeface="+mn-ea"/>
                <a:cs typeface="+mn-cs"/>
              </a:rPr>
              <a:t>Total Customers</a:t>
            </a:r>
          </a:p>
          <a:p>
            <a:pPr marL="331470" marR="0" lvl="1" indent="-285750" algn="l" defTabSz="829269" rtl="0" eaLnBrk="1" fontAlgn="base" latinLnBrk="0" hangingPunct="1">
              <a:lnSpc>
                <a:spcPct val="100000"/>
              </a:lnSpc>
              <a:spcBef>
                <a:spcPts val="0"/>
              </a:spcBef>
              <a:spcAft>
                <a:spcPts val="0"/>
              </a:spcAft>
              <a:buClr>
                <a:srgbClr val="008C4F"/>
              </a:buClr>
              <a:buSzTx/>
              <a:buFont typeface="Arial" panose="020B0604020202020204" pitchFamily="34" charset="0"/>
              <a:buChar char="•"/>
              <a:tabLst/>
              <a:defRPr/>
            </a:pPr>
            <a:r>
              <a:rPr kumimoji="0" lang="en-US" sz="1500" b="0" i="0" u="none" strike="noStrike" kern="1200" cap="none" spc="0" normalizeH="0" baseline="0" noProof="0" dirty="0">
                <a:ln>
                  <a:noFill/>
                </a:ln>
                <a:solidFill>
                  <a:srgbClr val="000000"/>
                </a:solidFill>
                <a:effectLst/>
                <a:uLnTx/>
                <a:uFillTx/>
                <a:latin typeface="Calibri" panose="020F0502020204030204"/>
                <a:ea typeface="+mn-ea"/>
                <a:cs typeface="+mn-cs"/>
              </a:rPr>
              <a:t>Customers Growth (comparing to the previous year)</a:t>
            </a:r>
          </a:p>
          <a:p>
            <a:pPr marL="331470" marR="0" lvl="1" indent="-285750" algn="l" defTabSz="829269" rtl="0" eaLnBrk="1" fontAlgn="base" latinLnBrk="0" hangingPunct="1">
              <a:lnSpc>
                <a:spcPct val="100000"/>
              </a:lnSpc>
              <a:spcBef>
                <a:spcPts val="0"/>
              </a:spcBef>
              <a:spcAft>
                <a:spcPts val="0"/>
              </a:spcAft>
              <a:buClr>
                <a:srgbClr val="008C4F"/>
              </a:buClr>
              <a:buSzTx/>
              <a:buFont typeface="Arial" panose="020B0604020202020204" pitchFamily="34" charset="0"/>
              <a:buChar char="•"/>
              <a:tabLst/>
              <a:defRPr/>
            </a:pPr>
            <a:r>
              <a:rPr kumimoji="0" lang="en-US" sz="1500" b="0" i="0" u="none" strike="noStrike" kern="1200" cap="none" spc="0" normalizeH="0" baseline="0" noProof="0" dirty="0">
                <a:ln>
                  <a:noFill/>
                </a:ln>
                <a:solidFill>
                  <a:srgbClr val="000000"/>
                </a:solidFill>
                <a:effectLst/>
                <a:uLnTx/>
                <a:uFillTx/>
                <a:latin typeface="Calibri" panose="020F0502020204030204"/>
                <a:ea typeface="+mn-ea"/>
                <a:cs typeface="+mn-cs"/>
              </a:rPr>
              <a:t>Total new customers</a:t>
            </a:r>
          </a:p>
          <a:p>
            <a:pPr marL="331470" marR="0" lvl="1" indent="-285750" algn="l" defTabSz="829269" rtl="0" eaLnBrk="1" fontAlgn="base" latinLnBrk="0" hangingPunct="1">
              <a:lnSpc>
                <a:spcPct val="100000"/>
              </a:lnSpc>
              <a:spcBef>
                <a:spcPts val="0"/>
              </a:spcBef>
              <a:spcAft>
                <a:spcPts val="0"/>
              </a:spcAft>
              <a:buClr>
                <a:srgbClr val="008C4F"/>
              </a:buClr>
              <a:buSzTx/>
              <a:buFont typeface="Arial" panose="020B0604020202020204" pitchFamily="34" charset="0"/>
              <a:buChar char="•"/>
              <a:tabLst/>
              <a:defRPr/>
            </a:pPr>
            <a:r>
              <a:rPr kumimoji="0" lang="en-US" sz="1500" b="0" i="0" u="none" strike="noStrike" kern="1200" cap="none" spc="0" normalizeH="0" baseline="0" noProof="0" dirty="0">
                <a:ln>
                  <a:noFill/>
                </a:ln>
                <a:solidFill>
                  <a:srgbClr val="000000"/>
                </a:solidFill>
                <a:effectLst/>
                <a:uLnTx/>
                <a:uFillTx/>
                <a:latin typeface="Calibri" panose="020F0502020204030204"/>
                <a:ea typeface="+mn-ea"/>
                <a:cs typeface="+mn-cs"/>
              </a:rPr>
              <a:t>Total regular customers</a:t>
            </a:r>
          </a:p>
          <a:p>
            <a:pPr marL="331470" marR="0" lvl="1" indent="-285750" algn="l" defTabSz="829269" rtl="0" eaLnBrk="1" fontAlgn="base" latinLnBrk="0" hangingPunct="1">
              <a:lnSpc>
                <a:spcPct val="100000"/>
              </a:lnSpc>
              <a:spcBef>
                <a:spcPts val="0"/>
              </a:spcBef>
              <a:spcAft>
                <a:spcPts val="0"/>
              </a:spcAft>
              <a:buClr>
                <a:srgbClr val="008C4F"/>
              </a:buClr>
              <a:buSzTx/>
              <a:buFont typeface="Arial" panose="020B0604020202020204" pitchFamily="34" charset="0"/>
              <a:buChar char="•"/>
              <a:tabLst/>
              <a:defRPr/>
            </a:pPr>
            <a:r>
              <a:rPr kumimoji="0" lang="en-US" sz="1500" b="0" i="0" u="none" strike="noStrike" kern="1200" cap="none" spc="0" normalizeH="0" baseline="0" noProof="0" dirty="0">
                <a:ln>
                  <a:noFill/>
                </a:ln>
                <a:solidFill>
                  <a:srgbClr val="000000"/>
                </a:solidFill>
                <a:effectLst/>
                <a:uLnTx/>
                <a:uFillTx/>
                <a:latin typeface="Calibri" panose="020F0502020204030204"/>
                <a:ea typeface="+mn-ea"/>
                <a:cs typeface="+mn-cs"/>
              </a:rPr>
              <a:t>Customer growth over time</a:t>
            </a:r>
          </a:p>
          <a:p>
            <a:pPr marL="331470" marR="0" lvl="1" indent="-285750" algn="l" defTabSz="829269" rtl="0" eaLnBrk="1" fontAlgn="base" latinLnBrk="0" hangingPunct="1">
              <a:lnSpc>
                <a:spcPct val="100000"/>
              </a:lnSpc>
              <a:spcBef>
                <a:spcPts val="0"/>
              </a:spcBef>
              <a:spcAft>
                <a:spcPts val="0"/>
              </a:spcAft>
              <a:buClr>
                <a:srgbClr val="008C4F"/>
              </a:buClr>
              <a:buSzTx/>
              <a:buFont typeface="Arial" panose="020B0604020202020204" pitchFamily="34" charset="0"/>
              <a:buChar char="•"/>
              <a:tabLst/>
              <a:defRPr/>
            </a:pPr>
            <a:r>
              <a:rPr kumimoji="0" lang="en-US" sz="1500" b="0" i="0" u="none" strike="noStrike" kern="1200" cap="none" spc="0" normalizeH="0" baseline="0" noProof="0" dirty="0">
                <a:ln>
                  <a:noFill/>
                </a:ln>
                <a:solidFill>
                  <a:srgbClr val="000000"/>
                </a:solidFill>
                <a:effectLst/>
                <a:uLnTx/>
                <a:uFillTx/>
                <a:latin typeface="Calibri" panose="020F0502020204030204"/>
                <a:ea typeface="+mn-ea"/>
                <a:cs typeface="+mn-cs"/>
              </a:rPr>
              <a:t>Average response time for each kind of Review</a:t>
            </a:r>
          </a:p>
          <a:p>
            <a:pPr marL="331470" marR="0" lvl="1" indent="-285750" algn="l" defTabSz="829269" rtl="0" eaLnBrk="1" fontAlgn="base" latinLnBrk="0" hangingPunct="1">
              <a:lnSpc>
                <a:spcPct val="100000"/>
              </a:lnSpc>
              <a:spcBef>
                <a:spcPts val="0"/>
              </a:spcBef>
              <a:spcAft>
                <a:spcPts val="0"/>
              </a:spcAft>
              <a:buClr>
                <a:srgbClr val="008C4F"/>
              </a:buClr>
              <a:buSzTx/>
              <a:buFont typeface="Arial" panose="020B0604020202020204" pitchFamily="34" charset="0"/>
              <a:buChar char="•"/>
              <a:tabLst/>
              <a:defRPr/>
            </a:pPr>
            <a:r>
              <a:rPr kumimoji="0" lang="en-US" sz="1500" b="0" i="0" u="none" strike="noStrike" kern="1200" cap="none" spc="0" normalizeH="0" baseline="0" noProof="0" dirty="0">
                <a:ln>
                  <a:noFill/>
                </a:ln>
                <a:solidFill>
                  <a:srgbClr val="000000"/>
                </a:solidFill>
                <a:effectLst/>
                <a:uLnTx/>
                <a:uFillTx/>
                <a:latin typeface="Calibri" panose="020F0502020204030204"/>
                <a:ea typeface="+mn-ea"/>
                <a:cs typeface="+mn-cs"/>
              </a:rPr>
              <a:t>Average review score over time</a:t>
            </a:r>
          </a:p>
          <a:p>
            <a:pPr marL="331470" marR="0" lvl="1" indent="-285750" algn="l" defTabSz="829269" rtl="0" eaLnBrk="1" fontAlgn="base" latinLnBrk="0" hangingPunct="1">
              <a:lnSpc>
                <a:spcPct val="100000"/>
              </a:lnSpc>
              <a:spcBef>
                <a:spcPts val="0"/>
              </a:spcBef>
              <a:spcAft>
                <a:spcPts val="0"/>
              </a:spcAft>
              <a:buClr>
                <a:srgbClr val="008C4F"/>
              </a:buClr>
              <a:buSzTx/>
              <a:buFont typeface="Arial" panose="020B0604020202020204" pitchFamily="34" charset="0"/>
              <a:buChar char="•"/>
              <a:tabLst/>
              <a:defRPr/>
            </a:pPr>
            <a:r>
              <a:rPr kumimoji="0" lang="en-US" sz="1500" b="0" i="0" u="none" strike="noStrike" kern="1200" cap="none" spc="0" normalizeH="0" baseline="0" noProof="0" dirty="0">
                <a:ln>
                  <a:noFill/>
                </a:ln>
                <a:solidFill>
                  <a:srgbClr val="000000"/>
                </a:solidFill>
                <a:effectLst/>
                <a:uLnTx/>
                <a:uFillTx/>
                <a:latin typeface="Calibri" panose="020F0502020204030204"/>
                <a:ea typeface="+mn-ea"/>
                <a:cs typeface="+mn-cs"/>
              </a:rPr>
              <a:t>Count of review score</a:t>
            </a:r>
          </a:p>
          <a:p>
            <a:pPr marL="45720" marR="0" lvl="1" algn="l" defTabSz="829269" rtl="0" eaLnBrk="1" fontAlgn="base" latinLnBrk="0" hangingPunct="1">
              <a:lnSpc>
                <a:spcPct val="100000"/>
              </a:lnSpc>
              <a:spcBef>
                <a:spcPts val="0"/>
              </a:spcBef>
              <a:spcAft>
                <a:spcPts val="0"/>
              </a:spcAft>
              <a:buClr>
                <a:srgbClr val="008C4F"/>
              </a:buClr>
              <a:buSzTx/>
              <a:tabLst/>
              <a:defRPr/>
            </a:pPr>
            <a:endParaRPr kumimoji="0" lang="en-US" sz="15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cxnSp>
        <p:nvCxnSpPr>
          <p:cNvPr id="41" name="Straight Connector 40">
            <a:extLst>
              <a:ext uri="{FF2B5EF4-FFF2-40B4-BE49-F238E27FC236}">
                <a16:creationId xmlns:a16="http://schemas.microsoft.com/office/drawing/2014/main" id="{75AEDD8A-9A75-4741-BE79-63FD3FB67655}"/>
              </a:ext>
            </a:extLst>
          </p:cNvPr>
          <p:cNvCxnSpPr/>
          <p:nvPr/>
        </p:nvCxnSpPr>
        <p:spPr>
          <a:xfrm>
            <a:off x="979315" y="3467792"/>
            <a:ext cx="3108960" cy="0"/>
          </a:xfrm>
          <a:prstGeom prst="line">
            <a:avLst/>
          </a:prstGeom>
          <a:ln w="9525" cap="rnd">
            <a:solidFill>
              <a:srgbClr val="9A9A9A"/>
            </a:solidFill>
            <a:prstDash val="sysDot"/>
            <a:round/>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0418E539-43CD-421B-8E55-9E47569E2FBF}"/>
              </a:ext>
            </a:extLst>
          </p:cNvPr>
          <p:cNvSpPr txBox="1"/>
          <p:nvPr/>
        </p:nvSpPr>
        <p:spPr>
          <a:xfrm>
            <a:off x="4794300" y="3085155"/>
            <a:ext cx="2728778" cy="344708"/>
          </a:xfrm>
          <a:prstGeom prst="rect">
            <a:avLst/>
          </a:prstGeom>
          <a:noFill/>
        </p:spPr>
        <p:txBody>
          <a:bodyPr wrap="square" lIns="0" tIns="36574" rIns="0" bIns="0" rtlCol="0">
            <a:spAutoFit/>
          </a:bodyPr>
          <a:lstStyle/>
          <a:p>
            <a:pPr marL="0" marR="0" lvl="0" indent="0" algn="ctr" defTabSz="829269" rtl="0" eaLnBrk="1" fontAlgn="base" latinLnBrk="0" hangingPunct="1">
              <a:lnSpc>
                <a:spcPct val="100000"/>
              </a:lnSpc>
              <a:spcBef>
                <a:spcPct val="0"/>
              </a:spcBef>
              <a:spcAft>
                <a:spcPts val="0"/>
              </a:spcAft>
              <a:buClr>
                <a:srgbClr val="FFE600"/>
              </a:buClr>
              <a:buSzPct val="70000"/>
              <a:buFontTx/>
              <a:buNone/>
              <a:tabLst/>
              <a:defRPr/>
            </a:pPr>
            <a:r>
              <a:rPr kumimoji="0" lang="en-US" sz="2000" b="0" i="0" u="none" strike="noStrike" kern="1200" cap="none" spc="0" normalizeH="0" baseline="0" noProof="0" dirty="0">
                <a:ln>
                  <a:noFill/>
                </a:ln>
                <a:solidFill>
                  <a:srgbClr val="008C4F"/>
                </a:solidFill>
                <a:effectLst/>
                <a:uLnTx/>
                <a:uFillTx/>
                <a:latin typeface="Trebuchet MS"/>
                <a:ea typeface="+mn-ea"/>
                <a:cs typeface="+mn-cs"/>
              </a:rPr>
              <a:t>Customer Satisfaction</a:t>
            </a:r>
          </a:p>
        </p:txBody>
      </p:sp>
      <p:cxnSp>
        <p:nvCxnSpPr>
          <p:cNvPr id="23" name="Straight Connector 22">
            <a:extLst>
              <a:ext uri="{FF2B5EF4-FFF2-40B4-BE49-F238E27FC236}">
                <a16:creationId xmlns:a16="http://schemas.microsoft.com/office/drawing/2014/main" id="{84AAC051-B51D-4A0C-B939-60BFF22EBF94}"/>
              </a:ext>
            </a:extLst>
          </p:cNvPr>
          <p:cNvCxnSpPr/>
          <p:nvPr/>
        </p:nvCxnSpPr>
        <p:spPr>
          <a:xfrm>
            <a:off x="4542196" y="3467792"/>
            <a:ext cx="3108960" cy="0"/>
          </a:xfrm>
          <a:prstGeom prst="line">
            <a:avLst/>
          </a:prstGeom>
          <a:ln w="9525" cap="rnd">
            <a:solidFill>
              <a:srgbClr val="9A9A9A"/>
            </a:solidFill>
            <a:prstDash val="sysDot"/>
            <a:round/>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E3F7FC53-6E32-4F10-B333-F09BFD125DC4}"/>
              </a:ext>
            </a:extLst>
          </p:cNvPr>
          <p:cNvCxnSpPr/>
          <p:nvPr/>
        </p:nvCxnSpPr>
        <p:spPr>
          <a:xfrm>
            <a:off x="8105073" y="3467792"/>
            <a:ext cx="3108960" cy="0"/>
          </a:xfrm>
          <a:prstGeom prst="line">
            <a:avLst/>
          </a:prstGeom>
          <a:ln w="9525" cap="rnd">
            <a:solidFill>
              <a:srgbClr val="9A9A9A"/>
            </a:solidFill>
            <a:prstDash val="sysDot"/>
            <a:round/>
          </a:ln>
        </p:spPr>
        <p:style>
          <a:lnRef idx="1">
            <a:schemeClr val="accent1"/>
          </a:lnRef>
          <a:fillRef idx="0">
            <a:schemeClr val="accent1"/>
          </a:fillRef>
          <a:effectRef idx="0">
            <a:schemeClr val="accent1"/>
          </a:effectRef>
          <a:fontRef idx="minor">
            <a:schemeClr val="tx1"/>
          </a:fontRef>
        </p:style>
      </p:cxnSp>
      <p:sp>
        <p:nvSpPr>
          <p:cNvPr id="19" name="Oval 18">
            <a:extLst>
              <a:ext uri="{FF2B5EF4-FFF2-40B4-BE49-F238E27FC236}">
                <a16:creationId xmlns:a16="http://schemas.microsoft.com/office/drawing/2014/main" id="{08BE54D5-8092-49B4-A56C-7FCFC88B7336}"/>
              </a:ext>
            </a:extLst>
          </p:cNvPr>
          <p:cNvSpPr/>
          <p:nvPr/>
        </p:nvSpPr>
        <p:spPr>
          <a:xfrm>
            <a:off x="5545409" y="1861855"/>
            <a:ext cx="1211290" cy="1205590"/>
          </a:xfrm>
          <a:prstGeom prst="ellipse">
            <a:avLst/>
          </a:prstGeom>
          <a:solidFill>
            <a:srgbClr val="FFFFFF"/>
          </a:solidFill>
          <a:ln w="38100"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95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lumMod val="50000"/>
                </a:prstClr>
              </a:solidFill>
              <a:effectLst/>
              <a:uLnTx/>
              <a:uFillTx/>
              <a:latin typeface="Calibri" panose="020F0502020204030204"/>
              <a:ea typeface="+mn-ea"/>
              <a:cs typeface="+mn-cs"/>
            </a:endParaRPr>
          </a:p>
        </p:txBody>
      </p:sp>
      <p:grpSp>
        <p:nvGrpSpPr>
          <p:cNvPr id="25" name="bcgIcons_Magnifying Glass, Search ">
            <a:extLst>
              <a:ext uri="{FF2B5EF4-FFF2-40B4-BE49-F238E27FC236}">
                <a16:creationId xmlns:a16="http://schemas.microsoft.com/office/drawing/2014/main" id="{D82E0767-E61D-42C5-BC0C-99886F4AAEC7}"/>
              </a:ext>
            </a:extLst>
          </p:cNvPr>
          <p:cNvGrpSpPr>
            <a:grpSpLocks noChangeAspect="1"/>
          </p:cNvGrpSpPr>
          <p:nvPr/>
        </p:nvGrpSpPr>
        <p:grpSpPr bwMode="auto">
          <a:xfrm>
            <a:off x="5666497" y="1979643"/>
            <a:ext cx="969116" cy="970014"/>
            <a:chOff x="1682" y="0"/>
            <a:chExt cx="4316" cy="4320"/>
          </a:xfrm>
        </p:grpSpPr>
        <p:sp>
          <p:nvSpPr>
            <p:cNvPr id="26" name="AutoShape 8">
              <a:extLst>
                <a:ext uri="{FF2B5EF4-FFF2-40B4-BE49-F238E27FC236}">
                  <a16:creationId xmlns:a16="http://schemas.microsoft.com/office/drawing/2014/main" id="{1C645C69-EA35-48DE-845B-866679B64027}"/>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0" name="Freeform 10">
              <a:extLst>
                <a:ext uri="{FF2B5EF4-FFF2-40B4-BE49-F238E27FC236}">
                  <a16:creationId xmlns:a16="http://schemas.microsoft.com/office/drawing/2014/main" id="{073E8011-B707-4060-9D57-FD4CFF1DF908}"/>
                </a:ext>
              </a:extLst>
            </p:cNvPr>
            <p:cNvSpPr>
              <a:spLocks noEditPoints="1"/>
            </p:cNvSpPr>
            <p:nvPr/>
          </p:nvSpPr>
          <p:spPr bwMode="auto">
            <a:xfrm>
              <a:off x="3280" y="703"/>
              <a:ext cx="1821" cy="1802"/>
            </a:xfrm>
            <a:custGeom>
              <a:avLst/>
              <a:gdLst>
                <a:gd name="T0" fmla="*/ 748 w 972"/>
                <a:gd name="T1" fmla="*/ 142 h 961"/>
                <a:gd name="T2" fmla="*/ 145 w 972"/>
                <a:gd name="T3" fmla="*/ 223 h 961"/>
                <a:gd name="T4" fmla="*/ 225 w 972"/>
                <a:gd name="T5" fmla="*/ 818 h 961"/>
                <a:gd name="T6" fmla="*/ 827 w 972"/>
                <a:gd name="T7" fmla="*/ 738 h 961"/>
                <a:gd name="T8" fmla="*/ 748 w 972"/>
                <a:gd name="T9" fmla="*/ 142 h 961"/>
                <a:gd name="T10" fmla="*/ 777 w 972"/>
                <a:gd name="T11" fmla="*/ 700 h 961"/>
                <a:gd name="T12" fmla="*/ 701 w 972"/>
                <a:gd name="T13" fmla="*/ 774 h 961"/>
                <a:gd name="T14" fmla="*/ 688 w 972"/>
                <a:gd name="T15" fmla="*/ 778 h 961"/>
                <a:gd name="T16" fmla="*/ 670 w 972"/>
                <a:gd name="T17" fmla="*/ 769 h 961"/>
                <a:gd name="T18" fmla="*/ 675 w 972"/>
                <a:gd name="T19" fmla="*/ 738 h 961"/>
                <a:gd name="T20" fmla="*/ 742 w 972"/>
                <a:gd name="T21" fmla="*/ 673 h 961"/>
                <a:gd name="T22" fmla="*/ 806 w 972"/>
                <a:gd name="T23" fmla="*/ 438 h 961"/>
                <a:gd name="T24" fmla="*/ 683 w 972"/>
                <a:gd name="T25" fmla="*/ 227 h 961"/>
                <a:gd name="T26" fmla="*/ 641 w 972"/>
                <a:gd name="T27" fmla="*/ 200 h 961"/>
                <a:gd name="T28" fmla="*/ 632 w 972"/>
                <a:gd name="T29" fmla="*/ 170 h 961"/>
                <a:gd name="T30" fmla="*/ 661 w 972"/>
                <a:gd name="T31" fmla="*/ 161 h 961"/>
                <a:gd name="T32" fmla="*/ 709 w 972"/>
                <a:gd name="T33" fmla="*/ 192 h 961"/>
                <a:gd name="T34" fmla="*/ 850 w 972"/>
                <a:gd name="T35" fmla="*/ 432 h 961"/>
                <a:gd name="T36" fmla="*/ 777 w 972"/>
                <a:gd name="T37" fmla="*/ 700 h 9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72" h="961">
                  <a:moveTo>
                    <a:pt x="748" y="142"/>
                  </a:moveTo>
                  <a:cubicBezTo>
                    <a:pt x="560" y="0"/>
                    <a:pt x="290" y="36"/>
                    <a:pt x="145" y="223"/>
                  </a:cubicBezTo>
                  <a:cubicBezTo>
                    <a:pt x="0" y="409"/>
                    <a:pt x="35" y="676"/>
                    <a:pt x="225" y="818"/>
                  </a:cubicBezTo>
                  <a:cubicBezTo>
                    <a:pt x="413" y="961"/>
                    <a:pt x="683" y="925"/>
                    <a:pt x="827" y="738"/>
                  </a:cubicBezTo>
                  <a:cubicBezTo>
                    <a:pt x="972" y="551"/>
                    <a:pt x="936" y="285"/>
                    <a:pt x="748" y="142"/>
                  </a:cubicBezTo>
                  <a:close/>
                  <a:moveTo>
                    <a:pt x="777" y="700"/>
                  </a:moveTo>
                  <a:cubicBezTo>
                    <a:pt x="755" y="729"/>
                    <a:pt x="730" y="753"/>
                    <a:pt x="701" y="774"/>
                  </a:cubicBezTo>
                  <a:cubicBezTo>
                    <a:pt x="697" y="777"/>
                    <a:pt x="692" y="778"/>
                    <a:pt x="688" y="778"/>
                  </a:cubicBezTo>
                  <a:cubicBezTo>
                    <a:pt x="681" y="778"/>
                    <a:pt x="674" y="775"/>
                    <a:pt x="670" y="769"/>
                  </a:cubicBezTo>
                  <a:cubicBezTo>
                    <a:pt x="663" y="759"/>
                    <a:pt x="665" y="746"/>
                    <a:pt x="675" y="738"/>
                  </a:cubicBezTo>
                  <a:cubicBezTo>
                    <a:pt x="700" y="720"/>
                    <a:pt x="723" y="698"/>
                    <a:pt x="742" y="673"/>
                  </a:cubicBezTo>
                  <a:cubicBezTo>
                    <a:pt x="795" y="606"/>
                    <a:pt x="817" y="522"/>
                    <a:pt x="806" y="438"/>
                  </a:cubicBezTo>
                  <a:cubicBezTo>
                    <a:pt x="795" y="353"/>
                    <a:pt x="751" y="279"/>
                    <a:pt x="683" y="227"/>
                  </a:cubicBezTo>
                  <a:cubicBezTo>
                    <a:pt x="669" y="217"/>
                    <a:pt x="655" y="208"/>
                    <a:pt x="641" y="200"/>
                  </a:cubicBezTo>
                  <a:cubicBezTo>
                    <a:pt x="630" y="194"/>
                    <a:pt x="626" y="181"/>
                    <a:pt x="632" y="170"/>
                  </a:cubicBezTo>
                  <a:cubicBezTo>
                    <a:pt x="637" y="159"/>
                    <a:pt x="651" y="155"/>
                    <a:pt x="661" y="161"/>
                  </a:cubicBezTo>
                  <a:cubicBezTo>
                    <a:pt x="678" y="170"/>
                    <a:pt x="694" y="180"/>
                    <a:pt x="709" y="192"/>
                  </a:cubicBezTo>
                  <a:cubicBezTo>
                    <a:pt x="787" y="251"/>
                    <a:pt x="837" y="336"/>
                    <a:pt x="850" y="432"/>
                  </a:cubicBezTo>
                  <a:cubicBezTo>
                    <a:pt x="862" y="528"/>
                    <a:pt x="837" y="623"/>
                    <a:pt x="777" y="700"/>
                  </a:cubicBezTo>
                  <a:close/>
                </a:path>
              </a:pathLst>
            </a:custGeom>
            <a:solidFill>
              <a:srgbClr val="008C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1" name="Freeform 11">
              <a:extLst>
                <a:ext uri="{FF2B5EF4-FFF2-40B4-BE49-F238E27FC236}">
                  <a16:creationId xmlns:a16="http://schemas.microsoft.com/office/drawing/2014/main" id="{6DB7D5D2-FB57-4B55-BA6D-704276DD1C9A}"/>
                </a:ext>
              </a:extLst>
            </p:cNvPr>
            <p:cNvSpPr>
              <a:spLocks noEditPoints="1"/>
            </p:cNvSpPr>
            <p:nvPr/>
          </p:nvSpPr>
          <p:spPr bwMode="auto">
            <a:xfrm>
              <a:off x="2422" y="465"/>
              <a:ext cx="2904" cy="3306"/>
            </a:xfrm>
            <a:custGeom>
              <a:avLst/>
              <a:gdLst>
                <a:gd name="T0" fmla="*/ 1270 w 1550"/>
                <a:gd name="T1" fmla="*/ 179 h 1763"/>
                <a:gd name="T2" fmla="*/ 517 w 1550"/>
                <a:gd name="T3" fmla="*/ 280 h 1763"/>
                <a:gd name="T4" fmla="*/ 545 w 1550"/>
                <a:gd name="T5" fmla="*/ 965 h 1763"/>
                <a:gd name="T6" fmla="*/ 437 w 1550"/>
                <a:gd name="T7" fmla="*/ 1107 h 1763"/>
                <a:gd name="T8" fmla="*/ 587 w 1550"/>
                <a:gd name="T9" fmla="*/ 1222 h 1763"/>
                <a:gd name="T10" fmla="*/ 694 w 1550"/>
                <a:gd name="T11" fmla="*/ 1082 h 1763"/>
                <a:gd name="T12" fmla="*/ 1370 w 1550"/>
                <a:gd name="T13" fmla="*/ 933 h 1763"/>
                <a:gd name="T14" fmla="*/ 1270 w 1550"/>
                <a:gd name="T15" fmla="*/ 179 h 1763"/>
                <a:gd name="T16" fmla="*/ 1317 w 1550"/>
                <a:gd name="T17" fmla="*/ 892 h 1763"/>
                <a:gd name="T18" fmla="*/ 701 w 1550"/>
                <a:gd name="T19" fmla="*/ 1009 h 1763"/>
                <a:gd name="T20" fmla="*/ 658 w 1550"/>
                <a:gd name="T21" fmla="*/ 980 h 1763"/>
                <a:gd name="T22" fmla="*/ 614 w 1550"/>
                <a:gd name="T23" fmla="*/ 941 h 1763"/>
                <a:gd name="T24" fmla="*/ 570 w 1550"/>
                <a:gd name="T25" fmla="*/ 320 h 1763"/>
                <a:gd name="T26" fmla="*/ 1229 w 1550"/>
                <a:gd name="T27" fmla="*/ 233 h 1763"/>
                <a:gd name="T28" fmla="*/ 1317 w 1550"/>
                <a:gd name="T29" fmla="*/ 892 h 1763"/>
                <a:gd name="T30" fmla="*/ 181 w 1550"/>
                <a:gd name="T31" fmla="*/ 1763 h 1763"/>
                <a:gd name="T32" fmla="*/ 162 w 1550"/>
                <a:gd name="T33" fmla="*/ 1761 h 1763"/>
                <a:gd name="T34" fmla="*/ 83 w 1550"/>
                <a:gd name="T35" fmla="*/ 1724 h 1763"/>
                <a:gd name="T36" fmla="*/ 27 w 1550"/>
                <a:gd name="T37" fmla="*/ 1584 h 1763"/>
                <a:gd name="T38" fmla="*/ 367 w 1550"/>
                <a:gd name="T39" fmla="*/ 1136 h 1763"/>
                <a:gd name="T40" fmla="*/ 382 w 1550"/>
                <a:gd name="T41" fmla="*/ 1128 h 1763"/>
                <a:gd name="T42" fmla="*/ 398 w 1550"/>
                <a:gd name="T43" fmla="*/ 1132 h 1763"/>
                <a:gd name="T44" fmla="*/ 568 w 1550"/>
                <a:gd name="T45" fmla="*/ 1263 h 1763"/>
                <a:gd name="T46" fmla="*/ 572 w 1550"/>
                <a:gd name="T47" fmla="*/ 1294 h 1763"/>
                <a:gd name="T48" fmla="*/ 233 w 1550"/>
                <a:gd name="T49" fmla="*/ 1740 h 1763"/>
                <a:gd name="T50" fmla="*/ 181 w 1550"/>
                <a:gd name="T51" fmla="*/ 1763 h 1763"/>
                <a:gd name="T52" fmla="*/ 389 w 1550"/>
                <a:gd name="T53" fmla="*/ 1181 h 1763"/>
                <a:gd name="T54" fmla="*/ 62 w 1550"/>
                <a:gd name="T55" fmla="*/ 1610 h 1763"/>
                <a:gd name="T56" fmla="*/ 109 w 1550"/>
                <a:gd name="T57" fmla="*/ 1689 h 1763"/>
                <a:gd name="T58" fmla="*/ 170 w 1550"/>
                <a:gd name="T59" fmla="*/ 1718 h 1763"/>
                <a:gd name="T60" fmla="*/ 198 w 1550"/>
                <a:gd name="T61" fmla="*/ 1714 h 1763"/>
                <a:gd name="T62" fmla="*/ 524 w 1550"/>
                <a:gd name="T63" fmla="*/ 1284 h 1763"/>
                <a:gd name="T64" fmla="*/ 389 w 1550"/>
                <a:gd name="T65" fmla="*/ 1181 h 17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550" h="1763">
                  <a:moveTo>
                    <a:pt x="1270" y="179"/>
                  </a:moveTo>
                  <a:cubicBezTo>
                    <a:pt x="1034" y="0"/>
                    <a:pt x="697" y="45"/>
                    <a:pt x="517" y="280"/>
                  </a:cubicBezTo>
                  <a:cubicBezTo>
                    <a:pt x="358" y="488"/>
                    <a:pt x="375" y="777"/>
                    <a:pt x="545" y="965"/>
                  </a:cubicBezTo>
                  <a:cubicBezTo>
                    <a:pt x="466" y="1068"/>
                    <a:pt x="444" y="1098"/>
                    <a:pt x="437" y="1107"/>
                  </a:cubicBezTo>
                  <a:cubicBezTo>
                    <a:pt x="587" y="1222"/>
                    <a:pt x="587" y="1222"/>
                    <a:pt x="587" y="1222"/>
                  </a:cubicBezTo>
                  <a:cubicBezTo>
                    <a:pt x="694" y="1082"/>
                    <a:pt x="694" y="1082"/>
                    <a:pt x="694" y="1082"/>
                  </a:cubicBezTo>
                  <a:cubicBezTo>
                    <a:pt x="921" y="1201"/>
                    <a:pt x="1209" y="1143"/>
                    <a:pt x="1370" y="933"/>
                  </a:cubicBezTo>
                  <a:cubicBezTo>
                    <a:pt x="1550" y="697"/>
                    <a:pt x="1505" y="360"/>
                    <a:pt x="1270" y="179"/>
                  </a:cubicBezTo>
                  <a:close/>
                  <a:moveTo>
                    <a:pt x="1317" y="892"/>
                  </a:moveTo>
                  <a:cubicBezTo>
                    <a:pt x="1170" y="1084"/>
                    <a:pt x="903" y="1131"/>
                    <a:pt x="701" y="1009"/>
                  </a:cubicBezTo>
                  <a:cubicBezTo>
                    <a:pt x="686" y="1000"/>
                    <a:pt x="672" y="990"/>
                    <a:pt x="658" y="980"/>
                  </a:cubicBezTo>
                  <a:cubicBezTo>
                    <a:pt x="643" y="968"/>
                    <a:pt x="628" y="955"/>
                    <a:pt x="614" y="941"/>
                  </a:cubicBezTo>
                  <a:cubicBezTo>
                    <a:pt x="447" y="778"/>
                    <a:pt x="425" y="511"/>
                    <a:pt x="570" y="320"/>
                  </a:cubicBezTo>
                  <a:cubicBezTo>
                    <a:pt x="728" y="114"/>
                    <a:pt x="1023" y="75"/>
                    <a:pt x="1229" y="233"/>
                  </a:cubicBezTo>
                  <a:cubicBezTo>
                    <a:pt x="1435" y="390"/>
                    <a:pt x="1474" y="686"/>
                    <a:pt x="1317" y="892"/>
                  </a:cubicBezTo>
                  <a:close/>
                  <a:moveTo>
                    <a:pt x="181" y="1763"/>
                  </a:moveTo>
                  <a:cubicBezTo>
                    <a:pt x="175" y="1763"/>
                    <a:pt x="169" y="1762"/>
                    <a:pt x="162" y="1761"/>
                  </a:cubicBezTo>
                  <a:cubicBezTo>
                    <a:pt x="137" y="1757"/>
                    <a:pt x="108" y="1743"/>
                    <a:pt x="83" y="1724"/>
                  </a:cubicBezTo>
                  <a:cubicBezTo>
                    <a:pt x="24" y="1679"/>
                    <a:pt x="0" y="1619"/>
                    <a:pt x="27" y="1584"/>
                  </a:cubicBezTo>
                  <a:cubicBezTo>
                    <a:pt x="367" y="1136"/>
                    <a:pt x="367" y="1136"/>
                    <a:pt x="367" y="1136"/>
                  </a:cubicBezTo>
                  <a:cubicBezTo>
                    <a:pt x="371" y="1132"/>
                    <a:pt x="376" y="1129"/>
                    <a:pt x="382" y="1128"/>
                  </a:cubicBezTo>
                  <a:cubicBezTo>
                    <a:pt x="387" y="1127"/>
                    <a:pt x="393" y="1129"/>
                    <a:pt x="398" y="1132"/>
                  </a:cubicBezTo>
                  <a:cubicBezTo>
                    <a:pt x="568" y="1263"/>
                    <a:pt x="568" y="1263"/>
                    <a:pt x="568" y="1263"/>
                  </a:cubicBezTo>
                  <a:cubicBezTo>
                    <a:pt x="578" y="1270"/>
                    <a:pt x="579" y="1284"/>
                    <a:pt x="572" y="1294"/>
                  </a:cubicBezTo>
                  <a:cubicBezTo>
                    <a:pt x="233" y="1740"/>
                    <a:pt x="233" y="1740"/>
                    <a:pt x="233" y="1740"/>
                  </a:cubicBezTo>
                  <a:cubicBezTo>
                    <a:pt x="221" y="1755"/>
                    <a:pt x="203" y="1763"/>
                    <a:pt x="181" y="1763"/>
                  </a:cubicBezTo>
                  <a:close/>
                  <a:moveTo>
                    <a:pt x="389" y="1181"/>
                  </a:moveTo>
                  <a:cubicBezTo>
                    <a:pt x="62" y="1610"/>
                    <a:pt x="62" y="1610"/>
                    <a:pt x="62" y="1610"/>
                  </a:cubicBezTo>
                  <a:cubicBezTo>
                    <a:pt x="54" y="1621"/>
                    <a:pt x="69" y="1658"/>
                    <a:pt x="109" y="1689"/>
                  </a:cubicBezTo>
                  <a:cubicBezTo>
                    <a:pt x="129" y="1704"/>
                    <a:pt x="151" y="1714"/>
                    <a:pt x="170" y="1718"/>
                  </a:cubicBezTo>
                  <a:cubicBezTo>
                    <a:pt x="183" y="1720"/>
                    <a:pt x="194" y="1718"/>
                    <a:pt x="198" y="1714"/>
                  </a:cubicBezTo>
                  <a:cubicBezTo>
                    <a:pt x="524" y="1284"/>
                    <a:pt x="524" y="1284"/>
                    <a:pt x="524" y="1284"/>
                  </a:cubicBezTo>
                  <a:lnTo>
                    <a:pt x="389" y="1181"/>
                  </a:lnTo>
                  <a:close/>
                </a:path>
              </a:pathLst>
            </a:custGeom>
            <a:solidFill>
              <a:srgbClr val="004E2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grpSp>
      <p:sp>
        <p:nvSpPr>
          <p:cNvPr id="56" name="Title 1">
            <a:extLst>
              <a:ext uri="{FF2B5EF4-FFF2-40B4-BE49-F238E27FC236}">
                <a16:creationId xmlns:a16="http://schemas.microsoft.com/office/drawing/2014/main" id="{D3D02270-8215-70B8-F877-FA4081BA3220}"/>
              </a:ext>
            </a:extLst>
          </p:cNvPr>
          <p:cNvSpPr txBox="1">
            <a:spLocks/>
          </p:cNvSpPr>
          <p:nvPr/>
        </p:nvSpPr>
        <p:spPr>
          <a:xfrm>
            <a:off x="422203" y="601158"/>
            <a:ext cx="10933200" cy="701690"/>
          </a:xfrm>
          <a:prstGeom prst="rect">
            <a:avLst/>
          </a:prstGeom>
          <a:noFill/>
          <a:ln>
            <a:noFill/>
          </a:ln>
        </p:spPr>
        <p:txBody>
          <a:bodyPr spcFirstLastPara="1" vert="horz" wrap="square" lIns="91425" tIns="45700" rIns="91425" bIns="45700" anchor="ctr" anchorCtr="0">
            <a:spAutoFit/>
          </a:bodyPr>
          <a:lstStyle>
            <a:defPPr marR="0" lvl="0" algn="l" rtl="0">
              <a:lnSpc>
                <a:spcPct val="100000"/>
              </a:lnSpc>
              <a:spcBef>
                <a:spcPts val="0"/>
              </a:spcBef>
              <a:spcAft>
                <a:spcPts val="0"/>
              </a:spcAft>
            </a:defPPr>
            <a:lvl1pPr marR="0" lvl="0" algn="l" rtl="0">
              <a:lnSpc>
                <a:spcPct val="90000"/>
              </a:lnSpc>
              <a:spcBef>
                <a:spcPts val="0"/>
              </a:spcBef>
              <a:spcAft>
                <a:spcPts val="0"/>
              </a:spcAft>
              <a:buClr>
                <a:schemeClr val="dk1"/>
              </a:buClr>
              <a:buSzPts val="1800"/>
              <a:buFont typeface="Calibri"/>
              <a:buNone/>
              <a:defRPr sz="44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r>
              <a:rPr lang="en-US" dirty="0">
                <a:solidFill>
                  <a:srgbClr val="D4DF33"/>
                </a:solidFill>
                <a:latin typeface="Calibri" panose="020F0502020204030204" pitchFamily="34" charset="0"/>
              </a:rPr>
              <a:t>2. First step – </a:t>
            </a:r>
            <a:r>
              <a:rPr lang="en-US" dirty="0">
                <a:solidFill>
                  <a:srgbClr val="FFFFFF"/>
                </a:solidFill>
                <a:latin typeface="Calibri" panose="020F0502020204030204" pitchFamily="34" charset="0"/>
              </a:rPr>
              <a:t>Ask</a:t>
            </a:r>
          </a:p>
        </p:txBody>
      </p:sp>
    </p:spTree>
    <p:extLst>
      <p:ext uri="{BB962C8B-B14F-4D97-AF65-F5344CB8AC3E}">
        <p14:creationId xmlns:p14="http://schemas.microsoft.com/office/powerpoint/2010/main" val="2570386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D1449AF9-9149-90F1-7EBA-5984D44703A0}"/>
              </a:ext>
            </a:extLst>
          </p:cNvPr>
          <p:cNvSpPr/>
          <p:nvPr/>
        </p:nvSpPr>
        <p:spPr>
          <a:xfrm>
            <a:off x="-11957" y="3738799"/>
            <a:ext cx="1046952" cy="1107996"/>
          </a:xfrm>
          <a:prstGeom prst="rect">
            <a:avLst/>
          </a:prstGeom>
          <a:solidFill>
            <a:schemeClr val="tx2"/>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err="1">
              <a:solidFill>
                <a:schemeClr val="bg1"/>
              </a:solidFill>
            </a:endParaRPr>
          </a:p>
        </p:txBody>
      </p:sp>
      <p:grpSp>
        <p:nvGrpSpPr>
          <p:cNvPr id="4" name="Group 3">
            <a:extLst>
              <a:ext uri="{FF2B5EF4-FFF2-40B4-BE49-F238E27FC236}">
                <a16:creationId xmlns:a16="http://schemas.microsoft.com/office/drawing/2014/main" id="{66D74861-CA44-8BED-B7EE-4B9237D05526}"/>
              </a:ext>
            </a:extLst>
          </p:cNvPr>
          <p:cNvGrpSpPr/>
          <p:nvPr/>
        </p:nvGrpSpPr>
        <p:grpSpPr>
          <a:xfrm>
            <a:off x="628651" y="2482223"/>
            <a:ext cx="4409589" cy="3621147"/>
            <a:chOff x="628651" y="2619633"/>
            <a:chExt cx="4409589" cy="3621147"/>
          </a:xfrm>
        </p:grpSpPr>
        <p:sp>
          <p:nvSpPr>
            <p:cNvPr id="5" name="Freeform: Shape 4">
              <a:extLst>
                <a:ext uri="{FF2B5EF4-FFF2-40B4-BE49-F238E27FC236}">
                  <a16:creationId xmlns:a16="http://schemas.microsoft.com/office/drawing/2014/main" id="{375BC08D-60EA-08C2-1D67-0CCF9A294623}"/>
                </a:ext>
              </a:extLst>
            </p:cNvPr>
            <p:cNvSpPr/>
            <p:nvPr/>
          </p:nvSpPr>
          <p:spPr>
            <a:xfrm>
              <a:off x="628652" y="4413109"/>
              <a:ext cx="4404614" cy="1827671"/>
            </a:xfrm>
            <a:custGeom>
              <a:avLst/>
              <a:gdLst>
                <a:gd name="connsiteX0" fmla="*/ 0 w 3413760"/>
                <a:gd name="connsiteY0" fmla="*/ 0 h 2164080"/>
                <a:gd name="connsiteX1" fmla="*/ 0 w 3413760"/>
                <a:gd name="connsiteY1" fmla="*/ 2026920 h 2164080"/>
                <a:gd name="connsiteX2" fmla="*/ 137160 w 3413760"/>
                <a:gd name="connsiteY2" fmla="*/ 2164080 h 2164080"/>
                <a:gd name="connsiteX3" fmla="*/ 3317240 w 3413760"/>
                <a:gd name="connsiteY3" fmla="*/ 2164080 h 2164080"/>
                <a:gd name="connsiteX4" fmla="*/ 3413760 w 3413760"/>
                <a:gd name="connsiteY4" fmla="*/ 2067560 h 2164080"/>
                <a:gd name="connsiteX5" fmla="*/ 3413760 w 3413760"/>
                <a:gd name="connsiteY5" fmla="*/ 60960 h 2164080"/>
                <a:gd name="connsiteX0" fmla="*/ 0 w 3413760"/>
                <a:gd name="connsiteY0" fmla="*/ 0 h 2164080"/>
                <a:gd name="connsiteX1" fmla="*/ 0 w 3413760"/>
                <a:gd name="connsiteY1" fmla="*/ 2026920 h 2164080"/>
                <a:gd name="connsiteX2" fmla="*/ 137160 w 3413760"/>
                <a:gd name="connsiteY2" fmla="*/ 2164080 h 2164080"/>
                <a:gd name="connsiteX3" fmla="*/ 3317240 w 3413760"/>
                <a:gd name="connsiteY3" fmla="*/ 2164080 h 2164080"/>
                <a:gd name="connsiteX4" fmla="*/ 3413760 w 3413760"/>
                <a:gd name="connsiteY4" fmla="*/ 2067560 h 2164080"/>
                <a:gd name="connsiteX5" fmla="*/ 3413760 w 3413760"/>
                <a:gd name="connsiteY5" fmla="*/ 60960 h 2164080"/>
                <a:gd name="connsiteX0" fmla="*/ 0 w 3413760"/>
                <a:gd name="connsiteY0" fmla="*/ 0 h 2164080"/>
                <a:gd name="connsiteX1" fmla="*/ 0 w 3413760"/>
                <a:gd name="connsiteY1" fmla="*/ 2026920 h 2164080"/>
                <a:gd name="connsiteX2" fmla="*/ 137160 w 3413760"/>
                <a:gd name="connsiteY2" fmla="*/ 2164080 h 2164080"/>
                <a:gd name="connsiteX3" fmla="*/ 3317240 w 3413760"/>
                <a:gd name="connsiteY3" fmla="*/ 2164080 h 2164080"/>
                <a:gd name="connsiteX4" fmla="*/ 3413760 w 3413760"/>
                <a:gd name="connsiteY4" fmla="*/ 2067560 h 2164080"/>
                <a:gd name="connsiteX5" fmla="*/ 3413760 w 3413760"/>
                <a:gd name="connsiteY5" fmla="*/ 60960 h 2164080"/>
                <a:gd name="connsiteX0" fmla="*/ 0 w 3413760"/>
                <a:gd name="connsiteY0" fmla="*/ 0 h 2164080"/>
                <a:gd name="connsiteX1" fmla="*/ 0 w 3413760"/>
                <a:gd name="connsiteY1" fmla="*/ 2026920 h 2164080"/>
                <a:gd name="connsiteX2" fmla="*/ 137160 w 3413760"/>
                <a:gd name="connsiteY2" fmla="*/ 2164080 h 2164080"/>
                <a:gd name="connsiteX3" fmla="*/ 3317240 w 3413760"/>
                <a:gd name="connsiteY3" fmla="*/ 2164080 h 2164080"/>
                <a:gd name="connsiteX4" fmla="*/ 3413760 w 3413760"/>
                <a:gd name="connsiteY4" fmla="*/ 2067560 h 2164080"/>
                <a:gd name="connsiteX5" fmla="*/ 3413760 w 3413760"/>
                <a:gd name="connsiteY5" fmla="*/ 60960 h 2164080"/>
                <a:gd name="connsiteX0" fmla="*/ 0 w 3413760"/>
                <a:gd name="connsiteY0" fmla="*/ 0 h 2164080"/>
                <a:gd name="connsiteX1" fmla="*/ 0 w 3413760"/>
                <a:gd name="connsiteY1" fmla="*/ 2026920 h 2164080"/>
                <a:gd name="connsiteX2" fmla="*/ 137160 w 3413760"/>
                <a:gd name="connsiteY2" fmla="*/ 2164080 h 2164080"/>
                <a:gd name="connsiteX3" fmla="*/ 3317240 w 3413760"/>
                <a:gd name="connsiteY3" fmla="*/ 2164080 h 2164080"/>
                <a:gd name="connsiteX4" fmla="*/ 3413760 w 3413760"/>
                <a:gd name="connsiteY4" fmla="*/ 2046605 h 2164080"/>
                <a:gd name="connsiteX5" fmla="*/ 3413760 w 3413760"/>
                <a:gd name="connsiteY5" fmla="*/ 60960 h 2164080"/>
                <a:gd name="connsiteX0" fmla="*/ 0 w 3414349"/>
                <a:gd name="connsiteY0" fmla="*/ 0 h 2164080"/>
                <a:gd name="connsiteX1" fmla="*/ 0 w 3414349"/>
                <a:gd name="connsiteY1" fmla="*/ 2026920 h 2164080"/>
                <a:gd name="connsiteX2" fmla="*/ 137160 w 3414349"/>
                <a:gd name="connsiteY2" fmla="*/ 2164080 h 2164080"/>
                <a:gd name="connsiteX3" fmla="*/ 3317240 w 3414349"/>
                <a:gd name="connsiteY3" fmla="*/ 2164080 h 2164080"/>
                <a:gd name="connsiteX4" fmla="*/ 3413760 w 3414349"/>
                <a:gd name="connsiteY4" fmla="*/ 2046605 h 2164080"/>
                <a:gd name="connsiteX5" fmla="*/ 3413760 w 3414349"/>
                <a:gd name="connsiteY5" fmla="*/ 60960 h 2164080"/>
                <a:gd name="connsiteX0" fmla="*/ 0 w 3414556"/>
                <a:gd name="connsiteY0" fmla="*/ 0 h 2164080"/>
                <a:gd name="connsiteX1" fmla="*/ 0 w 3414556"/>
                <a:gd name="connsiteY1" fmla="*/ 2026920 h 2164080"/>
                <a:gd name="connsiteX2" fmla="*/ 137160 w 3414556"/>
                <a:gd name="connsiteY2" fmla="*/ 2164080 h 2164080"/>
                <a:gd name="connsiteX3" fmla="*/ 3317240 w 3414556"/>
                <a:gd name="connsiteY3" fmla="*/ 2164080 h 2164080"/>
                <a:gd name="connsiteX4" fmla="*/ 3413760 w 3414556"/>
                <a:gd name="connsiteY4" fmla="*/ 2046605 h 2164080"/>
                <a:gd name="connsiteX5" fmla="*/ 3413760 w 3414556"/>
                <a:gd name="connsiteY5" fmla="*/ 60960 h 2164080"/>
                <a:gd name="connsiteX0" fmla="*/ 0 w 3413760"/>
                <a:gd name="connsiteY0" fmla="*/ 0 h 2164080"/>
                <a:gd name="connsiteX1" fmla="*/ 0 w 3413760"/>
                <a:gd name="connsiteY1" fmla="*/ 2026920 h 2164080"/>
                <a:gd name="connsiteX2" fmla="*/ 137160 w 3413760"/>
                <a:gd name="connsiteY2" fmla="*/ 2164080 h 2164080"/>
                <a:gd name="connsiteX3" fmla="*/ 3317240 w 3413760"/>
                <a:gd name="connsiteY3" fmla="*/ 2164080 h 2164080"/>
                <a:gd name="connsiteX4" fmla="*/ 3413760 w 3413760"/>
                <a:gd name="connsiteY4" fmla="*/ 2046605 h 2164080"/>
                <a:gd name="connsiteX5" fmla="*/ 3413760 w 3413760"/>
                <a:gd name="connsiteY5" fmla="*/ 60960 h 2164080"/>
                <a:gd name="connsiteX0" fmla="*/ 0 w 3413760"/>
                <a:gd name="connsiteY0" fmla="*/ 0 h 2164080"/>
                <a:gd name="connsiteX1" fmla="*/ 0 w 3413760"/>
                <a:gd name="connsiteY1" fmla="*/ 2026920 h 2164080"/>
                <a:gd name="connsiteX2" fmla="*/ 137160 w 3413760"/>
                <a:gd name="connsiteY2" fmla="*/ 2164080 h 2164080"/>
                <a:gd name="connsiteX3" fmla="*/ 3317240 w 3413760"/>
                <a:gd name="connsiteY3" fmla="*/ 2164080 h 2164080"/>
                <a:gd name="connsiteX4" fmla="*/ 3413760 w 3413760"/>
                <a:gd name="connsiteY4" fmla="*/ 2046605 h 2164080"/>
                <a:gd name="connsiteX5" fmla="*/ 3413760 w 3413760"/>
                <a:gd name="connsiteY5" fmla="*/ 60960 h 2164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13760" h="2164080">
                  <a:moveTo>
                    <a:pt x="0" y="0"/>
                  </a:moveTo>
                  <a:lnTo>
                    <a:pt x="0" y="2026920"/>
                  </a:lnTo>
                  <a:cubicBezTo>
                    <a:pt x="0" y="2105025"/>
                    <a:pt x="17145" y="2158365"/>
                    <a:pt x="137160" y="2164080"/>
                  </a:cubicBezTo>
                  <a:lnTo>
                    <a:pt x="3317240" y="2164080"/>
                  </a:lnTo>
                  <a:cubicBezTo>
                    <a:pt x="3377988" y="2157307"/>
                    <a:pt x="3413972" y="2114338"/>
                    <a:pt x="3413760" y="2046605"/>
                  </a:cubicBezTo>
                  <a:lnTo>
                    <a:pt x="3413760" y="60960"/>
                  </a:lnTo>
                </a:path>
              </a:pathLst>
            </a:custGeom>
            <a:noFill/>
            <a:ln w="19050">
              <a:solidFill>
                <a:schemeClr val="tx2"/>
              </a:solidFill>
            </a:ln>
          </p:spPr>
          <p:style>
            <a:lnRef idx="1">
              <a:schemeClr val="dk1"/>
            </a:lnRef>
            <a:fillRef idx="0">
              <a:schemeClr val="dk1"/>
            </a:fillRef>
            <a:effectRef idx="0">
              <a:schemeClr val="dk1"/>
            </a:effectRef>
            <a:fontRef idx="minor">
              <a:schemeClr val="tx1"/>
            </a:fontRef>
          </p:style>
          <p:txBody>
            <a:bodyPr rtlCol="0" anchor="ctr"/>
            <a:lstStyle/>
            <a:p>
              <a:pPr algn="ctr"/>
              <a:endParaRPr lang="en-US"/>
            </a:p>
          </p:txBody>
        </p:sp>
        <p:sp>
          <p:nvSpPr>
            <p:cNvPr id="6" name="Rectangle: Rounded Corners 5">
              <a:extLst>
                <a:ext uri="{FF2B5EF4-FFF2-40B4-BE49-F238E27FC236}">
                  <a16:creationId xmlns:a16="http://schemas.microsoft.com/office/drawing/2014/main" id="{104016CD-12A5-E03B-E7EF-F14079DC74B3}"/>
                </a:ext>
              </a:extLst>
            </p:cNvPr>
            <p:cNvSpPr/>
            <p:nvPr/>
          </p:nvSpPr>
          <p:spPr>
            <a:xfrm>
              <a:off x="647699" y="2649284"/>
              <a:ext cx="4368801" cy="3568636"/>
            </a:xfrm>
            <a:prstGeom prst="roundRect">
              <a:avLst>
                <a:gd name="adj" fmla="val 2664"/>
              </a:avLst>
            </a:prstGeom>
            <a:solidFill>
              <a:srgbClr val="FFFFFF"/>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err="1">
                <a:solidFill>
                  <a:schemeClr val="bg1"/>
                </a:solidFill>
              </a:endParaRPr>
            </a:p>
          </p:txBody>
        </p:sp>
        <p:sp>
          <p:nvSpPr>
            <p:cNvPr id="7" name="Freeform: Shape 6">
              <a:extLst>
                <a:ext uri="{FF2B5EF4-FFF2-40B4-BE49-F238E27FC236}">
                  <a16:creationId xmlns:a16="http://schemas.microsoft.com/office/drawing/2014/main" id="{711B1B0F-CC8B-5C1D-0E98-76A4F7929AD0}"/>
                </a:ext>
              </a:extLst>
            </p:cNvPr>
            <p:cNvSpPr/>
            <p:nvPr/>
          </p:nvSpPr>
          <p:spPr>
            <a:xfrm flipV="1">
              <a:off x="628651" y="2619633"/>
              <a:ext cx="4409589" cy="1765081"/>
            </a:xfrm>
            <a:custGeom>
              <a:avLst/>
              <a:gdLst>
                <a:gd name="connsiteX0" fmla="*/ 0 w 3413760"/>
                <a:gd name="connsiteY0" fmla="*/ 0 h 2164080"/>
                <a:gd name="connsiteX1" fmla="*/ 0 w 3413760"/>
                <a:gd name="connsiteY1" fmla="*/ 2026920 h 2164080"/>
                <a:gd name="connsiteX2" fmla="*/ 137160 w 3413760"/>
                <a:gd name="connsiteY2" fmla="*/ 2164080 h 2164080"/>
                <a:gd name="connsiteX3" fmla="*/ 3317240 w 3413760"/>
                <a:gd name="connsiteY3" fmla="*/ 2164080 h 2164080"/>
                <a:gd name="connsiteX4" fmla="*/ 3413760 w 3413760"/>
                <a:gd name="connsiteY4" fmla="*/ 2067560 h 2164080"/>
                <a:gd name="connsiteX5" fmla="*/ 3413760 w 3413760"/>
                <a:gd name="connsiteY5" fmla="*/ 60960 h 2164080"/>
                <a:gd name="connsiteX0" fmla="*/ 0 w 3413760"/>
                <a:gd name="connsiteY0" fmla="*/ 0 h 2164080"/>
                <a:gd name="connsiteX1" fmla="*/ 0 w 3413760"/>
                <a:gd name="connsiteY1" fmla="*/ 2026920 h 2164080"/>
                <a:gd name="connsiteX2" fmla="*/ 137160 w 3413760"/>
                <a:gd name="connsiteY2" fmla="*/ 2164080 h 2164080"/>
                <a:gd name="connsiteX3" fmla="*/ 3317240 w 3413760"/>
                <a:gd name="connsiteY3" fmla="*/ 2164080 h 2164080"/>
                <a:gd name="connsiteX4" fmla="*/ 3413760 w 3413760"/>
                <a:gd name="connsiteY4" fmla="*/ 2067560 h 2164080"/>
                <a:gd name="connsiteX5" fmla="*/ 3413760 w 3413760"/>
                <a:gd name="connsiteY5" fmla="*/ 60960 h 2164080"/>
                <a:gd name="connsiteX0" fmla="*/ 0 w 3413760"/>
                <a:gd name="connsiteY0" fmla="*/ 0 h 2164080"/>
                <a:gd name="connsiteX1" fmla="*/ 0 w 3413760"/>
                <a:gd name="connsiteY1" fmla="*/ 2026920 h 2164080"/>
                <a:gd name="connsiteX2" fmla="*/ 137160 w 3413760"/>
                <a:gd name="connsiteY2" fmla="*/ 2164080 h 2164080"/>
                <a:gd name="connsiteX3" fmla="*/ 3317240 w 3413760"/>
                <a:gd name="connsiteY3" fmla="*/ 2164080 h 2164080"/>
                <a:gd name="connsiteX4" fmla="*/ 3413760 w 3413760"/>
                <a:gd name="connsiteY4" fmla="*/ 2067560 h 2164080"/>
                <a:gd name="connsiteX5" fmla="*/ 3413760 w 3413760"/>
                <a:gd name="connsiteY5" fmla="*/ 60960 h 2164080"/>
                <a:gd name="connsiteX0" fmla="*/ 0 w 3413760"/>
                <a:gd name="connsiteY0" fmla="*/ 0 h 2164080"/>
                <a:gd name="connsiteX1" fmla="*/ 0 w 3413760"/>
                <a:gd name="connsiteY1" fmla="*/ 2026920 h 2164080"/>
                <a:gd name="connsiteX2" fmla="*/ 137160 w 3413760"/>
                <a:gd name="connsiteY2" fmla="*/ 2164080 h 2164080"/>
                <a:gd name="connsiteX3" fmla="*/ 3317240 w 3413760"/>
                <a:gd name="connsiteY3" fmla="*/ 2164080 h 2164080"/>
                <a:gd name="connsiteX4" fmla="*/ 3413760 w 3413760"/>
                <a:gd name="connsiteY4" fmla="*/ 2067560 h 2164080"/>
                <a:gd name="connsiteX5" fmla="*/ 3413760 w 3413760"/>
                <a:gd name="connsiteY5" fmla="*/ 60960 h 2164080"/>
                <a:gd name="connsiteX0" fmla="*/ 0 w 3413760"/>
                <a:gd name="connsiteY0" fmla="*/ 0 h 2164080"/>
                <a:gd name="connsiteX1" fmla="*/ 0 w 3413760"/>
                <a:gd name="connsiteY1" fmla="*/ 2026920 h 2164080"/>
                <a:gd name="connsiteX2" fmla="*/ 137160 w 3413760"/>
                <a:gd name="connsiteY2" fmla="*/ 2164080 h 2164080"/>
                <a:gd name="connsiteX3" fmla="*/ 3317240 w 3413760"/>
                <a:gd name="connsiteY3" fmla="*/ 2164080 h 2164080"/>
                <a:gd name="connsiteX4" fmla="*/ 3413760 w 3413760"/>
                <a:gd name="connsiteY4" fmla="*/ 2046605 h 2164080"/>
                <a:gd name="connsiteX5" fmla="*/ 3413760 w 3413760"/>
                <a:gd name="connsiteY5" fmla="*/ 60960 h 2164080"/>
                <a:gd name="connsiteX0" fmla="*/ 0 w 3414349"/>
                <a:gd name="connsiteY0" fmla="*/ 0 h 2164080"/>
                <a:gd name="connsiteX1" fmla="*/ 0 w 3414349"/>
                <a:gd name="connsiteY1" fmla="*/ 2026920 h 2164080"/>
                <a:gd name="connsiteX2" fmla="*/ 137160 w 3414349"/>
                <a:gd name="connsiteY2" fmla="*/ 2164080 h 2164080"/>
                <a:gd name="connsiteX3" fmla="*/ 3317240 w 3414349"/>
                <a:gd name="connsiteY3" fmla="*/ 2164080 h 2164080"/>
                <a:gd name="connsiteX4" fmla="*/ 3413760 w 3414349"/>
                <a:gd name="connsiteY4" fmla="*/ 2046605 h 2164080"/>
                <a:gd name="connsiteX5" fmla="*/ 3413760 w 3414349"/>
                <a:gd name="connsiteY5" fmla="*/ 60960 h 2164080"/>
                <a:gd name="connsiteX0" fmla="*/ 0 w 3414556"/>
                <a:gd name="connsiteY0" fmla="*/ 0 h 2164080"/>
                <a:gd name="connsiteX1" fmla="*/ 0 w 3414556"/>
                <a:gd name="connsiteY1" fmla="*/ 2026920 h 2164080"/>
                <a:gd name="connsiteX2" fmla="*/ 137160 w 3414556"/>
                <a:gd name="connsiteY2" fmla="*/ 2164080 h 2164080"/>
                <a:gd name="connsiteX3" fmla="*/ 3317240 w 3414556"/>
                <a:gd name="connsiteY3" fmla="*/ 2164080 h 2164080"/>
                <a:gd name="connsiteX4" fmla="*/ 3413760 w 3414556"/>
                <a:gd name="connsiteY4" fmla="*/ 2046605 h 2164080"/>
                <a:gd name="connsiteX5" fmla="*/ 3413760 w 3414556"/>
                <a:gd name="connsiteY5" fmla="*/ 60960 h 2164080"/>
                <a:gd name="connsiteX0" fmla="*/ 0 w 3413760"/>
                <a:gd name="connsiteY0" fmla="*/ 0 h 2164080"/>
                <a:gd name="connsiteX1" fmla="*/ 0 w 3413760"/>
                <a:gd name="connsiteY1" fmla="*/ 2026920 h 2164080"/>
                <a:gd name="connsiteX2" fmla="*/ 137160 w 3413760"/>
                <a:gd name="connsiteY2" fmla="*/ 2164080 h 2164080"/>
                <a:gd name="connsiteX3" fmla="*/ 3317240 w 3413760"/>
                <a:gd name="connsiteY3" fmla="*/ 2164080 h 2164080"/>
                <a:gd name="connsiteX4" fmla="*/ 3413760 w 3413760"/>
                <a:gd name="connsiteY4" fmla="*/ 2046605 h 2164080"/>
                <a:gd name="connsiteX5" fmla="*/ 3413760 w 3413760"/>
                <a:gd name="connsiteY5" fmla="*/ 60960 h 2164080"/>
                <a:gd name="connsiteX0" fmla="*/ 0 w 3413760"/>
                <a:gd name="connsiteY0" fmla="*/ 0 h 2164080"/>
                <a:gd name="connsiteX1" fmla="*/ 0 w 3413760"/>
                <a:gd name="connsiteY1" fmla="*/ 2026920 h 2164080"/>
                <a:gd name="connsiteX2" fmla="*/ 137160 w 3413760"/>
                <a:gd name="connsiteY2" fmla="*/ 2164080 h 2164080"/>
                <a:gd name="connsiteX3" fmla="*/ 3317240 w 3413760"/>
                <a:gd name="connsiteY3" fmla="*/ 2164080 h 2164080"/>
                <a:gd name="connsiteX4" fmla="*/ 3413760 w 3413760"/>
                <a:gd name="connsiteY4" fmla="*/ 2046605 h 2164080"/>
                <a:gd name="connsiteX5" fmla="*/ 3413760 w 3413760"/>
                <a:gd name="connsiteY5" fmla="*/ 60960 h 2164080"/>
                <a:gd name="connsiteX0" fmla="*/ 0 w 3417615"/>
                <a:gd name="connsiteY0" fmla="*/ 0 h 2164080"/>
                <a:gd name="connsiteX1" fmla="*/ 0 w 3417615"/>
                <a:gd name="connsiteY1" fmla="*/ 2026920 h 2164080"/>
                <a:gd name="connsiteX2" fmla="*/ 137160 w 3417615"/>
                <a:gd name="connsiteY2" fmla="*/ 2164080 h 2164080"/>
                <a:gd name="connsiteX3" fmla="*/ 3317240 w 3417615"/>
                <a:gd name="connsiteY3" fmla="*/ 2164080 h 2164080"/>
                <a:gd name="connsiteX4" fmla="*/ 3413760 w 3417615"/>
                <a:gd name="connsiteY4" fmla="*/ 2046605 h 2164080"/>
                <a:gd name="connsiteX5" fmla="*/ 3417615 w 3417615"/>
                <a:gd name="connsiteY5" fmla="*/ 368979 h 2164080"/>
                <a:gd name="connsiteX0" fmla="*/ 3855 w 3417615"/>
                <a:gd name="connsiteY0" fmla="*/ 0 h 1913558"/>
                <a:gd name="connsiteX1" fmla="*/ 0 w 3417615"/>
                <a:gd name="connsiteY1" fmla="*/ 1776398 h 1913558"/>
                <a:gd name="connsiteX2" fmla="*/ 137160 w 3417615"/>
                <a:gd name="connsiteY2" fmla="*/ 1913558 h 1913558"/>
                <a:gd name="connsiteX3" fmla="*/ 3317240 w 3417615"/>
                <a:gd name="connsiteY3" fmla="*/ 1913558 h 1913558"/>
                <a:gd name="connsiteX4" fmla="*/ 3413760 w 3417615"/>
                <a:gd name="connsiteY4" fmla="*/ 1796083 h 1913558"/>
                <a:gd name="connsiteX5" fmla="*/ 3417615 w 3417615"/>
                <a:gd name="connsiteY5" fmla="*/ 118457 h 1913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17615" h="1913558">
                  <a:moveTo>
                    <a:pt x="3855" y="0"/>
                  </a:moveTo>
                  <a:lnTo>
                    <a:pt x="0" y="1776398"/>
                  </a:lnTo>
                  <a:cubicBezTo>
                    <a:pt x="0" y="1854503"/>
                    <a:pt x="17145" y="1907843"/>
                    <a:pt x="137160" y="1913558"/>
                  </a:cubicBezTo>
                  <a:lnTo>
                    <a:pt x="3317240" y="1913558"/>
                  </a:lnTo>
                  <a:cubicBezTo>
                    <a:pt x="3377988" y="1906785"/>
                    <a:pt x="3413972" y="1863816"/>
                    <a:pt x="3413760" y="1796083"/>
                  </a:cubicBezTo>
                  <a:lnTo>
                    <a:pt x="3417615" y="118457"/>
                  </a:lnTo>
                </a:path>
              </a:pathLst>
            </a:custGeom>
            <a:noFill/>
            <a:ln w="12700">
              <a:solidFill>
                <a:schemeClr val="accent2"/>
              </a:solidFill>
              <a:prstDash val="sysDash"/>
            </a:ln>
          </p:spPr>
          <p:style>
            <a:lnRef idx="1">
              <a:schemeClr val="dk1"/>
            </a:lnRef>
            <a:fillRef idx="0">
              <a:schemeClr val="dk1"/>
            </a:fillRef>
            <a:effectRef idx="0">
              <a:schemeClr val="dk1"/>
            </a:effectRef>
            <a:fontRef idx="minor">
              <a:schemeClr val="tx1"/>
            </a:fontRef>
          </p:style>
          <p:txBody>
            <a:bodyPr rtlCol="0" anchor="ctr"/>
            <a:lstStyle/>
            <a:p>
              <a:pPr algn="ctr"/>
              <a:endParaRPr lang="en-US"/>
            </a:p>
          </p:txBody>
        </p:sp>
      </p:grpSp>
      <p:sp>
        <p:nvSpPr>
          <p:cNvPr id="9" name="Rectangle 8">
            <a:extLst>
              <a:ext uri="{FF2B5EF4-FFF2-40B4-BE49-F238E27FC236}">
                <a16:creationId xmlns:a16="http://schemas.microsoft.com/office/drawing/2014/main" id="{B2A1FA4B-2DC0-ED7A-091A-4A0B4DD3290C}"/>
              </a:ext>
            </a:extLst>
          </p:cNvPr>
          <p:cNvSpPr/>
          <p:nvPr/>
        </p:nvSpPr>
        <p:spPr>
          <a:xfrm>
            <a:off x="11145047" y="3738799"/>
            <a:ext cx="1046952" cy="1107996"/>
          </a:xfrm>
          <a:prstGeom prst="rect">
            <a:avLst/>
          </a:prstGeom>
          <a:solidFill>
            <a:schemeClr val="tx2"/>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err="1">
              <a:solidFill>
                <a:schemeClr val="bg1"/>
              </a:solidFill>
            </a:endParaRPr>
          </a:p>
        </p:txBody>
      </p:sp>
      <p:grpSp>
        <p:nvGrpSpPr>
          <p:cNvPr id="11" name="Group 10">
            <a:extLst>
              <a:ext uri="{FF2B5EF4-FFF2-40B4-BE49-F238E27FC236}">
                <a16:creationId xmlns:a16="http://schemas.microsoft.com/office/drawing/2014/main" id="{2874D697-AA69-074F-A2B3-52E7C0D0A111}"/>
              </a:ext>
            </a:extLst>
          </p:cNvPr>
          <p:cNvGrpSpPr/>
          <p:nvPr/>
        </p:nvGrpSpPr>
        <p:grpSpPr>
          <a:xfrm>
            <a:off x="5656230" y="2444078"/>
            <a:ext cx="5907120" cy="3697437"/>
            <a:chOff x="5656230" y="2619632"/>
            <a:chExt cx="5907120" cy="3697437"/>
          </a:xfrm>
        </p:grpSpPr>
        <p:sp>
          <p:nvSpPr>
            <p:cNvPr id="12" name="Freeform: Shape 11">
              <a:extLst>
                <a:ext uri="{FF2B5EF4-FFF2-40B4-BE49-F238E27FC236}">
                  <a16:creationId xmlns:a16="http://schemas.microsoft.com/office/drawing/2014/main" id="{6218F2B4-6680-8687-1B4C-8AE34FD7C582}"/>
                </a:ext>
              </a:extLst>
            </p:cNvPr>
            <p:cNvSpPr/>
            <p:nvPr/>
          </p:nvSpPr>
          <p:spPr>
            <a:xfrm>
              <a:off x="5657110" y="4413109"/>
              <a:ext cx="5900456" cy="1903960"/>
            </a:xfrm>
            <a:custGeom>
              <a:avLst/>
              <a:gdLst>
                <a:gd name="connsiteX0" fmla="*/ 0 w 3413760"/>
                <a:gd name="connsiteY0" fmla="*/ 0 h 2164080"/>
                <a:gd name="connsiteX1" fmla="*/ 0 w 3413760"/>
                <a:gd name="connsiteY1" fmla="*/ 2026920 h 2164080"/>
                <a:gd name="connsiteX2" fmla="*/ 137160 w 3413760"/>
                <a:gd name="connsiteY2" fmla="*/ 2164080 h 2164080"/>
                <a:gd name="connsiteX3" fmla="*/ 3317240 w 3413760"/>
                <a:gd name="connsiteY3" fmla="*/ 2164080 h 2164080"/>
                <a:gd name="connsiteX4" fmla="*/ 3413760 w 3413760"/>
                <a:gd name="connsiteY4" fmla="*/ 2067560 h 2164080"/>
                <a:gd name="connsiteX5" fmla="*/ 3413760 w 3413760"/>
                <a:gd name="connsiteY5" fmla="*/ 60960 h 2164080"/>
                <a:gd name="connsiteX0" fmla="*/ 0 w 3413760"/>
                <a:gd name="connsiteY0" fmla="*/ 0 h 2164080"/>
                <a:gd name="connsiteX1" fmla="*/ 0 w 3413760"/>
                <a:gd name="connsiteY1" fmla="*/ 2026920 h 2164080"/>
                <a:gd name="connsiteX2" fmla="*/ 137160 w 3413760"/>
                <a:gd name="connsiteY2" fmla="*/ 2164080 h 2164080"/>
                <a:gd name="connsiteX3" fmla="*/ 3317240 w 3413760"/>
                <a:gd name="connsiteY3" fmla="*/ 2164080 h 2164080"/>
                <a:gd name="connsiteX4" fmla="*/ 3413760 w 3413760"/>
                <a:gd name="connsiteY4" fmla="*/ 2067560 h 2164080"/>
                <a:gd name="connsiteX5" fmla="*/ 3413760 w 3413760"/>
                <a:gd name="connsiteY5" fmla="*/ 60960 h 2164080"/>
                <a:gd name="connsiteX0" fmla="*/ 0 w 3413760"/>
                <a:gd name="connsiteY0" fmla="*/ 0 h 2164080"/>
                <a:gd name="connsiteX1" fmla="*/ 0 w 3413760"/>
                <a:gd name="connsiteY1" fmla="*/ 2026920 h 2164080"/>
                <a:gd name="connsiteX2" fmla="*/ 137160 w 3413760"/>
                <a:gd name="connsiteY2" fmla="*/ 2164080 h 2164080"/>
                <a:gd name="connsiteX3" fmla="*/ 3317240 w 3413760"/>
                <a:gd name="connsiteY3" fmla="*/ 2164080 h 2164080"/>
                <a:gd name="connsiteX4" fmla="*/ 3413760 w 3413760"/>
                <a:gd name="connsiteY4" fmla="*/ 2067560 h 2164080"/>
                <a:gd name="connsiteX5" fmla="*/ 3413760 w 3413760"/>
                <a:gd name="connsiteY5" fmla="*/ 60960 h 2164080"/>
                <a:gd name="connsiteX0" fmla="*/ 0 w 3413760"/>
                <a:gd name="connsiteY0" fmla="*/ 0 h 2164080"/>
                <a:gd name="connsiteX1" fmla="*/ 0 w 3413760"/>
                <a:gd name="connsiteY1" fmla="*/ 2026920 h 2164080"/>
                <a:gd name="connsiteX2" fmla="*/ 137160 w 3413760"/>
                <a:gd name="connsiteY2" fmla="*/ 2164080 h 2164080"/>
                <a:gd name="connsiteX3" fmla="*/ 3317240 w 3413760"/>
                <a:gd name="connsiteY3" fmla="*/ 2164080 h 2164080"/>
                <a:gd name="connsiteX4" fmla="*/ 3413760 w 3413760"/>
                <a:gd name="connsiteY4" fmla="*/ 2067560 h 2164080"/>
                <a:gd name="connsiteX5" fmla="*/ 3413760 w 3413760"/>
                <a:gd name="connsiteY5" fmla="*/ 60960 h 2164080"/>
                <a:gd name="connsiteX0" fmla="*/ 0 w 3413760"/>
                <a:gd name="connsiteY0" fmla="*/ 0 h 2164080"/>
                <a:gd name="connsiteX1" fmla="*/ 0 w 3413760"/>
                <a:gd name="connsiteY1" fmla="*/ 2026920 h 2164080"/>
                <a:gd name="connsiteX2" fmla="*/ 137160 w 3413760"/>
                <a:gd name="connsiteY2" fmla="*/ 2164080 h 2164080"/>
                <a:gd name="connsiteX3" fmla="*/ 3317240 w 3413760"/>
                <a:gd name="connsiteY3" fmla="*/ 2164080 h 2164080"/>
                <a:gd name="connsiteX4" fmla="*/ 3413760 w 3413760"/>
                <a:gd name="connsiteY4" fmla="*/ 2046605 h 2164080"/>
                <a:gd name="connsiteX5" fmla="*/ 3413760 w 3413760"/>
                <a:gd name="connsiteY5" fmla="*/ 60960 h 2164080"/>
                <a:gd name="connsiteX0" fmla="*/ 0 w 3414349"/>
                <a:gd name="connsiteY0" fmla="*/ 0 h 2164080"/>
                <a:gd name="connsiteX1" fmla="*/ 0 w 3414349"/>
                <a:gd name="connsiteY1" fmla="*/ 2026920 h 2164080"/>
                <a:gd name="connsiteX2" fmla="*/ 137160 w 3414349"/>
                <a:gd name="connsiteY2" fmla="*/ 2164080 h 2164080"/>
                <a:gd name="connsiteX3" fmla="*/ 3317240 w 3414349"/>
                <a:gd name="connsiteY3" fmla="*/ 2164080 h 2164080"/>
                <a:gd name="connsiteX4" fmla="*/ 3413760 w 3414349"/>
                <a:gd name="connsiteY4" fmla="*/ 2046605 h 2164080"/>
                <a:gd name="connsiteX5" fmla="*/ 3413760 w 3414349"/>
                <a:gd name="connsiteY5" fmla="*/ 60960 h 2164080"/>
                <a:gd name="connsiteX0" fmla="*/ 0 w 3414556"/>
                <a:gd name="connsiteY0" fmla="*/ 0 h 2164080"/>
                <a:gd name="connsiteX1" fmla="*/ 0 w 3414556"/>
                <a:gd name="connsiteY1" fmla="*/ 2026920 h 2164080"/>
                <a:gd name="connsiteX2" fmla="*/ 137160 w 3414556"/>
                <a:gd name="connsiteY2" fmla="*/ 2164080 h 2164080"/>
                <a:gd name="connsiteX3" fmla="*/ 3317240 w 3414556"/>
                <a:gd name="connsiteY3" fmla="*/ 2164080 h 2164080"/>
                <a:gd name="connsiteX4" fmla="*/ 3413760 w 3414556"/>
                <a:gd name="connsiteY4" fmla="*/ 2046605 h 2164080"/>
                <a:gd name="connsiteX5" fmla="*/ 3413760 w 3414556"/>
                <a:gd name="connsiteY5" fmla="*/ 60960 h 2164080"/>
                <a:gd name="connsiteX0" fmla="*/ 0 w 3413760"/>
                <a:gd name="connsiteY0" fmla="*/ 0 h 2164080"/>
                <a:gd name="connsiteX1" fmla="*/ 0 w 3413760"/>
                <a:gd name="connsiteY1" fmla="*/ 2026920 h 2164080"/>
                <a:gd name="connsiteX2" fmla="*/ 137160 w 3413760"/>
                <a:gd name="connsiteY2" fmla="*/ 2164080 h 2164080"/>
                <a:gd name="connsiteX3" fmla="*/ 3317240 w 3413760"/>
                <a:gd name="connsiteY3" fmla="*/ 2164080 h 2164080"/>
                <a:gd name="connsiteX4" fmla="*/ 3413760 w 3413760"/>
                <a:gd name="connsiteY4" fmla="*/ 2046605 h 2164080"/>
                <a:gd name="connsiteX5" fmla="*/ 3413760 w 3413760"/>
                <a:gd name="connsiteY5" fmla="*/ 60960 h 2164080"/>
                <a:gd name="connsiteX0" fmla="*/ 0 w 3413760"/>
                <a:gd name="connsiteY0" fmla="*/ 0 h 2164080"/>
                <a:gd name="connsiteX1" fmla="*/ 0 w 3413760"/>
                <a:gd name="connsiteY1" fmla="*/ 2026920 h 2164080"/>
                <a:gd name="connsiteX2" fmla="*/ 137160 w 3413760"/>
                <a:gd name="connsiteY2" fmla="*/ 2164080 h 2164080"/>
                <a:gd name="connsiteX3" fmla="*/ 3317240 w 3413760"/>
                <a:gd name="connsiteY3" fmla="*/ 2164080 h 2164080"/>
                <a:gd name="connsiteX4" fmla="*/ 3413760 w 3413760"/>
                <a:gd name="connsiteY4" fmla="*/ 2046605 h 2164080"/>
                <a:gd name="connsiteX5" fmla="*/ 3413760 w 3413760"/>
                <a:gd name="connsiteY5" fmla="*/ 60960 h 2164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13760" h="2164080">
                  <a:moveTo>
                    <a:pt x="0" y="0"/>
                  </a:moveTo>
                  <a:lnTo>
                    <a:pt x="0" y="2026920"/>
                  </a:lnTo>
                  <a:cubicBezTo>
                    <a:pt x="0" y="2105025"/>
                    <a:pt x="17145" y="2158365"/>
                    <a:pt x="137160" y="2164080"/>
                  </a:cubicBezTo>
                  <a:lnTo>
                    <a:pt x="3317240" y="2164080"/>
                  </a:lnTo>
                  <a:cubicBezTo>
                    <a:pt x="3377988" y="2157307"/>
                    <a:pt x="3413972" y="2114338"/>
                    <a:pt x="3413760" y="2046605"/>
                  </a:cubicBezTo>
                  <a:lnTo>
                    <a:pt x="3413760" y="60960"/>
                  </a:lnTo>
                </a:path>
              </a:pathLst>
            </a:custGeom>
            <a:noFill/>
            <a:ln w="19050">
              <a:solidFill>
                <a:schemeClr val="tx2"/>
              </a:solidFill>
            </a:ln>
          </p:spPr>
          <p:style>
            <a:lnRef idx="1">
              <a:schemeClr val="dk1"/>
            </a:lnRef>
            <a:fillRef idx="0">
              <a:schemeClr val="dk1"/>
            </a:fillRef>
            <a:effectRef idx="0">
              <a:schemeClr val="dk1"/>
            </a:effectRef>
            <a:fontRef idx="minor">
              <a:schemeClr val="tx1"/>
            </a:fontRef>
          </p:style>
          <p:txBody>
            <a:bodyPr rtlCol="0" anchor="ctr"/>
            <a:lstStyle/>
            <a:p>
              <a:pPr algn="ctr"/>
              <a:endParaRPr lang="en-US"/>
            </a:p>
          </p:txBody>
        </p:sp>
        <p:sp>
          <p:nvSpPr>
            <p:cNvPr id="13" name="Rectangle: Rounded Corners 12">
              <a:extLst>
                <a:ext uri="{FF2B5EF4-FFF2-40B4-BE49-F238E27FC236}">
                  <a16:creationId xmlns:a16="http://schemas.microsoft.com/office/drawing/2014/main" id="{D0E1DBFB-7E29-C903-9E06-41590D52A304}"/>
                </a:ext>
              </a:extLst>
            </p:cNvPr>
            <p:cNvSpPr/>
            <p:nvPr/>
          </p:nvSpPr>
          <p:spPr>
            <a:xfrm>
              <a:off x="5685352" y="2619633"/>
              <a:ext cx="5858948" cy="3667786"/>
            </a:xfrm>
            <a:prstGeom prst="roundRect">
              <a:avLst>
                <a:gd name="adj" fmla="val 2664"/>
              </a:avLst>
            </a:prstGeom>
            <a:solidFill>
              <a:srgbClr val="FFFFFF"/>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err="1">
                <a:solidFill>
                  <a:schemeClr val="bg1"/>
                </a:solidFill>
              </a:endParaRPr>
            </a:p>
          </p:txBody>
        </p:sp>
        <p:sp>
          <p:nvSpPr>
            <p:cNvPr id="14" name="Freeform: Shape 13">
              <a:extLst>
                <a:ext uri="{FF2B5EF4-FFF2-40B4-BE49-F238E27FC236}">
                  <a16:creationId xmlns:a16="http://schemas.microsoft.com/office/drawing/2014/main" id="{5D6693DC-2494-0FE3-22A7-0629127E5E59}"/>
                </a:ext>
              </a:extLst>
            </p:cNvPr>
            <p:cNvSpPr/>
            <p:nvPr/>
          </p:nvSpPr>
          <p:spPr>
            <a:xfrm flipV="1">
              <a:off x="5656230" y="2619632"/>
              <a:ext cx="5907120" cy="1630507"/>
            </a:xfrm>
            <a:custGeom>
              <a:avLst/>
              <a:gdLst>
                <a:gd name="connsiteX0" fmla="*/ 0 w 3413760"/>
                <a:gd name="connsiteY0" fmla="*/ 0 h 2164080"/>
                <a:gd name="connsiteX1" fmla="*/ 0 w 3413760"/>
                <a:gd name="connsiteY1" fmla="*/ 2026920 h 2164080"/>
                <a:gd name="connsiteX2" fmla="*/ 137160 w 3413760"/>
                <a:gd name="connsiteY2" fmla="*/ 2164080 h 2164080"/>
                <a:gd name="connsiteX3" fmla="*/ 3317240 w 3413760"/>
                <a:gd name="connsiteY3" fmla="*/ 2164080 h 2164080"/>
                <a:gd name="connsiteX4" fmla="*/ 3413760 w 3413760"/>
                <a:gd name="connsiteY4" fmla="*/ 2067560 h 2164080"/>
                <a:gd name="connsiteX5" fmla="*/ 3413760 w 3413760"/>
                <a:gd name="connsiteY5" fmla="*/ 60960 h 2164080"/>
                <a:gd name="connsiteX0" fmla="*/ 0 w 3413760"/>
                <a:gd name="connsiteY0" fmla="*/ 0 h 2164080"/>
                <a:gd name="connsiteX1" fmla="*/ 0 w 3413760"/>
                <a:gd name="connsiteY1" fmla="*/ 2026920 h 2164080"/>
                <a:gd name="connsiteX2" fmla="*/ 137160 w 3413760"/>
                <a:gd name="connsiteY2" fmla="*/ 2164080 h 2164080"/>
                <a:gd name="connsiteX3" fmla="*/ 3317240 w 3413760"/>
                <a:gd name="connsiteY3" fmla="*/ 2164080 h 2164080"/>
                <a:gd name="connsiteX4" fmla="*/ 3413760 w 3413760"/>
                <a:gd name="connsiteY4" fmla="*/ 2067560 h 2164080"/>
                <a:gd name="connsiteX5" fmla="*/ 3413760 w 3413760"/>
                <a:gd name="connsiteY5" fmla="*/ 60960 h 2164080"/>
                <a:gd name="connsiteX0" fmla="*/ 0 w 3413760"/>
                <a:gd name="connsiteY0" fmla="*/ 0 h 2164080"/>
                <a:gd name="connsiteX1" fmla="*/ 0 w 3413760"/>
                <a:gd name="connsiteY1" fmla="*/ 2026920 h 2164080"/>
                <a:gd name="connsiteX2" fmla="*/ 137160 w 3413760"/>
                <a:gd name="connsiteY2" fmla="*/ 2164080 h 2164080"/>
                <a:gd name="connsiteX3" fmla="*/ 3317240 w 3413760"/>
                <a:gd name="connsiteY3" fmla="*/ 2164080 h 2164080"/>
                <a:gd name="connsiteX4" fmla="*/ 3413760 w 3413760"/>
                <a:gd name="connsiteY4" fmla="*/ 2067560 h 2164080"/>
                <a:gd name="connsiteX5" fmla="*/ 3413760 w 3413760"/>
                <a:gd name="connsiteY5" fmla="*/ 60960 h 2164080"/>
                <a:gd name="connsiteX0" fmla="*/ 0 w 3413760"/>
                <a:gd name="connsiteY0" fmla="*/ 0 h 2164080"/>
                <a:gd name="connsiteX1" fmla="*/ 0 w 3413760"/>
                <a:gd name="connsiteY1" fmla="*/ 2026920 h 2164080"/>
                <a:gd name="connsiteX2" fmla="*/ 137160 w 3413760"/>
                <a:gd name="connsiteY2" fmla="*/ 2164080 h 2164080"/>
                <a:gd name="connsiteX3" fmla="*/ 3317240 w 3413760"/>
                <a:gd name="connsiteY3" fmla="*/ 2164080 h 2164080"/>
                <a:gd name="connsiteX4" fmla="*/ 3413760 w 3413760"/>
                <a:gd name="connsiteY4" fmla="*/ 2067560 h 2164080"/>
                <a:gd name="connsiteX5" fmla="*/ 3413760 w 3413760"/>
                <a:gd name="connsiteY5" fmla="*/ 60960 h 2164080"/>
                <a:gd name="connsiteX0" fmla="*/ 0 w 3413760"/>
                <a:gd name="connsiteY0" fmla="*/ 0 h 2164080"/>
                <a:gd name="connsiteX1" fmla="*/ 0 w 3413760"/>
                <a:gd name="connsiteY1" fmla="*/ 2026920 h 2164080"/>
                <a:gd name="connsiteX2" fmla="*/ 137160 w 3413760"/>
                <a:gd name="connsiteY2" fmla="*/ 2164080 h 2164080"/>
                <a:gd name="connsiteX3" fmla="*/ 3317240 w 3413760"/>
                <a:gd name="connsiteY3" fmla="*/ 2164080 h 2164080"/>
                <a:gd name="connsiteX4" fmla="*/ 3413760 w 3413760"/>
                <a:gd name="connsiteY4" fmla="*/ 2046605 h 2164080"/>
                <a:gd name="connsiteX5" fmla="*/ 3413760 w 3413760"/>
                <a:gd name="connsiteY5" fmla="*/ 60960 h 2164080"/>
                <a:gd name="connsiteX0" fmla="*/ 0 w 3414349"/>
                <a:gd name="connsiteY0" fmla="*/ 0 h 2164080"/>
                <a:gd name="connsiteX1" fmla="*/ 0 w 3414349"/>
                <a:gd name="connsiteY1" fmla="*/ 2026920 h 2164080"/>
                <a:gd name="connsiteX2" fmla="*/ 137160 w 3414349"/>
                <a:gd name="connsiteY2" fmla="*/ 2164080 h 2164080"/>
                <a:gd name="connsiteX3" fmla="*/ 3317240 w 3414349"/>
                <a:gd name="connsiteY3" fmla="*/ 2164080 h 2164080"/>
                <a:gd name="connsiteX4" fmla="*/ 3413760 w 3414349"/>
                <a:gd name="connsiteY4" fmla="*/ 2046605 h 2164080"/>
                <a:gd name="connsiteX5" fmla="*/ 3413760 w 3414349"/>
                <a:gd name="connsiteY5" fmla="*/ 60960 h 2164080"/>
                <a:gd name="connsiteX0" fmla="*/ 0 w 3414556"/>
                <a:gd name="connsiteY0" fmla="*/ 0 h 2164080"/>
                <a:gd name="connsiteX1" fmla="*/ 0 w 3414556"/>
                <a:gd name="connsiteY1" fmla="*/ 2026920 h 2164080"/>
                <a:gd name="connsiteX2" fmla="*/ 137160 w 3414556"/>
                <a:gd name="connsiteY2" fmla="*/ 2164080 h 2164080"/>
                <a:gd name="connsiteX3" fmla="*/ 3317240 w 3414556"/>
                <a:gd name="connsiteY3" fmla="*/ 2164080 h 2164080"/>
                <a:gd name="connsiteX4" fmla="*/ 3413760 w 3414556"/>
                <a:gd name="connsiteY4" fmla="*/ 2046605 h 2164080"/>
                <a:gd name="connsiteX5" fmla="*/ 3413760 w 3414556"/>
                <a:gd name="connsiteY5" fmla="*/ 60960 h 2164080"/>
                <a:gd name="connsiteX0" fmla="*/ 0 w 3413760"/>
                <a:gd name="connsiteY0" fmla="*/ 0 h 2164080"/>
                <a:gd name="connsiteX1" fmla="*/ 0 w 3413760"/>
                <a:gd name="connsiteY1" fmla="*/ 2026920 h 2164080"/>
                <a:gd name="connsiteX2" fmla="*/ 137160 w 3413760"/>
                <a:gd name="connsiteY2" fmla="*/ 2164080 h 2164080"/>
                <a:gd name="connsiteX3" fmla="*/ 3317240 w 3413760"/>
                <a:gd name="connsiteY3" fmla="*/ 2164080 h 2164080"/>
                <a:gd name="connsiteX4" fmla="*/ 3413760 w 3413760"/>
                <a:gd name="connsiteY4" fmla="*/ 2046605 h 2164080"/>
                <a:gd name="connsiteX5" fmla="*/ 3413760 w 3413760"/>
                <a:gd name="connsiteY5" fmla="*/ 60960 h 2164080"/>
                <a:gd name="connsiteX0" fmla="*/ 0 w 3413760"/>
                <a:gd name="connsiteY0" fmla="*/ 0 h 2164080"/>
                <a:gd name="connsiteX1" fmla="*/ 0 w 3413760"/>
                <a:gd name="connsiteY1" fmla="*/ 2026920 h 2164080"/>
                <a:gd name="connsiteX2" fmla="*/ 137160 w 3413760"/>
                <a:gd name="connsiteY2" fmla="*/ 2164080 h 2164080"/>
                <a:gd name="connsiteX3" fmla="*/ 3317240 w 3413760"/>
                <a:gd name="connsiteY3" fmla="*/ 2164080 h 2164080"/>
                <a:gd name="connsiteX4" fmla="*/ 3413760 w 3413760"/>
                <a:gd name="connsiteY4" fmla="*/ 2046605 h 2164080"/>
                <a:gd name="connsiteX5" fmla="*/ 3413760 w 3413760"/>
                <a:gd name="connsiteY5" fmla="*/ 60960 h 2164080"/>
                <a:gd name="connsiteX0" fmla="*/ 0 w 3417615"/>
                <a:gd name="connsiteY0" fmla="*/ 0 h 2164080"/>
                <a:gd name="connsiteX1" fmla="*/ 0 w 3417615"/>
                <a:gd name="connsiteY1" fmla="*/ 2026920 h 2164080"/>
                <a:gd name="connsiteX2" fmla="*/ 137160 w 3417615"/>
                <a:gd name="connsiteY2" fmla="*/ 2164080 h 2164080"/>
                <a:gd name="connsiteX3" fmla="*/ 3317240 w 3417615"/>
                <a:gd name="connsiteY3" fmla="*/ 2164080 h 2164080"/>
                <a:gd name="connsiteX4" fmla="*/ 3413760 w 3417615"/>
                <a:gd name="connsiteY4" fmla="*/ 2046605 h 2164080"/>
                <a:gd name="connsiteX5" fmla="*/ 3417615 w 3417615"/>
                <a:gd name="connsiteY5" fmla="*/ 368979 h 2164080"/>
                <a:gd name="connsiteX0" fmla="*/ 3855 w 3417615"/>
                <a:gd name="connsiteY0" fmla="*/ 0 h 1913558"/>
                <a:gd name="connsiteX1" fmla="*/ 0 w 3417615"/>
                <a:gd name="connsiteY1" fmla="*/ 1776398 h 1913558"/>
                <a:gd name="connsiteX2" fmla="*/ 137160 w 3417615"/>
                <a:gd name="connsiteY2" fmla="*/ 1913558 h 1913558"/>
                <a:gd name="connsiteX3" fmla="*/ 3317240 w 3417615"/>
                <a:gd name="connsiteY3" fmla="*/ 1913558 h 1913558"/>
                <a:gd name="connsiteX4" fmla="*/ 3413760 w 3417615"/>
                <a:gd name="connsiteY4" fmla="*/ 1796083 h 1913558"/>
                <a:gd name="connsiteX5" fmla="*/ 3417615 w 3417615"/>
                <a:gd name="connsiteY5" fmla="*/ 118457 h 1913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17615" h="1913558">
                  <a:moveTo>
                    <a:pt x="3855" y="0"/>
                  </a:moveTo>
                  <a:lnTo>
                    <a:pt x="0" y="1776398"/>
                  </a:lnTo>
                  <a:cubicBezTo>
                    <a:pt x="0" y="1854503"/>
                    <a:pt x="17145" y="1907843"/>
                    <a:pt x="137160" y="1913558"/>
                  </a:cubicBezTo>
                  <a:lnTo>
                    <a:pt x="3317240" y="1913558"/>
                  </a:lnTo>
                  <a:cubicBezTo>
                    <a:pt x="3377988" y="1906785"/>
                    <a:pt x="3413972" y="1863816"/>
                    <a:pt x="3413760" y="1796083"/>
                  </a:cubicBezTo>
                  <a:lnTo>
                    <a:pt x="3417615" y="118457"/>
                  </a:lnTo>
                </a:path>
              </a:pathLst>
            </a:custGeom>
            <a:noFill/>
            <a:ln w="12700">
              <a:solidFill>
                <a:schemeClr val="accent2"/>
              </a:solidFill>
              <a:prstDash val="sysDash"/>
            </a:ln>
          </p:spPr>
          <p:style>
            <a:lnRef idx="1">
              <a:schemeClr val="dk1"/>
            </a:lnRef>
            <a:fillRef idx="0">
              <a:schemeClr val="dk1"/>
            </a:fillRef>
            <a:effectRef idx="0">
              <a:schemeClr val="dk1"/>
            </a:effectRef>
            <a:fontRef idx="minor">
              <a:schemeClr val="tx1"/>
            </a:fontRef>
          </p:style>
          <p:txBody>
            <a:bodyPr rtlCol="0" anchor="ctr"/>
            <a:lstStyle/>
            <a:p>
              <a:pPr algn="ctr"/>
              <a:endParaRPr lang="en-US"/>
            </a:p>
          </p:txBody>
        </p:sp>
      </p:grpSp>
      <p:sp>
        <p:nvSpPr>
          <p:cNvPr id="15" name="TextBox 14">
            <a:extLst>
              <a:ext uri="{FF2B5EF4-FFF2-40B4-BE49-F238E27FC236}">
                <a16:creationId xmlns:a16="http://schemas.microsoft.com/office/drawing/2014/main" id="{9ECF5A8C-6D2E-5F00-D18B-76004E576D86}"/>
              </a:ext>
            </a:extLst>
          </p:cNvPr>
          <p:cNvSpPr txBox="1"/>
          <p:nvPr/>
        </p:nvSpPr>
        <p:spPr>
          <a:xfrm>
            <a:off x="5723353" y="5078933"/>
            <a:ext cx="5782945" cy="1138773"/>
          </a:xfrm>
          <a:prstGeom prst="rect">
            <a:avLst/>
          </a:prstGeom>
          <a:noFill/>
          <a:ln w="9525" cap="rnd">
            <a:noFill/>
            <a:prstDash val="solid"/>
            <a:round/>
          </a:ln>
          <a:effectLst/>
          <a:extLst>
            <a:ext uri="{909E8E84-426E-40DD-AFC4-6F175D3DCCD1}">
              <a14:hiddenFill xmlns:a14="http://schemas.microsoft.com/office/drawing/2010/main">
                <a:solidFill>
                  <a:srgbClr val="29BA74"/>
                </a:solidFill>
              </a14:hiddenFill>
            </a:ext>
            <a:ext uri="{AF507438-7753-43E0-B8FC-AC1667EBCBE1}">
              <a14:hiddenEffects xmlns:a14="http://schemas.microsoft.com/office/drawing/2010/main">
                <a:effectLst>
                  <a:outerShdw sx="0" sy="0" rotWithShape="0">
                    <a:scrgbClr r="0" g="0" b="0"/>
                  </a:outerShdw>
                </a:effectLst>
              </a14:hiddenEffects>
            </a:ext>
            <a:ext uri="{53640926-AAD7-44D8-BBD7-CCE9431645EC}">
              <a14:shadowObscure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fontAlgn="base">
              <a:buSzPct val="100000"/>
              <a:buFont typeface="Trebuchet MS" panose="020B0603020202020204" pitchFamily="34" charset="0"/>
              <a:buChar char="​"/>
            </a:pPr>
            <a:br>
              <a:rPr lang="en-US" sz="1200" dirty="0">
                <a:solidFill>
                  <a:schemeClr val="tx1"/>
                </a:solidFill>
                <a:sym typeface="Trebuchet MS" panose="020B0603020202020204" pitchFamily="34" charset="0"/>
              </a:rPr>
            </a:br>
            <a:r>
              <a:rPr lang="en-US" sz="1400" dirty="0">
                <a:solidFill>
                  <a:schemeClr val="tx2"/>
                </a:solidFill>
                <a:sym typeface="Trebuchet MS" panose="020B0603020202020204" pitchFamily="34" charset="0"/>
              </a:rPr>
              <a:t>Key findings:</a:t>
            </a:r>
          </a:p>
          <a:p>
            <a:pPr marL="324000" lvl="1" indent="-216000" defTabSz="913332">
              <a:buClr>
                <a:schemeClr val="tx2">
                  <a:lumMod val="100000"/>
                </a:schemeClr>
              </a:buClr>
              <a:buSzPct val="100000"/>
              <a:buFont typeface="Trebuchet MS" panose="020B0603020202020204" pitchFamily="34" charset="0"/>
              <a:buChar char="•"/>
            </a:pPr>
            <a:r>
              <a:rPr lang="en-US" sz="1200" dirty="0">
                <a:solidFill>
                  <a:schemeClr val="tx1"/>
                </a:solidFill>
                <a:sym typeface="Trebuchet MS" panose="020B0603020202020204" pitchFamily="34" charset="0"/>
              </a:rPr>
              <a:t>First 5 records of a dataset</a:t>
            </a:r>
          </a:p>
          <a:p>
            <a:pPr marL="324000" lvl="1" indent="-216000" defTabSz="913332">
              <a:buClr>
                <a:schemeClr val="tx2">
                  <a:lumMod val="100000"/>
                </a:schemeClr>
              </a:buClr>
              <a:buSzPct val="100000"/>
              <a:buFont typeface="Trebuchet MS" panose="020B0603020202020204" pitchFamily="34" charset="0"/>
              <a:buChar char="•"/>
            </a:pPr>
            <a:r>
              <a:rPr lang="en-US" sz="1200" dirty="0">
                <a:solidFill>
                  <a:schemeClr val="tx1"/>
                </a:solidFill>
                <a:sym typeface="Trebuchet MS" panose="020B0603020202020204" pitchFamily="34" charset="0"/>
              </a:rPr>
              <a:t>Details of a dataset: its column header name, datatype and total numbers of non-null records</a:t>
            </a:r>
          </a:p>
          <a:p>
            <a:pPr marL="324000" lvl="1" indent="-216000" defTabSz="913332">
              <a:buClr>
                <a:schemeClr val="tx2">
                  <a:lumMod val="100000"/>
                </a:schemeClr>
              </a:buClr>
              <a:buSzPct val="100000"/>
              <a:buFont typeface="Trebuchet MS" panose="020B0603020202020204" pitchFamily="34" charset="0"/>
              <a:buChar char="•"/>
            </a:pPr>
            <a:endParaRPr lang="en-US" sz="1200" dirty="0">
              <a:solidFill>
                <a:schemeClr val="tx1"/>
              </a:solidFill>
              <a:sym typeface="Trebuchet MS" panose="020B0603020202020204" pitchFamily="34" charset="0"/>
            </a:endParaRPr>
          </a:p>
        </p:txBody>
      </p:sp>
      <p:grpSp>
        <p:nvGrpSpPr>
          <p:cNvPr id="16" name="Group 15">
            <a:extLst>
              <a:ext uri="{FF2B5EF4-FFF2-40B4-BE49-F238E27FC236}">
                <a16:creationId xmlns:a16="http://schemas.microsoft.com/office/drawing/2014/main" id="{97381570-A870-813A-4F5B-60B8478592D6}"/>
              </a:ext>
            </a:extLst>
          </p:cNvPr>
          <p:cNvGrpSpPr/>
          <p:nvPr/>
        </p:nvGrpSpPr>
        <p:grpSpPr>
          <a:xfrm>
            <a:off x="628651" y="1724934"/>
            <a:ext cx="4525847" cy="646488"/>
            <a:chOff x="628651" y="1999254"/>
            <a:chExt cx="5126698" cy="646488"/>
          </a:xfrm>
        </p:grpSpPr>
        <p:sp>
          <p:nvSpPr>
            <p:cNvPr id="17" name="Freeform: Shape 16">
              <a:extLst>
                <a:ext uri="{FF2B5EF4-FFF2-40B4-BE49-F238E27FC236}">
                  <a16:creationId xmlns:a16="http://schemas.microsoft.com/office/drawing/2014/main" id="{22FEAA0C-553A-E6A1-281B-A1DE8C268C9E}"/>
                </a:ext>
              </a:extLst>
            </p:cNvPr>
            <p:cNvSpPr/>
            <p:nvPr/>
          </p:nvSpPr>
          <p:spPr>
            <a:xfrm>
              <a:off x="628651" y="1999254"/>
              <a:ext cx="5126698" cy="646488"/>
            </a:xfrm>
            <a:custGeom>
              <a:avLst/>
              <a:gdLst>
                <a:gd name="connsiteX0" fmla="*/ 0 w 3435424"/>
                <a:gd name="connsiteY0" fmla="*/ 0 h 411480"/>
                <a:gd name="connsiteX1" fmla="*/ 354330 w 3435424"/>
                <a:gd name="connsiteY1" fmla="*/ 0 h 411480"/>
                <a:gd name="connsiteX2" fmla="*/ 434340 w 3435424"/>
                <a:gd name="connsiteY2" fmla="*/ 0 h 411480"/>
                <a:gd name="connsiteX3" fmla="*/ 3435424 w 3435424"/>
                <a:gd name="connsiteY3" fmla="*/ 0 h 411480"/>
                <a:gd name="connsiteX4" fmla="*/ 3081094 w 3435424"/>
                <a:gd name="connsiteY4" fmla="*/ 411480 h 411480"/>
                <a:gd name="connsiteX5" fmla="*/ 434340 w 3435424"/>
                <a:gd name="connsiteY5" fmla="*/ 411480 h 411480"/>
                <a:gd name="connsiteX6" fmla="*/ 0 w 3435424"/>
                <a:gd name="connsiteY6" fmla="*/ 411480 h 411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35424" h="411480">
                  <a:moveTo>
                    <a:pt x="0" y="0"/>
                  </a:moveTo>
                  <a:lnTo>
                    <a:pt x="354330" y="0"/>
                  </a:lnTo>
                  <a:lnTo>
                    <a:pt x="434340" y="0"/>
                  </a:lnTo>
                  <a:lnTo>
                    <a:pt x="3435424" y="0"/>
                  </a:lnTo>
                  <a:lnTo>
                    <a:pt x="3081094" y="411480"/>
                  </a:lnTo>
                  <a:lnTo>
                    <a:pt x="434340" y="411480"/>
                  </a:lnTo>
                  <a:lnTo>
                    <a:pt x="0" y="411480"/>
                  </a:lnTo>
                  <a:close/>
                </a:path>
              </a:pathLst>
            </a:custGeom>
            <a:solidFill>
              <a:schemeClr val="tx2"/>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Freeform: Shape 17">
              <a:extLst>
                <a:ext uri="{FF2B5EF4-FFF2-40B4-BE49-F238E27FC236}">
                  <a16:creationId xmlns:a16="http://schemas.microsoft.com/office/drawing/2014/main" id="{A15AF271-E1DA-1D3E-72B1-E8FEEDFBF8CC}"/>
                </a:ext>
              </a:extLst>
            </p:cNvPr>
            <p:cNvSpPr/>
            <p:nvPr/>
          </p:nvSpPr>
          <p:spPr>
            <a:xfrm>
              <a:off x="628651" y="2497588"/>
              <a:ext cx="4708395" cy="148153"/>
            </a:xfrm>
            <a:custGeom>
              <a:avLst/>
              <a:gdLst>
                <a:gd name="connsiteX0" fmla="*/ 0 w 3155117"/>
                <a:gd name="connsiteY0" fmla="*/ 0 h 94297"/>
                <a:gd name="connsiteX1" fmla="*/ 81200 w 3155117"/>
                <a:gd name="connsiteY1" fmla="*/ 0 h 94297"/>
                <a:gd name="connsiteX2" fmla="*/ 126165 w 3155117"/>
                <a:gd name="connsiteY2" fmla="*/ 0 h 94297"/>
                <a:gd name="connsiteX3" fmla="*/ 3155117 w 3155117"/>
                <a:gd name="connsiteY3" fmla="*/ 0 h 94297"/>
                <a:gd name="connsiteX4" fmla="*/ 3073917 w 3155117"/>
                <a:gd name="connsiteY4" fmla="*/ 94297 h 94297"/>
                <a:gd name="connsiteX5" fmla="*/ 126165 w 3155117"/>
                <a:gd name="connsiteY5" fmla="*/ 94297 h 94297"/>
                <a:gd name="connsiteX6" fmla="*/ 0 w 3155117"/>
                <a:gd name="connsiteY6" fmla="*/ 94297 h 942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55117" h="94297">
                  <a:moveTo>
                    <a:pt x="0" y="0"/>
                  </a:moveTo>
                  <a:lnTo>
                    <a:pt x="81200" y="0"/>
                  </a:lnTo>
                  <a:lnTo>
                    <a:pt x="126165" y="0"/>
                  </a:lnTo>
                  <a:lnTo>
                    <a:pt x="3155117" y="0"/>
                  </a:lnTo>
                  <a:lnTo>
                    <a:pt x="3073917" y="94297"/>
                  </a:lnTo>
                  <a:lnTo>
                    <a:pt x="126165" y="94297"/>
                  </a:lnTo>
                  <a:lnTo>
                    <a:pt x="0" y="94297"/>
                  </a:lnTo>
                  <a:close/>
                </a:path>
              </a:pathLst>
            </a:custGeom>
            <a:solidFill>
              <a:schemeClr val="accent2"/>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9" name="Group 18">
            <a:extLst>
              <a:ext uri="{FF2B5EF4-FFF2-40B4-BE49-F238E27FC236}">
                <a16:creationId xmlns:a16="http://schemas.microsoft.com/office/drawing/2014/main" id="{827F60B1-542E-636E-565C-C9AE51A0A489}"/>
              </a:ext>
            </a:extLst>
          </p:cNvPr>
          <p:cNvGrpSpPr/>
          <p:nvPr/>
        </p:nvGrpSpPr>
        <p:grpSpPr>
          <a:xfrm>
            <a:off x="5635653" y="1724934"/>
            <a:ext cx="6062861" cy="646488"/>
            <a:chOff x="6436652" y="1999254"/>
            <a:chExt cx="5126698" cy="646488"/>
          </a:xfrm>
        </p:grpSpPr>
        <p:sp>
          <p:nvSpPr>
            <p:cNvPr id="20" name="Freeform: Shape 19">
              <a:extLst>
                <a:ext uri="{FF2B5EF4-FFF2-40B4-BE49-F238E27FC236}">
                  <a16:creationId xmlns:a16="http://schemas.microsoft.com/office/drawing/2014/main" id="{D286BEDE-CF40-A634-32F5-604740082E04}"/>
                </a:ext>
              </a:extLst>
            </p:cNvPr>
            <p:cNvSpPr/>
            <p:nvPr/>
          </p:nvSpPr>
          <p:spPr>
            <a:xfrm>
              <a:off x="6436652" y="1999254"/>
              <a:ext cx="5126698" cy="646488"/>
            </a:xfrm>
            <a:custGeom>
              <a:avLst/>
              <a:gdLst>
                <a:gd name="connsiteX0" fmla="*/ 0 w 3435424"/>
                <a:gd name="connsiteY0" fmla="*/ 0 h 411480"/>
                <a:gd name="connsiteX1" fmla="*/ 354330 w 3435424"/>
                <a:gd name="connsiteY1" fmla="*/ 0 h 411480"/>
                <a:gd name="connsiteX2" fmla="*/ 434340 w 3435424"/>
                <a:gd name="connsiteY2" fmla="*/ 0 h 411480"/>
                <a:gd name="connsiteX3" fmla="*/ 3435424 w 3435424"/>
                <a:gd name="connsiteY3" fmla="*/ 0 h 411480"/>
                <a:gd name="connsiteX4" fmla="*/ 3081094 w 3435424"/>
                <a:gd name="connsiteY4" fmla="*/ 411480 h 411480"/>
                <a:gd name="connsiteX5" fmla="*/ 434340 w 3435424"/>
                <a:gd name="connsiteY5" fmla="*/ 411480 h 411480"/>
                <a:gd name="connsiteX6" fmla="*/ 0 w 3435424"/>
                <a:gd name="connsiteY6" fmla="*/ 411480 h 411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35424" h="411480">
                  <a:moveTo>
                    <a:pt x="0" y="0"/>
                  </a:moveTo>
                  <a:lnTo>
                    <a:pt x="354330" y="0"/>
                  </a:lnTo>
                  <a:lnTo>
                    <a:pt x="434340" y="0"/>
                  </a:lnTo>
                  <a:lnTo>
                    <a:pt x="3435424" y="0"/>
                  </a:lnTo>
                  <a:lnTo>
                    <a:pt x="3081094" y="411480"/>
                  </a:lnTo>
                  <a:lnTo>
                    <a:pt x="434340" y="411480"/>
                  </a:lnTo>
                  <a:lnTo>
                    <a:pt x="0" y="411480"/>
                  </a:lnTo>
                  <a:close/>
                </a:path>
              </a:pathLst>
            </a:custGeom>
            <a:solidFill>
              <a:schemeClr val="tx2"/>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Freeform: Shape 20">
              <a:extLst>
                <a:ext uri="{FF2B5EF4-FFF2-40B4-BE49-F238E27FC236}">
                  <a16:creationId xmlns:a16="http://schemas.microsoft.com/office/drawing/2014/main" id="{E693340E-7F5B-431B-E44D-994EA28D0496}"/>
                </a:ext>
              </a:extLst>
            </p:cNvPr>
            <p:cNvSpPr/>
            <p:nvPr/>
          </p:nvSpPr>
          <p:spPr>
            <a:xfrm>
              <a:off x="6436652" y="2497588"/>
              <a:ext cx="4708395" cy="148153"/>
            </a:xfrm>
            <a:custGeom>
              <a:avLst/>
              <a:gdLst>
                <a:gd name="connsiteX0" fmla="*/ 0 w 3155117"/>
                <a:gd name="connsiteY0" fmla="*/ 0 h 94297"/>
                <a:gd name="connsiteX1" fmla="*/ 81200 w 3155117"/>
                <a:gd name="connsiteY1" fmla="*/ 0 h 94297"/>
                <a:gd name="connsiteX2" fmla="*/ 126165 w 3155117"/>
                <a:gd name="connsiteY2" fmla="*/ 0 h 94297"/>
                <a:gd name="connsiteX3" fmla="*/ 3155117 w 3155117"/>
                <a:gd name="connsiteY3" fmla="*/ 0 h 94297"/>
                <a:gd name="connsiteX4" fmla="*/ 3073917 w 3155117"/>
                <a:gd name="connsiteY4" fmla="*/ 94297 h 94297"/>
                <a:gd name="connsiteX5" fmla="*/ 126165 w 3155117"/>
                <a:gd name="connsiteY5" fmla="*/ 94297 h 94297"/>
                <a:gd name="connsiteX6" fmla="*/ 0 w 3155117"/>
                <a:gd name="connsiteY6" fmla="*/ 94297 h 942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55117" h="94297">
                  <a:moveTo>
                    <a:pt x="0" y="0"/>
                  </a:moveTo>
                  <a:lnTo>
                    <a:pt x="81200" y="0"/>
                  </a:lnTo>
                  <a:lnTo>
                    <a:pt x="126165" y="0"/>
                  </a:lnTo>
                  <a:lnTo>
                    <a:pt x="3155117" y="0"/>
                  </a:lnTo>
                  <a:lnTo>
                    <a:pt x="3073917" y="94297"/>
                  </a:lnTo>
                  <a:lnTo>
                    <a:pt x="126165" y="94297"/>
                  </a:lnTo>
                  <a:lnTo>
                    <a:pt x="0" y="94297"/>
                  </a:lnTo>
                  <a:close/>
                </a:path>
              </a:pathLst>
            </a:custGeom>
            <a:solidFill>
              <a:schemeClr val="accent2"/>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2" name="Oval 21">
            <a:extLst>
              <a:ext uri="{FF2B5EF4-FFF2-40B4-BE49-F238E27FC236}">
                <a16:creationId xmlns:a16="http://schemas.microsoft.com/office/drawing/2014/main" id="{86AF5D30-64E0-3D4C-591A-A38ADE906DAE}"/>
              </a:ext>
            </a:extLst>
          </p:cNvPr>
          <p:cNvSpPr/>
          <p:nvPr/>
        </p:nvSpPr>
        <p:spPr>
          <a:xfrm>
            <a:off x="5761355" y="1566477"/>
            <a:ext cx="963402" cy="963402"/>
          </a:xfrm>
          <a:prstGeom prst="ellipse">
            <a:avLst/>
          </a:prstGeom>
          <a:solidFill>
            <a:srgbClr val="FFFFFF"/>
          </a:solidFill>
          <a:ln w="38100">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kern="0">
              <a:solidFill>
                <a:schemeClr val="bg1">
                  <a:lumMod val="50000"/>
                </a:schemeClr>
              </a:solidFill>
            </a:endParaRPr>
          </a:p>
        </p:txBody>
      </p:sp>
      <p:sp>
        <p:nvSpPr>
          <p:cNvPr id="23" name="Oval 22">
            <a:extLst>
              <a:ext uri="{FF2B5EF4-FFF2-40B4-BE49-F238E27FC236}">
                <a16:creationId xmlns:a16="http://schemas.microsoft.com/office/drawing/2014/main" id="{56F5B269-4689-EA87-B0FB-9C111E4E0B8F}"/>
              </a:ext>
            </a:extLst>
          </p:cNvPr>
          <p:cNvSpPr/>
          <p:nvPr/>
        </p:nvSpPr>
        <p:spPr>
          <a:xfrm>
            <a:off x="802497" y="1546502"/>
            <a:ext cx="963402" cy="963402"/>
          </a:xfrm>
          <a:prstGeom prst="ellipse">
            <a:avLst/>
          </a:prstGeom>
          <a:solidFill>
            <a:srgbClr val="FFFFFF"/>
          </a:solidFill>
          <a:ln w="38100">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kern="0">
              <a:solidFill>
                <a:schemeClr val="bg1">
                  <a:lumMod val="50000"/>
                </a:schemeClr>
              </a:solidFill>
            </a:endParaRPr>
          </a:p>
        </p:txBody>
      </p:sp>
      <p:sp>
        <p:nvSpPr>
          <p:cNvPr id="33" name="TextBox 32">
            <a:extLst>
              <a:ext uri="{FF2B5EF4-FFF2-40B4-BE49-F238E27FC236}">
                <a16:creationId xmlns:a16="http://schemas.microsoft.com/office/drawing/2014/main" id="{F6200355-A8E3-046A-CD8A-657829F60AAD}"/>
              </a:ext>
            </a:extLst>
          </p:cNvPr>
          <p:cNvSpPr txBox="1"/>
          <p:nvPr/>
        </p:nvSpPr>
        <p:spPr>
          <a:xfrm>
            <a:off x="1937544" y="1940455"/>
            <a:ext cx="3007618" cy="21544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lvl="3"/>
            <a:r>
              <a:rPr lang="en-US" dirty="0">
                <a:solidFill>
                  <a:schemeClr val="accent3"/>
                </a:solidFill>
                <a:sym typeface="Trebuchet MS" panose="020B0603020202020204" pitchFamily="34" charset="0"/>
              </a:rPr>
              <a:t>Collecting data and EDA</a:t>
            </a:r>
          </a:p>
        </p:txBody>
      </p:sp>
      <p:sp>
        <p:nvSpPr>
          <p:cNvPr id="34" name="TextBox 33">
            <a:extLst>
              <a:ext uri="{FF2B5EF4-FFF2-40B4-BE49-F238E27FC236}">
                <a16:creationId xmlns:a16="http://schemas.microsoft.com/office/drawing/2014/main" id="{FAD1DB8C-AAC6-F474-5001-9EC0D869FE99}"/>
              </a:ext>
            </a:extLst>
          </p:cNvPr>
          <p:cNvSpPr txBox="1"/>
          <p:nvPr/>
        </p:nvSpPr>
        <p:spPr>
          <a:xfrm>
            <a:off x="6907001" y="1940455"/>
            <a:ext cx="4029029" cy="21544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lvl="3"/>
            <a:r>
              <a:rPr lang="en-US" dirty="0">
                <a:solidFill>
                  <a:srgbClr val="FFFFFF"/>
                </a:solidFill>
                <a:sym typeface="Trebuchet MS" panose="020B0603020202020204" pitchFamily="34" charset="0"/>
              </a:rPr>
              <a:t>Sample results</a:t>
            </a:r>
            <a:endParaRPr lang="en-US" dirty="0">
              <a:solidFill>
                <a:schemeClr val="accent3"/>
              </a:solidFill>
              <a:sym typeface="Trebuchet MS" panose="020B0603020202020204" pitchFamily="34" charset="0"/>
            </a:endParaRPr>
          </a:p>
        </p:txBody>
      </p:sp>
      <p:sp>
        <p:nvSpPr>
          <p:cNvPr id="38" name="Rectangle 37">
            <a:extLst>
              <a:ext uri="{FF2B5EF4-FFF2-40B4-BE49-F238E27FC236}">
                <a16:creationId xmlns:a16="http://schemas.microsoft.com/office/drawing/2014/main" id="{E935479B-9910-513F-0ED8-5B407DCC1E04}"/>
              </a:ext>
            </a:extLst>
          </p:cNvPr>
          <p:cNvSpPr/>
          <p:nvPr/>
        </p:nvSpPr>
        <p:spPr>
          <a:xfrm flipV="1">
            <a:off x="0" y="0"/>
            <a:ext cx="12192000" cy="1287597"/>
          </a:xfrm>
          <a:prstGeom prst="rect">
            <a:avLst/>
          </a:prstGeom>
          <a:gradFill flip="none" rotWithShape="1">
            <a:gsLst>
              <a:gs pos="0">
                <a:srgbClr val="008C4F"/>
              </a:gs>
              <a:gs pos="100000">
                <a:srgbClr val="00693B"/>
              </a:gs>
            </a:gsLst>
            <a:lin ang="13500000" scaled="1"/>
            <a:tileRect/>
          </a:gradFill>
          <a:ln w="10795" cap="flat" cmpd="sng" algn="ctr">
            <a:noFill/>
            <a:prstDash val="solid"/>
          </a:ln>
          <a:effectLst/>
        </p:spPr>
        <p:txBody>
          <a:bodyPr lIns="91440" tIns="91440" rIns="91440" bIns="91440" rtlCol="0" anchor="ctr"/>
          <a:lstStyle/>
          <a:p>
            <a:pPr marL="0" marR="0" lvl="0" indent="0" algn="ctr" defTabSz="914400" eaLnBrk="1" fontAlgn="auto" latinLnBrk="0" hangingPunct="1">
              <a:lnSpc>
                <a:spcPct val="95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40" name="Title 1">
            <a:extLst>
              <a:ext uri="{FF2B5EF4-FFF2-40B4-BE49-F238E27FC236}">
                <a16:creationId xmlns:a16="http://schemas.microsoft.com/office/drawing/2014/main" id="{8E7AACCA-A87D-DE89-47FB-2D8621449F16}"/>
              </a:ext>
            </a:extLst>
          </p:cNvPr>
          <p:cNvSpPr txBox="1">
            <a:spLocks/>
          </p:cNvSpPr>
          <p:nvPr/>
        </p:nvSpPr>
        <p:spPr>
          <a:xfrm>
            <a:off x="482082" y="332033"/>
            <a:ext cx="10933200" cy="701690"/>
          </a:xfrm>
          <a:prstGeom prst="rect">
            <a:avLst/>
          </a:prstGeom>
          <a:noFill/>
          <a:ln>
            <a:noFill/>
          </a:ln>
        </p:spPr>
        <p:txBody>
          <a:bodyPr spcFirstLastPara="1" vert="horz" wrap="square" lIns="91425" tIns="45700" rIns="91425" bIns="45700" anchor="ctr" anchorCtr="0">
            <a:spAutoFit/>
          </a:bodyPr>
          <a:lstStyle>
            <a:defPPr marR="0" lvl="0" algn="l" rtl="0">
              <a:lnSpc>
                <a:spcPct val="100000"/>
              </a:lnSpc>
              <a:spcBef>
                <a:spcPts val="0"/>
              </a:spcBef>
              <a:spcAft>
                <a:spcPts val="0"/>
              </a:spcAft>
            </a:defPPr>
            <a:lvl1pPr marR="0" lvl="0" algn="l" rtl="0">
              <a:lnSpc>
                <a:spcPct val="90000"/>
              </a:lnSpc>
              <a:spcBef>
                <a:spcPts val="0"/>
              </a:spcBef>
              <a:spcAft>
                <a:spcPts val="0"/>
              </a:spcAft>
              <a:buClr>
                <a:schemeClr val="dk1"/>
              </a:buClr>
              <a:buSzPts val="1800"/>
              <a:buFont typeface="Calibri"/>
              <a:buNone/>
              <a:defRPr sz="44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r>
              <a:rPr lang="en-US" dirty="0">
                <a:solidFill>
                  <a:srgbClr val="D4DF33"/>
                </a:solidFill>
                <a:latin typeface="Calibri" panose="020F0502020204030204" pitchFamily="34" charset="0"/>
              </a:rPr>
              <a:t>3 – Second step: </a:t>
            </a:r>
            <a:r>
              <a:rPr lang="en-US" dirty="0">
                <a:solidFill>
                  <a:srgbClr val="FFFFFF"/>
                </a:solidFill>
                <a:latin typeface="Calibri" panose="020F0502020204030204" pitchFamily="34" charset="0"/>
              </a:rPr>
              <a:t>Prepare</a:t>
            </a:r>
          </a:p>
        </p:txBody>
      </p:sp>
      <p:sp>
        <p:nvSpPr>
          <p:cNvPr id="41" name="Rectangle 40">
            <a:extLst>
              <a:ext uri="{FF2B5EF4-FFF2-40B4-BE49-F238E27FC236}">
                <a16:creationId xmlns:a16="http://schemas.microsoft.com/office/drawing/2014/main" id="{F13687C1-64EA-562F-FE7C-C99CDD70924C}"/>
              </a:ext>
            </a:extLst>
          </p:cNvPr>
          <p:cNvSpPr/>
          <p:nvPr/>
        </p:nvSpPr>
        <p:spPr>
          <a:xfrm>
            <a:off x="860726" y="2682285"/>
            <a:ext cx="4061695" cy="323165"/>
          </a:xfrm>
          <a:prstGeom prst="rect">
            <a:avLst/>
          </a:prstGeom>
          <a:noFill/>
          <a:ln>
            <a:noFill/>
          </a:ln>
          <a:extLst>
            <a:ext uri="{909E8E84-426E-40DD-AFC4-6F175D3DCCD1}">
              <a14:hiddenFill xmlns:a14="http://schemas.microsoft.com/office/drawing/2010/main">
                <a:solidFill>
                  <a:schemeClr val="tx2">
                    <a:lumMod val="20000"/>
                    <a:lumOff val="80000"/>
                  </a:schemeClr>
                </a:solidFill>
              </a14:hiddenFill>
            </a:ext>
          </a:extLst>
        </p:spPr>
        <p:txBody>
          <a:bodyPr wrap="square" lIns="0" tIns="0" rIns="0" bIns="0">
            <a:spAutoFit/>
          </a:bodyPr>
          <a:lstStyle/>
          <a:p>
            <a:pPr fontAlgn="ctr">
              <a:lnSpc>
                <a:spcPct val="150000"/>
              </a:lnSpc>
              <a:buSzPct val="100000"/>
              <a:buFont typeface="Trebuchet MS" panose="020B0603020202020204" pitchFamily="34" charset="0"/>
              <a:buChar char="​"/>
            </a:pPr>
            <a:r>
              <a:rPr lang="en-US" dirty="0">
                <a:solidFill>
                  <a:schemeClr val="tx2"/>
                </a:solidFill>
                <a:sym typeface="Trebuchet MS" panose="020B0603020202020204" pitchFamily="34" charset="0"/>
              </a:rPr>
              <a:t>Using Python for EDA, sample code:</a:t>
            </a:r>
            <a:endParaRPr lang="en-US" dirty="0">
              <a:sym typeface="Trebuchet MS" panose="020B0603020202020204" pitchFamily="34" charset="0"/>
            </a:endParaRPr>
          </a:p>
        </p:txBody>
      </p:sp>
      <p:pic>
        <p:nvPicPr>
          <p:cNvPr id="42" name="Picture 41">
            <a:extLst>
              <a:ext uri="{FF2B5EF4-FFF2-40B4-BE49-F238E27FC236}">
                <a16:creationId xmlns:a16="http://schemas.microsoft.com/office/drawing/2014/main" id="{1013E0E6-63C5-274B-FA7B-00CCAC9C1266}"/>
              </a:ext>
            </a:extLst>
          </p:cNvPr>
          <p:cNvPicPr>
            <a:picLocks noChangeAspect="1"/>
          </p:cNvPicPr>
          <p:nvPr/>
        </p:nvPicPr>
        <p:blipFill>
          <a:blip r:embed="rId2"/>
          <a:stretch>
            <a:fillRect/>
          </a:stretch>
        </p:blipFill>
        <p:spPr>
          <a:xfrm>
            <a:off x="802497" y="3272604"/>
            <a:ext cx="3924328" cy="2038894"/>
          </a:xfrm>
          <a:prstGeom prst="rect">
            <a:avLst/>
          </a:prstGeom>
        </p:spPr>
      </p:pic>
      <p:pic>
        <p:nvPicPr>
          <p:cNvPr id="43" name="Picture 42">
            <a:extLst>
              <a:ext uri="{FF2B5EF4-FFF2-40B4-BE49-F238E27FC236}">
                <a16:creationId xmlns:a16="http://schemas.microsoft.com/office/drawing/2014/main" id="{EE2DF52E-D0AE-9E4C-DB8E-2AEF4D540FBE}"/>
              </a:ext>
            </a:extLst>
          </p:cNvPr>
          <p:cNvPicPr>
            <a:picLocks noChangeAspect="1"/>
          </p:cNvPicPr>
          <p:nvPr/>
        </p:nvPicPr>
        <p:blipFill>
          <a:blip r:embed="rId3"/>
          <a:stretch>
            <a:fillRect/>
          </a:stretch>
        </p:blipFill>
        <p:spPr>
          <a:xfrm>
            <a:off x="5841344" y="2714736"/>
            <a:ext cx="5590864" cy="2398607"/>
          </a:xfrm>
          <a:prstGeom prst="rect">
            <a:avLst/>
          </a:prstGeom>
        </p:spPr>
      </p:pic>
      <p:grpSp>
        <p:nvGrpSpPr>
          <p:cNvPr id="44" name="Group 43">
            <a:extLst>
              <a:ext uri="{FF2B5EF4-FFF2-40B4-BE49-F238E27FC236}">
                <a16:creationId xmlns:a16="http://schemas.microsoft.com/office/drawing/2014/main" id="{D1949AD2-723D-D65F-FE91-A61E537CFF24}"/>
              </a:ext>
            </a:extLst>
          </p:cNvPr>
          <p:cNvGrpSpPr>
            <a:grpSpLocks noChangeAspect="1"/>
          </p:cNvGrpSpPr>
          <p:nvPr/>
        </p:nvGrpSpPr>
        <p:grpSpPr>
          <a:xfrm>
            <a:off x="953507" y="1704764"/>
            <a:ext cx="667897" cy="667897"/>
            <a:chOff x="1109933" y="1822724"/>
            <a:chExt cx="1649421" cy="1649421"/>
          </a:xfrm>
        </p:grpSpPr>
        <p:sp>
          <p:nvSpPr>
            <p:cNvPr id="45" name="AutoShape 68">
              <a:extLst>
                <a:ext uri="{FF2B5EF4-FFF2-40B4-BE49-F238E27FC236}">
                  <a16:creationId xmlns:a16="http://schemas.microsoft.com/office/drawing/2014/main" id="{52C4EB03-6857-2998-5B6A-F5EDD460D13E}"/>
                </a:ext>
              </a:extLst>
            </p:cNvPr>
            <p:cNvSpPr>
              <a:spLocks noChangeAspect="1" noChangeArrowheads="1" noTextEdit="1"/>
            </p:cNvSpPr>
            <p:nvPr/>
          </p:nvSpPr>
          <p:spPr bwMode="auto">
            <a:xfrm>
              <a:off x="1109933" y="1822724"/>
              <a:ext cx="1649421" cy="16494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46" name="Group 45">
              <a:extLst>
                <a:ext uri="{FF2B5EF4-FFF2-40B4-BE49-F238E27FC236}">
                  <a16:creationId xmlns:a16="http://schemas.microsoft.com/office/drawing/2014/main" id="{52180576-4741-5647-AC3A-558C24317CCE}"/>
                </a:ext>
              </a:extLst>
            </p:cNvPr>
            <p:cNvGrpSpPr/>
            <p:nvPr/>
          </p:nvGrpSpPr>
          <p:grpSpPr>
            <a:xfrm>
              <a:off x="1323199" y="2204914"/>
              <a:ext cx="1221983" cy="879309"/>
              <a:chOff x="1323199" y="2204914"/>
              <a:chExt cx="1221983" cy="879309"/>
            </a:xfrm>
          </p:grpSpPr>
          <p:sp>
            <p:nvSpPr>
              <p:cNvPr id="47" name="Freeform 70">
                <a:extLst>
                  <a:ext uri="{FF2B5EF4-FFF2-40B4-BE49-F238E27FC236}">
                    <a16:creationId xmlns:a16="http://schemas.microsoft.com/office/drawing/2014/main" id="{E9ED7625-3DCD-A16C-0316-EEDBE4A0D263}"/>
                  </a:ext>
                </a:extLst>
              </p:cNvPr>
              <p:cNvSpPr>
                <a:spLocks noEditPoints="1"/>
              </p:cNvSpPr>
              <p:nvPr/>
            </p:nvSpPr>
            <p:spPr bwMode="auto">
              <a:xfrm>
                <a:off x="1323199" y="2204914"/>
                <a:ext cx="1221983" cy="879309"/>
              </a:xfrm>
              <a:custGeom>
                <a:avLst/>
                <a:gdLst>
                  <a:gd name="T0" fmla="*/ 503 w 1707"/>
                  <a:gd name="T1" fmla="*/ 599 h 1228"/>
                  <a:gd name="T2" fmla="*/ 449 w 1707"/>
                  <a:gd name="T3" fmla="*/ 585 h 1228"/>
                  <a:gd name="T4" fmla="*/ 471 w 1707"/>
                  <a:gd name="T5" fmla="*/ 660 h 1228"/>
                  <a:gd name="T6" fmla="*/ 360 w 1707"/>
                  <a:gd name="T7" fmla="*/ 428 h 1228"/>
                  <a:gd name="T8" fmla="*/ 387 w 1707"/>
                  <a:gd name="T9" fmla="*/ 394 h 1228"/>
                  <a:gd name="T10" fmla="*/ 395 w 1707"/>
                  <a:gd name="T11" fmla="*/ 344 h 1228"/>
                  <a:gd name="T12" fmla="*/ 1445 w 1707"/>
                  <a:gd name="T13" fmla="*/ 0 h 1228"/>
                  <a:gd name="T14" fmla="*/ 429 w 1707"/>
                  <a:gd name="T15" fmla="*/ 161 h 1228"/>
                  <a:gd name="T16" fmla="*/ 440 w 1707"/>
                  <a:gd name="T17" fmla="*/ 196 h 1228"/>
                  <a:gd name="T18" fmla="*/ 449 w 1707"/>
                  <a:gd name="T19" fmla="*/ 174 h 1228"/>
                  <a:gd name="T20" fmla="*/ 457 w 1707"/>
                  <a:gd name="T21" fmla="*/ 158 h 1228"/>
                  <a:gd name="T22" fmla="*/ 465 w 1707"/>
                  <a:gd name="T23" fmla="*/ 143 h 1228"/>
                  <a:gd name="T24" fmla="*/ 473 w 1707"/>
                  <a:gd name="T25" fmla="*/ 129 h 1228"/>
                  <a:gd name="T26" fmla="*/ 575 w 1707"/>
                  <a:gd name="T27" fmla="*/ 37 h 1228"/>
                  <a:gd name="T28" fmla="*/ 589 w 1707"/>
                  <a:gd name="T29" fmla="*/ 34 h 1228"/>
                  <a:gd name="T30" fmla="*/ 1454 w 1707"/>
                  <a:gd name="T31" fmla="*/ 35 h 1228"/>
                  <a:gd name="T32" fmla="*/ 1466 w 1707"/>
                  <a:gd name="T33" fmla="*/ 37 h 1228"/>
                  <a:gd name="T34" fmla="*/ 1478 w 1707"/>
                  <a:gd name="T35" fmla="*/ 40 h 1228"/>
                  <a:gd name="T36" fmla="*/ 1488 w 1707"/>
                  <a:gd name="T37" fmla="*/ 46 h 1228"/>
                  <a:gd name="T38" fmla="*/ 1499 w 1707"/>
                  <a:gd name="T39" fmla="*/ 52 h 1228"/>
                  <a:gd name="T40" fmla="*/ 1513 w 1707"/>
                  <a:gd name="T41" fmla="*/ 62 h 1228"/>
                  <a:gd name="T42" fmla="*/ 1596 w 1707"/>
                  <a:gd name="T43" fmla="*/ 187 h 1228"/>
                  <a:gd name="T44" fmla="*/ 1607 w 1707"/>
                  <a:gd name="T45" fmla="*/ 216 h 1228"/>
                  <a:gd name="T46" fmla="*/ 1608 w 1707"/>
                  <a:gd name="T47" fmla="*/ 1011 h 1228"/>
                  <a:gd name="T48" fmla="*/ 1600 w 1707"/>
                  <a:gd name="T49" fmla="*/ 1031 h 1228"/>
                  <a:gd name="T50" fmla="*/ 1514 w 1707"/>
                  <a:gd name="T51" fmla="*/ 1164 h 1228"/>
                  <a:gd name="T52" fmla="*/ 1504 w 1707"/>
                  <a:gd name="T53" fmla="*/ 1173 h 1228"/>
                  <a:gd name="T54" fmla="*/ 1491 w 1707"/>
                  <a:gd name="T55" fmla="*/ 1181 h 1228"/>
                  <a:gd name="T56" fmla="*/ 1479 w 1707"/>
                  <a:gd name="T57" fmla="*/ 1187 h 1228"/>
                  <a:gd name="T58" fmla="*/ 1468 w 1707"/>
                  <a:gd name="T59" fmla="*/ 1190 h 1228"/>
                  <a:gd name="T60" fmla="*/ 1456 w 1707"/>
                  <a:gd name="T61" fmla="*/ 1193 h 1228"/>
                  <a:gd name="T62" fmla="*/ 1443 w 1707"/>
                  <a:gd name="T63" fmla="*/ 1194 h 1228"/>
                  <a:gd name="T64" fmla="*/ 1434 w 1707"/>
                  <a:gd name="T65" fmla="*/ 1193 h 1228"/>
                  <a:gd name="T66" fmla="*/ 599 w 1707"/>
                  <a:gd name="T67" fmla="*/ 1194 h 1228"/>
                  <a:gd name="T68" fmla="*/ 587 w 1707"/>
                  <a:gd name="T69" fmla="*/ 1193 h 1228"/>
                  <a:gd name="T70" fmla="*/ 574 w 1707"/>
                  <a:gd name="T71" fmla="*/ 1191 h 1228"/>
                  <a:gd name="T72" fmla="*/ 563 w 1707"/>
                  <a:gd name="T73" fmla="*/ 1188 h 1228"/>
                  <a:gd name="T74" fmla="*/ 552 w 1707"/>
                  <a:gd name="T75" fmla="*/ 1182 h 1228"/>
                  <a:gd name="T76" fmla="*/ 541 w 1707"/>
                  <a:gd name="T77" fmla="*/ 1176 h 1228"/>
                  <a:gd name="T78" fmla="*/ 528 w 1707"/>
                  <a:gd name="T79" fmla="*/ 1166 h 1228"/>
                  <a:gd name="T80" fmla="*/ 596 w 1707"/>
                  <a:gd name="T81" fmla="*/ 1228 h 1228"/>
                  <a:gd name="T82" fmla="*/ 1707 w 1707"/>
                  <a:gd name="T83" fmla="*/ 614 h 1228"/>
                  <a:gd name="T84" fmla="*/ 451 w 1707"/>
                  <a:gd name="T85" fmla="*/ 423 h 1228"/>
                  <a:gd name="T86" fmla="*/ 535 w 1707"/>
                  <a:gd name="T87" fmla="*/ 409 h 1228"/>
                  <a:gd name="T88" fmla="*/ 639 w 1707"/>
                  <a:gd name="T89" fmla="*/ 522 h 1228"/>
                  <a:gd name="T90" fmla="*/ 684 w 1707"/>
                  <a:gd name="T91" fmla="*/ 664 h 1228"/>
                  <a:gd name="T92" fmla="*/ 631 w 1707"/>
                  <a:gd name="T93" fmla="*/ 772 h 1228"/>
                  <a:gd name="T94" fmla="*/ 577 w 1707"/>
                  <a:gd name="T95" fmla="*/ 813 h 1228"/>
                  <a:gd name="T96" fmla="*/ 471 w 1707"/>
                  <a:gd name="T97" fmla="*/ 817 h 1228"/>
                  <a:gd name="T98" fmla="*/ 488 w 1707"/>
                  <a:gd name="T99" fmla="*/ 1013 h 1228"/>
                  <a:gd name="T100" fmla="*/ 808 w 1707"/>
                  <a:gd name="T101" fmla="*/ 614 h 1228"/>
                  <a:gd name="T102" fmla="*/ 362 w 1707"/>
                  <a:gd name="T103" fmla="*/ 894 h 1228"/>
                  <a:gd name="T104" fmla="*/ 345 w 1707"/>
                  <a:gd name="T105" fmla="*/ 800 h 1228"/>
                  <a:gd name="T106" fmla="*/ 226 w 1707"/>
                  <a:gd name="T107" fmla="*/ 1169 h 1228"/>
                  <a:gd name="T108" fmla="*/ 79 w 1707"/>
                  <a:gd name="T109" fmla="*/ 793 h 1228"/>
                  <a:gd name="T110" fmla="*/ 98 w 1707"/>
                  <a:gd name="T111" fmla="*/ 926 h 1228"/>
                  <a:gd name="T112" fmla="*/ 0 w 1707"/>
                  <a:gd name="T113" fmla="*/ 370 h 1228"/>
                  <a:gd name="T114" fmla="*/ 79 w 1707"/>
                  <a:gd name="T115" fmla="*/ 410 h 1228"/>
                  <a:gd name="T116" fmla="*/ 79 w 1707"/>
                  <a:gd name="T117" fmla="*/ 410 h 1228"/>
                  <a:gd name="T118" fmla="*/ 305 w 1707"/>
                  <a:gd name="T119" fmla="*/ 146 h 1228"/>
                  <a:gd name="T120" fmla="*/ 226 w 1707"/>
                  <a:gd name="T121" fmla="*/ 107 h 1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707" h="1228">
                    <a:moveTo>
                      <a:pt x="471" y="660"/>
                    </a:moveTo>
                    <a:cubicBezTo>
                      <a:pt x="477" y="660"/>
                      <a:pt x="483" y="658"/>
                      <a:pt x="489" y="655"/>
                    </a:cubicBezTo>
                    <a:cubicBezTo>
                      <a:pt x="489" y="655"/>
                      <a:pt x="489" y="655"/>
                      <a:pt x="489" y="655"/>
                    </a:cubicBezTo>
                    <a:cubicBezTo>
                      <a:pt x="508" y="644"/>
                      <a:pt x="514" y="619"/>
                      <a:pt x="503" y="599"/>
                    </a:cubicBezTo>
                    <a:cubicBezTo>
                      <a:pt x="496" y="587"/>
                      <a:pt x="483" y="580"/>
                      <a:pt x="469" y="580"/>
                    </a:cubicBezTo>
                    <a:cubicBezTo>
                      <a:pt x="467" y="580"/>
                      <a:pt x="466" y="580"/>
                      <a:pt x="464" y="580"/>
                    </a:cubicBezTo>
                    <a:cubicBezTo>
                      <a:pt x="463" y="580"/>
                      <a:pt x="463" y="580"/>
                      <a:pt x="463" y="580"/>
                    </a:cubicBezTo>
                    <a:cubicBezTo>
                      <a:pt x="461" y="580"/>
                      <a:pt x="456" y="581"/>
                      <a:pt x="449" y="585"/>
                    </a:cubicBezTo>
                    <a:cubicBezTo>
                      <a:pt x="441" y="590"/>
                      <a:pt x="435" y="598"/>
                      <a:pt x="432" y="608"/>
                    </a:cubicBezTo>
                    <a:cubicBezTo>
                      <a:pt x="429" y="619"/>
                      <a:pt x="431" y="630"/>
                      <a:pt x="436" y="639"/>
                    </a:cubicBezTo>
                    <a:cubicBezTo>
                      <a:pt x="437" y="640"/>
                      <a:pt x="437" y="640"/>
                      <a:pt x="437" y="640"/>
                    </a:cubicBezTo>
                    <a:cubicBezTo>
                      <a:pt x="444" y="652"/>
                      <a:pt x="457" y="660"/>
                      <a:pt x="471" y="660"/>
                    </a:cubicBezTo>
                    <a:close/>
                    <a:moveTo>
                      <a:pt x="362" y="333"/>
                    </a:moveTo>
                    <a:cubicBezTo>
                      <a:pt x="355" y="367"/>
                      <a:pt x="349" y="403"/>
                      <a:pt x="344" y="439"/>
                    </a:cubicBezTo>
                    <a:cubicBezTo>
                      <a:pt x="349" y="435"/>
                      <a:pt x="354" y="432"/>
                      <a:pt x="359" y="429"/>
                    </a:cubicBezTo>
                    <a:cubicBezTo>
                      <a:pt x="360" y="428"/>
                      <a:pt x="360" y="428"/>
                      <a:pt x="360" y="428"/>
                    </a:cubicBezTo>
                    <a:cubicBezTo>
                      <a:pt x="362" y="427"/>
                      <a:pt x="362" y="427"/>
                      <a:pt x="362" y="427"/>
                    </a:cubicBezTo>
                    <a:cubicBezTo>
                      <a:pt x="369" y="423"/>
                      <a:pt x="376" y="420"/>
                      <a:pt x="383" y="417"/>
                    </a:cubicBezTo>
                    <a:cubicBezTo>
                      <a:pt x="384" y="410"/>
                      <a:pt x="385" y="403"/>
                      <a:pt x="387" y="397"/>
                    </a:cubicBezTo>
                    <a:cubicBezTo>
                      <a:pt x="387" y="394"/>
                      <a:pt x="387" y="394"/>
                      <a:pt x="387" y="394"/>
                    </a:cubicBezTo>
                    <a:cubicBezTo>
                      <a:pt x="387" y="386"/>
                      <a:pt x="389" y="379"/>
                      <a:pt x="391" y="371"/>
                    </a:cubicBezTo>
                    <a:cubicBezTo>
                      <a:pt x="391" y="370"/>
                      <a:pt x="391" y="370"/>
                      <a:pt x="391" y="369"/>
                    </a:cubicBezTo>
                    <a:cubicBezTo>
                      <a:pt x="393" y="361"/>
                      <a:pt x="394" y="354"/>
                      <a:pt x="395" y="345"/>
                    </a:cubicBezTo>
                    <a:cubicBezTo>
                      <a:pt x="395" y="345"/>
                      <a:pt x="395" y="345"/>
                      <a:pt x="395" y="344"/>
                    </a:cubicBezTo>
                    <a:cubicBezTo>
                      <a:pt x="397" y="338"/>
                      <a:pt x="398" y="331"/>
                      <a:pt x="400" y="325"/>
                    </a:cubicBezTo>
                    <a:cubicBezTo>
                      <a:pt x="391" y="330"/>
                      <a:pt x="381" y="334"/>
                      <a:pt x="370" y="334"/>
                    </a:cubicBezTo>
                    <a:cubicBezTo>
                      <a:pt x="367" y="334"/>
                      <a:pt x="364" y="333"/>
                      <a:pt x="362" y="333"/>
                    </a:cubicBezTo>
                    <a:close/>
                    <a:moveTo>
                      <a:pt x="1445" y="0"/>
                    </a:moveTo>
                    <a:cubicBezTo>
                      <a:pt x="583" y="0"/>
                      <a:pt x="583" y="0"/>
                      <a:pt x="583" y="0"/>
                    </a:cubicBezTo>
                    <a:cubicBezTo>
                      <a:pt x="580" y="0"/>
                      <a:pt x="577" y="1"/>
                      <a:pt x="575" y="2"/>
                    </a:cubicBezTo>
                    <a:cubicBezTo>
                      <a:pt x="519" y="11"/>
                      <a:pt x="468" y="61"/>
                      <a:pt x="426" y="143"/>
                    </a:cubicBezTo>
                    <a:cubicBezTo>
                      <a:pt x="428" y="149"/>
                      <a:pt x="429" y="155"/>
                      <a:pt x="429" y="161"/>
                    </a:cubicBezTo>
                    <a:cubicBezTo>
                      <a:pt x="429" y="226"/>
                      <a:pt x="429" y="226"/>
                      <a:pt x="429" y="226"/>
                    </a:cubicBezTo>
                    <a:cubicBezTo>
                      <a:pt x="431" y="220"/>
                      <a:pt x="433" y="214"/>
                      <a:pt x="435" y="208"/>
                    </a:cubicBezTo>
                    <a:cubicBezTo>
                      <a:pt x="437" y="204"/>
                      <a:pt x="438" y="202"/>
                      <a:pt x="439" y="198"/>
                    </a:cubicBezTo>
                    <a:cubicBezTo>
                      <a:pt x="439" y="197"/>
                      <a:pt x="439" y="197"/>
                      <a:pt x="440" y="196"/>
                    </a:cubicBezTo>
                    <a:cubicBezTo>
                      <a:pt x="441" y="194"/>
                      <a:pt x="442" y="191"/>
                      <a:pt x="443" y="189"/>
                    </a:cubicBezTo>
                    <a:cubicBezTo>
                      <a:pt x="444" y="187"/>
                      <a:pt x="445" y="186"/>
                      <a:pt x="445" y="185"/>
                    </a:cubicBezTo>
                    <a:cubicBezTo>
                      <a:pt x="446" y="183"/>
                      <a:pt x="446" y="181"/>
                      <a:pt x="447" y="180"/>
                    </a:cubicBezTo>
                    <a:cubicBezTo>
                      <a:pt x="447" y="178"/>
                      <a:pt x="448" y="177"/>
                      <a:pt x="449" y="174"/>
                    </a:cubicBezTo>
                    <a:cubicBezTo>
                      <a:pt x="450" y="173"/>
                      <a:pt x="451" y="172"/>
                      <a:pt x="451" y="171"/>
                    </a:cubicBezTo>
                    <a:cubicBezTo>
                      <a:pt x="452" y="169"/>
                      <a:pt x="453" y="168"/>
                      <a:pt x="454" y="166"/>
                    </a:cubicBezTo>
                    <a:cubicBezTo>
                      <a:pt x="455" y="165"/>
                      <a:pt x="455" y="164"/>
                      <a:pt x="455" y="162"/>
                    </a:cubicBezTo>
                    <a:cubicBezTo>
                      <a:pt x="456" y="161"/>
                      <a:pt x="457" y="160"/>
                      <a:pt x="457" y="158"/>
                    </a:cubicBezTo>
                    <a:cubicBezTo>
                      <a:pt x="458" y="157"/>
                      <a:pt x="459" y="155"/>
                      <a:pt x="459" y="154"/>
                    </a:cubicBezTo>
                    <a:cubicBezTo>
                      <a:pt x="460" y="152"/>
                      <a:pt x="461" y="151"/>
                      <a:pt x="462" y="150"/>
                    </a:cubicBezTo>
                    <a:cubicBezTo>
                      <a:pt x="463" y="149"/>
                      <a:pt x="463" y="147"/>
                      <a:pt x="463" y="146"/>
                    </a:cubicBezTo>
                    <a:cubicBezTo>
                      <a:pt x="464" y="145"/>
                      <a:pt x="465" y="143"/>
                      <a:pt x="465" y="143"/>
                    </a:cubicBezTo>
                    <a:cubicBezTo>
                      <a:pt x="466" y="141"/>
                      <a:pt x="467" y="140"/>
                      <a:pt x="468" y="138"/>
                    </a:cubicBezTo>
                    <a:cubicBezTo>
                      <a:pt x="469" y="137"/>
                      <a:pt x="469" y="136"/>
                      <a:pt x="470" y="135"/>
                    </a:cubicBezTo>
                    <a:cubicBezTo>
                      <a:pt x="471" y="134"/>
                      <a:pt x="472" y="133"/>
                      <a:pt x="472" y="131"/>
                    </a:cubicBezTo>
                    <a:cubicBezTo>
                      <a:pt x="472" y="130"/>
                      <a:pt x="473" y="129"/>
                      <a:pt x="473" y="129"/>
                    </a:cubicBezTo>
                    <a:cubicBezTo>
                      <a:pt x="474" y="127"/>
                      <a:pt x="476" y="125"/>
                      <a:pt x="477" y="124"/>
                    </a:cubicBezTo>
                    <a:cubicBezTo>
                      <a:pt x="477" y="123"/>
                      <a:pt x="477" y="123"/>
                      <a:pt x="478" y="122"/>
                    </a:cubicBezTo>
                    <a:cubicBezTo>
                      <a:pt x="479" y="120"/>
                      <a:pt x="480" y="118"/>
                      <a:pt x="481" y="116"/>
                    </a:cubicBezTo>
                    <a:cubicBezTo>
                      <a:pt x="510" y="72"/>
                      <a:pt x="542" y="45"/>
                      <a:pt x="575" y="37"/>
                    </a:cubicBezTo>
                    <a:cubicBezTo>
                      <a:pt x="576" y="37"/>
                      <a:pt x="578" y="37"/>
                      <a:pt x="579" y="36"/>
                    </a:cubicBezTo>
                    <a:cubicBezTo>
                      <a:pt x="580" y="36"/>
                      <a:pt x="580" y="36"/>
                      <a:pt x="581" y="36"/>
                    </a:cubicBezTo>
                    <a:cubicBezTo>
                      <a:pt x="582" y="36"/>
                      <a:pt x="583" y="35"/>
                      <a:pt x="585" y="35"/>
                    </a:cubicBezTo>
                    <a:cubicBezTo>
                      <a:pt x="586" y="34"/>
                      <a:pt x="587" y="34"/>
                      <a:pt x="589" y="34"/>
                    </a:cubicBezTo>
                    <a:cubicBezTo>
                      <a:pt x="595" y="34"/>
                      <a:pt x="595" y="34"/>
                      <a:pt x="595" y="34"/>
                    </a:cubicBezTo>
                    <a:cubicBezTo>
                      <a:pt x="1437" y="34"/>
                      <a:pt x="1445" y="34"/>
                      <a:pt x="1445" y="34"/>
                    </a:cubicBezTo>
                    <a:cubicBezTo>
                      <a:pt x="1451" y="34"/>
                      <a:pt x="1451" y="34"/>
                      <a:pt x="1451" y="34"/>
                    </a:cubicBezTo>
                    <a:cubicBezTo>
                      <a:pt x="1452" y="35"/>
                      <a:pt x="1453" y="35"/>
                      <a:pt x="1454" y="35"/>
                    </a:cubicBezTo>
                    <a:cubicBezTo>
                      <a:pt x="1456" y="35"/>
                      <a:pt x="1456" y="35"/>
                      <a:pt x="1456" y="35"/>
                    </a:cubicBezTo>
                    <a:cubicBezTo>
                      <a:pt x="1457" y="35"/>
                      <a:pt x="1459" y="36"/>
                      <a:pt x="1460" y="36"/>
                    </a:cubicBezTo>
                    <a:cubicBezTo>
                      <a:pt x="1461" y="36"/>
                      <a:pt x="1462" y="36"/>
                      <a:pt x="1462" y="36"/>
                    </a:cubicBezTo>
                    <a:cubicBezTo>
                      <a:pt x="1463" y="37"/>
                      <a:pt x="1464" y="37"/>
                      <a:pt x="1466" y="37"/>
                    </a:cubicBezTo>
                    <a:cubicBezTo>
                      <a:pt x="1467" y="37"/>
                      <a:pt x="1467" y="37"/>
                      <a:pt x="1468" y="37"/>
                    </a:cubicBezTo>
                    <a:cubicBezTo>
                      <a:pt x="1469" y="37"/>
                      <a:pt x="1471" y="38"/>
                      <a:pt x="1471" y="38"/>
                    </a:cubicBezTo>
                    <a:cubicBezTo>
                      <a:pt x="1472" y="38"/>
                      <a:pt x="1473" y="39"/>
                      <a:pt x="1473" y="39"/>
                    </a:cubicBezTo>
                    <a:cubicBezTo>
                      <a:pt x="1475" y="39"/>
                      <a:pt x="1476" y="40"/>
                      <a:pt x="1478" y="40"/>
                    </a:cubicBezTo>
                    <a:cubicBezTo>
                      <a:pt x="1478" y="41"/>
                      <a:pt x="1479" y="41"/>
                      <a:pt x="1479" y="41"/>
                    </a:cubicBezTo>
                    <a:cubicBezTo>
                      <a:pt x="1480" y="42"/>
                      <a:pt x="1481" y="42"/>
                      <a:pt x="1483" y="43"/>
                    </a:cubicBezTo>
                    <a:cubicBezTo>
                      <a:pt x="1484" y="43"/>
                      <a:pt x="1484" y="44"/>
                      <a:pt x="1485" y="44"/>
                    </a:cubicBezTo>
                    <a:cubicBezTo>
                      <a:pt x="1486" y="45"/>
                      <a:pt x="1488" y="45"/>
                      <a:pt x="1488" y="46"/>
                    </a:cubicBezTo>
                    <a:cubicBezTo>
                      <a:pt x="1489" y="46"/>
                      <a:pt x="1490" y="46"/>
                      <a:pt x="1491" y="46"/>
                    </a:cubicBezTo>
                    <a:cubicBezTo>
                      <a:pt x="1492" y="47"/>
                      <a:pt x="1493" y="48"/>
                      <a:pt x="1494" y="48"/>
                    </a:cubicBezTo>
                    <a:cubicBezTo>
                      <a:pt x="1495" y="49"/>
                      <a:pt x="1496" y="50"/>
                      <a:pt x="1496" y="50"/>
                    </a:cubicBezTo>
                    <a:cubicBezTo>
                      <a:pt x="1497" y="51"/>
                      <a:pt x="1498" y="51"/>
                      <a:pt x="1499" y="52"/>
                    </a:cubicBezTo>
                    <a:cubicBezTo>
                      <a:pt x="1500" y="53"/>
                      <a:pt x="1502" y="54"/>
                      <a:pt x="1504" y="55"/>
                    </a:cubicBezTo>
                    <a:cubicBezTo>
                      <a:pt x="1504" y="55"/>
                      <a:pt x="1504" y="55"/>
                      <a:pt x="1504" y="55"/>
                    </a:cubicBezTo>
                    <a:cubicBezTo>
                      <a:pt x="1506" y="56"/>
                      <a:pt x="1508" y="58"/>
                      <a:pt x="1510" y="60"/>
                    </a:cubicBezTo>
                    <a:cubicBezTo>
                      <a:pt x="1511" y="60"/>
                      <a:pt x="1512" y="61"/>
                      <a:pt x="1513" y="62"/>
                    </a:cubicBezTo>
                    <a:cubicBezTo>
                      <a:pt x="1513" y="63"/>
                      <a:pt x="1513" y="63"/>
                      <a:pt x="1514" y="63"/>
                    </a:cubicBezTo>
                    <a:cubicBezTo>
                      <a:pt x="1543" y="89"/>
                      <a:pt x="1570" y="128"/>
                      <a:pt x="1592" y="179"/>
                    </a:cubicBezTo>
                    <a:cubicBezTo>
                      <a:pt x="1593" y="180"/>
                      <a:pt x="1593" y="181"/>
                      <a:pt x="1594" y="182"/>
                    </a:cubicBezTo>
                    <a:cubicBezTo>
                      <a:pt x="1595" y="184"/>
                      <a:pt x="1596" y="186"/>
                      <a:pt x="1596" y="187"/>
                    </a:cubicBezTo>
                    <a:cubicBezTo>
                      <a:pt x="1598" y="190"/>
                      <a:pt x="1599" y="194"/>
                      <a:pt x="1600" y="197"/>
                    </a:cubicBezTo>
                    <a:cubicBezTo>
                      <a:pt x="1601" y="200"/>
                      <a:pt x="1602" y="203"/>
                      <a:pt x="1604" y="205"/>
                    </a:cubicBezTo>
                    <a:cubicBezTo>
                      <a:pt x="1604" y="206"/>
                      <a:pt x="1604" y="206"/>
                      <a:pt x="1604" y="206"/>
                    </a:cubicBezTo>
                    <a:cubicBezTo>
                      <a:pt x="1606" y="210"/>
                      <a:pt x="1607" y="213"/>
                      <a:pt x="1607" y="216"/>
                    </a:cubicBezTo>
                    <a:cubicBezTo>
                      <a:pt x="1608" y="217"/>
                      <a:pt x="1608" y="217"/>
                      <a:pt x="1608" y="217"/>
                    </a:cubicBezTo>
                    <a:cubicBezTo>
                      <a:pt x="1646" y="318"/>
                      <a:pt x="1669" y="453"/>
                      <a:pt x="1671" y="600"/>
                    </a:cubicBezTo>
                    <a:cubicBezTo>
                      <a:pt x="1671" y="628"/>
                      <a:pt x="1671" y="628"/>
                      <a:pt x="1671" y="628"/>
                    </a:cubicBezTo>
                    <a:cubicBezTo>
                      <a:pt x="1669" y="775"/>
                      <a:pt x="1646" y="909"/>
                      <a:pt x="1608" y="1011"/>
                    </a:cubicBezTo>
                    <a:cubicBezTo>
                      <a:pt x="1608" y="1011"/>
                      <a:pt x="1608" y="1011"/>
                      <a:pt x="1607" y="1012"/>
                    </a:cubicBezTo>
                    <a:cubicBezTo>
                      <a:pt x="1607" y="1014"/>
                      <a:pt x="1606" y="1018"/>
                      <a:pt x="1604" y="1022"/>
                    </a:cubicBezTo>
                    <a:cubicBezTo>
                      <a:pt x="1604" y="1022"/>
                      <a:pt x="1604" y="1022"/>
                      <a:pt x="1603" y="1023"/>
                    </a:cubicBezTo>
                    <a:cubicBezTo>
                      <a:pt x="1602" y="1026"/>
                      <a:pt x="1601" y="1028"/>
                      <a:pt x="1600" y="1031"/>
                    </a:cubicBezTo>
                    <a:cubicBezTo>
                      <a:pt x="1599" y="1034"/>
                      <a:pt x="1598" y="1038"/>
                      <a:pt x="1596" y="1040"/>
                    </a:cubicBezTo>
                    <a:cubicBezTo>
                      <a:pt x="1596" y="1042"/>
                      <a:pt x="1595" y="1044"/>
                      <a:pt x="1594" y="1046"/>
                    </a:cubicBezTo>
                    <a:cubicBezTo>
                      <a:pt x="1593" y="1047"/>
                      <a:pt x="1593" y="1048"/>
                      <a:pt x="1592" y="1049"/>
                    </a:cubicBezTo>
                    <a:cubicBezTo>
                      <a:pt x="1570" y="1100"/>
                      <a:pt x="1543" y="1139"/>
                      <a:pt x="1514" y="1164"/>
                    </a:cubicBezTo>
                    <a:cubicBezTo>
                      <a:pt x="1513" y="1165"/>
                      <a:pt x="1513" y="1165"/>
                      <a:pt x="1513" y="1166"/>
                    </a:cubicBezTo>
                    <a:cubicBezTo>
                      <a:pt x="1512" y="1167"/>
                      <a:pt x="1511" y="1168"/>
                      <a:pt x="1510" y="1168"/>
                    </a:cubicBezTo>
                    <a:cubicBezTo>
                      <a:pt x="1508" y="1170"/>
                      <a:pt x="1506" y="1172"/>
                      <a:pt x="1504" y="1172"/>
                    </a:cubicBezTo>
                    <a:cubicBezTo>
                      <a:pt x="1504" y="1173"/>
                      <a:pt x="1504" y="1173"/>
                      <a:pt x="1504" y="1173"/>
                    </a:cubicBezTo>
                    <a:cubicBezTo>
                      <a:pt x="1502" y="1174"/>
                      <a:pt x="1500" y="1175"/>
                      <a:pt x="1499" y="1176"/>
                    </a:cubicBezTo>
                    <a:cubicBezTo>
                      <a:pt x="1498" y="1177"/>
                      <a:pt x="1497" y="1177"/>
                      <a:pt x="1496" y="1178"/>
                    </a:cubicBezTo>
                    <a:cubicBezTo>
                      <a:pt x="1496" y="1178"/>
                      <a:pt x="1495" y="1179"/>
                      <a:pt x="1494" y="1180"/>
                    </a:cubicBezTo>
                    <a:cubicBezTo>
                      <a:pt x="1493" y="1180"/>
                      <a:pt x="1492" y="1181"/>
                      <a:pt x="1491" y="1181"/>
                    </a:cubicBezTo>
                    <a:cubicBezTo>
                      <a:pt x="1490" y="1181"/>
                      <a:pt x="1489" y="1182"/>
                      <a:pt x="1488" y="1182"/>
                    </a:cubicBezTo>
                    <a:cubicBezTo>
                      <a:pt x="1488" y="1183"/>
                      <a:pt x="1486" y="1183"/>
                      <a:pt x="1485" y="1184"/>
                    </a:cubicBezTo>
                    <a:cubicBezTo>
                      <a:pt x="1484" y="1184"/>
                      <a:pt x="1484" y="1185"/>
                      <a:pt x="1483" y="1185"/>
                    </a:cubicBezTo>
                    <a:cubicBezTo>
                      <a:pt x="1481" y="1186"/>
                      <a:pt x="1480" y="1186"/>
                      <a:pt x="1479" y="1187"/>
                    </a:cubicBezTo>
                    <a:cubicBezTo>
                      <a:pt x="1479" y="1187"/>
                      <a:pt x="1478" y="1187"/>
                      <a:pt x="1478" y="1188"/>
                    </a:cubicBezTo>
                    <a:cubicBezTo>
                      <a:pt x="1476" y="1188"/>
                      <a:pt x="1475" y="1189"/>
                      <a:pt x="1473" y="1189"/>
                    </a:cubicBezTo>
                    <a:cubicBezTo>
                      <a:pt x="1473" y="1189"/>
                      <a:pt x="1472" y="1190"/>
                      <a:pt x="1471" y="1190"/>
                    </a:cubicBezTo>
                    <a:cubicBezTo>
                      <a:pt x="1471" y="1190"/>
                      <a:pt x="1469" y="1190"/>
                      <a:pt x="1468" y="1190"/>
                    </a:cubicBezTo>
                    <a:cubicBezTo>
                      <a:pt x="1467" y="1190"/>
                      <a:pt x="1467" y="1191"/>
                      <a:pt x="1466" y="1191"/>
                    </a:cubicBezTo>
                    <a:cubicBezTo>
                      <a:pt x="1464" y="1191"/>
                      <a:pt x="1463" y="1191"/>
                      <a:pt x="1462" y="1192"/>
                    </a:cubicBezTo>
                    <a:cubicBezTo>
                      <a:pt x="1462" y="1192"/>
                      <a:pt x="1461" y="1192"/>
                      <a:pt x="1460" y="1192"/>
                    </a:cubicBezTo>
                    <a:cubicBezTo>
                      <a:pt x="1459" y="1192"/>
                      <a:pt x="1457" y="1193"/>
                      <a:pt x="1456" y="1193"/>
                    </a:cubicBezTo>
                    <a:cubicBezTo>
                      <a:pt x="1454" y="1193"/>
                      <a:pt x="1454" y="1193"/>
                      <a:pt x="1454" y="1193"/>
                    </a:cubicBezTo>
                    <a:cubicBezTo>
                      <a:pt x="1453" y="1193"/>
                      <a:pt x="1452" y="1193"/>
                      <a:pt x="1451" y="1194"/>
                    </a:cubicBezTo>
                    <a:cubicBezTo>
                      <a:pt x="1445" y="1194"/>
                      <a:pt x="1445" y="1194"/>
                      <a:pt x="1445" y="1194"/>
                    </a:cubicBezTo>
                    <a:cubicBezTo>
                      <a:pt x="1444" y="1194"/>
                      <a:pt x="1444" y="1194"/>
                      <a:pt x="1443" y="1194"/>
                    </a:cubicBezTo>
                    <a:cubicBezTo>
                      <a:pt x="1442" y="1194"/>
                      <a:pt x="1442" y="1194"/>
                      <a:pt x="1442" y="1194"/>
                    </a:cubicBezTo>
                    <a:cubicBezTo>
                      <a:pt x="1441" y="1194"/>
                      <a:pt x="1441" y="1194"/>
                      <a:pt x="1441" y="1194"/>
                    </a:cubicBezTo>
                    <a:cubicBezTo>
                      <a:pt x="1437" y="1194"/>
                      <a:pt x="1437" y="1194"/>
                      <a:pt x="1437" y="1194"/>
                    </a:cubicBezTo>
                    <a:cubicBezTo>
                      <a:pt x="1434" y="1193"/>
                      <a:pt x="1434" y="1193"/>
                      <a:pt x="1434" y="1193"/>
                    </a:cubicBezTo>
                    <a:cubicBezTo>
                      <a:pt x="607" y="1193"/>
                      <a:pt x="607" y="1193"/>
                      <a:pt x="607" y="1193"/>
                    </a:cubicBezTo>
                    <a:cubicBezTo>
                      <a:pt x="604" y="1194"/>
                      <a:pt x="604" y="1194"/>
                      <a:pt x="604" y="1194"/>
                    </a:cubicBezTo>
                    <a:cubicBezTo>
                      <a:pt x="600" y="1194"/>
                      <a:pt x="600" y="1194"/>
                      <a:pt x="600" y="1194"/>
                    </a:cubicBezTo>
                    <a:cubicBezTo>
                      <a:pt x="599" y="1194"/>
                      <a:pt x="599" y="1194"/>
                      <a:pt x="599" y="1194"/>
                    </a:cubicBezTo>
                    <a:cubicBezTo>
                      <a:pt x="599" y="1194"/>
                      <a:pt x="599" y="1194"/>
                      <a:pt x="598" y="1194"/>
                    </a:cubicBezTo>
                    <a:cubicBezTo>
                      <a:pt x="597" y="1194"/>
                      <a:pt x="597" y="1194"/>
                      <a:pt x="596" y="1194"/>
                    </a:cubicBezTo>
                    <a:cubicBezTo>
                      <a:pt x="590" y="1194"/>
                      <a:pt x="590" y="1194"/>
                      <a:pt x="590" y="1194"/>
                    </a:cubicBezTo>
                    <a:cubicBezTo>
                      <a:pt x="589" y="1193"/>
                      <a:pt x="588" y="1193"/>
                      <a:pt x="587" y="1193"/>
                    </a:cubicBezTo>
                    <a:cubicBezTo>
                      <a:pt x="584" y="1193"/>
                      <a:pt x="584" y="1193"/>
                      <a:pt x="584" y="1193"/>
                    </a:cubicBezTo>
                    <a:cubicBezTo>
                      <a:pt x="583" y="1193"/>
                      <a:pt x="582" y="1192"/>
                      <a:pt x="581" y="1192"/>
                    </a:cubicBezTo>
                    <a:cubicBezTo>
                      <a:pt x="580" y="1192"/>
                      <a:pt x="579" y="1192"/>
                      <a:pt x="579" y="1192"/>
                    </a:cubicBezTo>
                    <a:cubicBezTo>
                      <a:pt x="577" y="1191"/>
                      <a:pt x="576" y="1191"/>
                      <a:pt x="574" y="1191"/>
                    </a:cubicBezTo>
                    <a:cubicBezTo>
                      <a:pt x="574" y="1191"/>
                      <a:pt x="574" y="1190"/>
                      <a:pt x="573" y="1190"/>
                    </a:cubicBezTo>
                    <a:cubicBezTo>
                      <a:pt x="572" y="1190"/>
                      <a:pt x="570" y="1190"/>
                      <a:pt x="569" y="1190"/>
                    </a:cubicBezTo>
                    <a:cubicBezTo>
                      <a:pt x="568" y="1190"/>
                      <a:pt x="567" y="1189"/>
                      <a:pt x="567" y="1189"/>
                    </a:cubicBezTo>
                    <a:cubicBezTo>
                      <a:pt x="566" y="1189"/>
                      <a:pt x="565" y="1188"/>
                      <a:pt x="563" y="1188"/>
                    </a:cubicBezTo>
                    <a:cubicBezTo>
                      <a:pt x="563" y="1187"/>
                      <a:pt x="562" y="1187"/>
                      <a:pt x="561" y="1187"/>
                    </a:cubicBezTo>
                    <a:cubicBezTo>
                      <a:pt x="560" y="1186"/>
                      <a:pt x="559" y="1186"/>
                      <a:pt x="557" y="1185"/>
                    </a:cubicBezTo>
                    <a:cubicBezTo>
                      <a:pt x="557" y="1185"/>
                      <a:pt x="557" y="1184"/>
                      <a:pt x="556" y="1184"/>
                    </a:cubicBezTo>
                    <a:cubicBezTo>
                      <a:pt x="555" y="1183"/>
                      <a:pt x="553" y="1183"/>
                      <a:pt x="552" y="1182"/>
                    </a:cubicBezTo>
                    <a:cubicBezTo>
                      <a:pt x="551" y="1182"/>
                      <a:pt x="550" y="1181"/>
                      <a:pt x="549" y="1181"/>
                    </a:cubicBezTo>
                    <a:cubicBezTo>
                      <a:pt x="549" y="1181"/>
                      <a:pt x="548" y="1180"/>
                      <a:pt x="547" y="1180"/>
                    </a:cubicBezTo>
                    <a:cubicBezTo>
                      <a:pt x="546" y="1179"/>
                      <a:pt x="545" y="1178"/>
                      <a:pt x="544" y="1178"/>
                    </a:cubicBezTo>
                    <a:cubicBezTo>
                      <a:pt x="543" y="1177"/>
                      <a:pt x="542" y="1177"/>
                      <a:pt x="541" y="1176"/>
                    </a:cubicBezTo>
                    <a:cubicBezTo>
                      <a:pt x="540" y="1175"/>
                      <a:pt x="539" y="1174"/>
                      <a:pt x="537" y="1173"/>
                    </a:cubicBezTo>
                    <a:cubicBezTo>
                      <a:pt x="537" y="1173"/>
                      <a:pt x="537" y="1172"/>
                      <a:pt x="536" y="1172"/>
                    </a:cubicBezTo>
                    <a:cubicBezTo>
                      <a:pt x="534" y="1172"/>
                      <a:pt x="532" y="1170"/>
                      <a:pt x="531" y="1168"/>
                    </a:cubicBezTo>
                    <a:cubicBezTo>
                      <a:pt x="530" y="1168"/>
                      <a:pt x="529" y="1167"/>
                      <a:pt x="528" y="1166"/>
                    </a:cubicBezTo>
                    <a:cubicBezTo>
                      <a:pt x="528" y="1165"/>
                      <a:pt x="527" y="1165"/>
                      <a:pt x="526" y="1164"/>
                    </a:cubicBezTo>
                    <a:cubicBezTo>
                      <a:pt x="504" y="1145"/>
                      <a:pt x="483" y="1118"/>
                      <a:pt x="465" y="1083"/>
                    </a:cubicBezTo>
                    <a:cubicBezTo>
                      <a:pt x="458" y="1093"/>
                      <a:pt x="449" y="1102"/>
                      <a:pt x="439" y="1109"/>
                    </a:cubicBezTo>
                    <a:cubicBezTo>
                      <a:pt x="482" y="1184"/>
                      <a:pt x="537" y="1228"/>
                      <a:pt x="596" y="1228"/>
                    </a:cubicBezTo>
                    <a:cubicBezTo>
                      <a:pt x="600" y="1228"/>
                      <a:pt x="606" y="1228"/>
                      <a:pt x="610" y="1227"/>
                    </a:cubicBezTo>
                    <a:cubicBezTo>
                      <a:pt x="1430" y="1227"/>
                      <a:pt x="1430" y="1227"/>
                      <a:pt x="1430" y="1227"/>
                    </a:cubicBezTo>
                    <a:cubicBezTo>
                      <a:pt x="1435" y="1228"/>
                      <a:pt x="1440" y="1228"/>
                      <a:pt x="1445" y="1228"/>
                    </a:cubicBezTo>
                    <a:cubicBezTo>
                      <a:pt x="1591" y="1228"/>
                      <a:pt x="1707" y="959"/>
                      <a:pt x="1707" y="614"/>
                    </a:cubicBezTo>
                    <a:cubicBezTo>
                      <a:pt x="1707" y="269"/>
                      <a:pt x="1591" y="0"/>
                      <a:pt x="1445" y="0"/>
                    </a:cubicBezTo>
                    <a:close/>
                    <a:moveTo>
                      <a:pt x="444" y="319"/>
                    </a:moveTo>
                    <a:cubicBezTo>
                      <a:pt x="437" y="346"/>
                      <a:pt x="432" y="375"/>
                      <a:pt x="427" y="405"/>
                    </a:cubicBezTo>
                    <a:cubicBezTo>
                      <a:pt x="451" y="423"/>
                      <a:pt x="451" y="423"/>
                      <a:pt x="451" y="423"/>
                    </a:cubicBezTo>
                    <a:cubicBezTo>
                      <a:pt x="458" y="422"/>
                      <a:pt x="465" y="422"/>
                      <a:pt x="471" y="422"/>
                    </a:cubicBezTo>
                    <a:cubicBezTo>
                      <a:pt x="477" y="422"/>
                      <a:pt x="483" y="422"/>
                      <a:pt x="489" y="423"/>
                    </a:cubicBezTo>
                    <a:cubicBezTo>
                      <a:pt x="516" y="403"/>
                      <a:pt x="516" y="403"/>
                      <a:pt x="516" y="403"/>
                    </a:cubicBezTo>
                    <a:cubicBezTo>
                      <a:pt x="535" y="409"/>
                      <a:pt x="535" y="409"/>
                      <a:pt x="535" y="409"/>
                    </a:cubicBezTo>
                    <a:cubicBezTo>
                      <a:pt x="564" y="418"/>
                      <a:pt x="593" y="435"/>
                      <a:pt x="616" y="456"/>
                    </a:cubicBezTo>
                    <a:cubicBezTo>
                      <a:pt x="630" y="470"/>
                      <a:pt x="630" y="470"/>
                      <a:pt x="630" y="470"/>
                    </a:cubicBezTo>
                    <a:cubicBezTo>
                      <a:pt x="627" y="502"/>
                      <a:pt x="627" y="502"/>
                      <a:pt x="627" y="502"/>
                    </a:cubicBezTo>
                    <a:cubicBezTo>
                      <a:pt x="631" y="509"/>
                      <a:pt x="635" y="515"/>
                      <a:pt x="639" y="522"/>
                    </a:cubicBezTo>
                    <a:cubicBezTo>
                      <a:pt x="643" y="528"/>
                      <a:pt x="646" y="534"/>
                      <a:pt x="648" y="540"/>
                    </a:cubicBezTo>
                    <a:cubicBezTo>
                      <a:pt x="679" y="555"/>
                      <a:pt x="679" y="555"/>
                      <a:pt x="679" y="555"/>
                    </a:cubicBezTo>
                    <a:cubicBezTo>
                      <a:pt x="683" y="573"/>
                      <a:pt x="683" y="573"/>
                      <a:pt x="683" y="573"/>
                    </a:cubicBezTo>
                    <a:cubicBezTo>
                      <a:pt x="689" y="602"/>
                      <a:pt x="690" y="633"/>
                      <a:pt x="684" y="664"/>
                    </a:cubicBezTo>
                    <a:cubicBezTo>
                      <a:pt x="680" y="684"/>
                      <a:pt x="680" y="684"/>
                      <a:pt x="680" y="684"/>
                    </a:cubicBezTo>
                    <a:cubicBezTo>
                      <a:pt x="649" y="698"/>
                      <a:pt x="649" y="698"/>
                      <a:pt x="649" y="698"/>
                    </a:cubicBezTo>
                    <a:cubicBezTo>
                      <a:pt x="643" y="712"/>
                      <a:pt x="636" y="725"/>
                      <a:pt x="627" y="737"/>
                    </a:cubicBezTo>
                    <a:cubicBezTo>
                      <a:pt x="631" y="772"/>
                      <a:pt x="631" y="772"/>
                      <a:pt x="631" y="772"/>
                    </a:cubicBezTo>
                    <a:cubicBezTo>
                      <a:pt x="615" y="786"/>
                      <a:pt x="615" y="786"/>
                      <a:pt x="615" y="786"/>
                    </a:cubicBezTo>
                    <a:cubicBezTo>
                      <a:pt x="604" y="794"/>
                      <a:pt x="593" y="804"/>
                      <a:pt x="579" y="812"/>
                    </a:cubicBezTo>
                    <a:cubicBezTo>
                      <a:pt x="578" y="812"/>
                      <a:pt x="578" y="812"/>
                      <a:pt x="578" y="812"/>
                    </a:cubicBezTo>
                    <a:cubicBezTo>
                      <a:pt x="577" y="813"/>
                      <a:pt x="577" y="813"/>
                      <a:pt x="577" y="813"/>
                    </a:cubicBezTo>
                    <a:cubicBezTo>
                      <a:pt x="563" y="820"/>
                      <a:pt x="551" y="826"/>
                      <a:pt x="540" y="829"/>
                    </a:cubicBezTo>
                    <a:cubicBezTo>
                      <a:pt x="521" y="836"/>
                      <a:pt x="521" y="836"/>
                      <a:pt x="521" y="836"/>
                    </a:cubicBezTo>
                    <a:cubicBezTo>
                      <a:pt x="492" y="816"/>
                      <a:pt x="492" y="816"/>
                      <a:pt x="492" y="816"/>
                    </a:cubicBezTo>
                    <a:cubicBezTo>
                      <a:pt x="485" y="817"/>
                      <a:pt x="478" y="817"/>
                      <a:pt x="471" y="817"/>
                    </a:cubicBezTo>
                    <a:cubicBezTo>
                      <a:pt x="463" y="817"/>
                      <a:pt x="455" y="817"/>
                      <a:pt x="447" y="816"/>
                    </a:cubicBezTo>
                    <a:cubicBezTo>
                      <a:pt x="428" y="829"/>
                      <a:pt x="428" y="829"/>
                      <a:pt x="428" y="829"/>
                    </a:cubicBezTo>
                    <a:cubicBezTo>
                      <a:pt x="433" y="862"/>
                      <a:pt x="439" y="894"/>
                      <a:pt x="447" y="923"/>
                    </a:cubicBezTo>
                    <a:cubicBezTo>
                      <a:pt x="472" y="945"/>
                      <a:pt x="488" y="977"/>
                      <a:pt x="488" y="1013"/>
                    </a:cubicBezTo>
                    <a:cubicBezTo>
                      <a:pt x="488" y="1021"/>
                      <a:pt x="487" y="1029"/>
                      <a:pt x="486" y="1036"/>
                    </a:cubicBezTo>
                    <a:cubicBezTo>
                      <a:pt x="518" y="1107"/>
                      <a:pt x="559" y="1151"/>
                      <a:pt x="604" y="1154"/>
                    </a:cubicBezTo>
                    <a:cubicBezTo>
                      <a:pt x="615" y="1154"/>
                      <a:pt x="615" y="1154"/>
                      <a:pt x="615" y="1154"/>
                    </a:cubicBezTo>
                    <a:cubicBezTo>
                      <a:pt x="721" y="1146"/>
                      <a:pt x="808" y="907"/>
                      <a:pt x="808" y="614"/>
                    </a:cubicBezTo>
                    <a:cubicBezTo>
                      <a:pt x="808" y="317"/>
                      <a:pt x="718" y="76"/>
                      <a:pt x="609" y="76"/>
                    </a:cubicBezTo>
                    <a:cubicBezTo>
                      <a:pt x="562" y="76"/>
                      <a:pt x="519" y="121"/>
                      <a:pt x="485" y="196"/>
                    </a:cubicBezTo>
                    <a:moveTo>
                      <a:pt x="345" y="800"/>
                    </a:moveTo>
                    <a:cubicBezTo>
                      <a:pt x="350" y="833"/>
                      <a:pt x="355" y="864"/>
                      <a:pt x="362" y="894"/>
                    </a:cubicBezTo>
                    <a:cubicBezTo>
                      <a:pt x="364" y="894"/>
                      <a:pt x="367" y="894"/>
                      <a:pt x="370" y="894"/>
                    </a:cubicBezTo>
                    <a:cubicBezTo>
                      <a:pt x="380" y="894"/>
                      <a:pt x="390" y="896"/>
                      <a:pt x="400" y="898"/>
                    </a:cubicBezTo>
                    <a:cubicBezTo>
                      <a:pt x="394" y="874"/>
                      <a:pt x="389" y="849"/>
                      <a:pt x="385" y="823"/>
                    </a:cubicBezTo>
                    <a:cubicBezTo>
                      <a:pt x="371" y="816"/>
                      <a:pt x="358" y="809"/>
                      <a:pt x="345" y="800"/>
                    </a:cubicBezTo>
                    <a:close/>
                    <a:moveTo>
                      <a:pt x="226" y="1016"/>
                    </a:moveTo>
                    <a:cubicBezTo>
                      <a:pt x="215" y="1016"/>
                      <a:pt x="206" y="1025"/>
                      <a:pt x="206" y="1036"/>
                    </a:cubicBezTo>
                    <a:cubicBezTo>
                      <a:pt x="206" y="1149"/>
                      <a:pt x="206" y="1149"/>
                      <a:pt x="206" y="1149"/>
                    </a:cubicBezTo>
                    <a:cubicBezTo>
                      <a:pt x="206" y="1160"/>
                      <a:pt x="215" y="1169"/>
                      <a:pt x="226" y="1169"/>
                    </a:cubicBezTo>
                    <a:cubicBezTo>
                      <a:pt x="237" y="1169"/>
                      <a:pt x="245" y="1160"/>
                      <a:pt x="245" y="1149"/>
                    </a:cubicBezTo>
                    <a:cubicBezTo>
                      <a:pt x="245" y="1036"/>
                      <a:pt x="245" y="1036"/>
                      <a:pt x="245" y="1036"/>
                    </a:cubicBezTo>
                    <a:cubicBezTo>
                      <a:pt x="245" y="1025"/>
                      <a:pt x="237" y="1016"/>
                      <a:pt x="226" y="1016"/>
                    </a:cubicBezTo>
                    <a:close/>
                    <a:moveTo>
                      <a:pt x="79" y="793"/>
                    </a:moveTo>
                    <a:cubicBezTo>
                      <a:pt x="68" y="793"/>
                      <a:pt x="59" y="801"/>
                      <a:pt x="59" y="812"/>
                    </a:cubicBezTo>
                    <a:cubicBezTo>
                      <a:pt x="59" y="926"/>
                      <a:pt x="59" y="926"/>
                      <a:pt x="59" y="926"/>
                    </a:cubicBezTo>
                    <a:cubicBezTo>
                      <a:pt x="59" y="936"/>
                      <a:pt x="68" y="945"/>
                      <a:pt x="79" y="945"/>
                    </a:cubicBezTo>
                    <a:cubicBezTo>
                      <a:pt x="90" y="945"/>
                      <a:pt x="98" y="936"/>
                      <a:pt x="98" y="926"/>
                    </a:cubicBezTo>
                    <a:cubicBezTo>
                      <a:pt x="98" y="812"/>
                      <a:pt x="98" y="812"/>
                      <a:pt x="98" y="812"/>
                    </a:cubicBezTo>
                    <a:cubicBezTo>
                      <a:pt x="98" y="801"/>
                      <a:pt x="90" y="793"/>
                      <a:pt x="79" y="793"/>
                    </a:cubicBezTo>
                    <a:close/>
                    <a:moveTo>
                      <a:pt x="79" y="291"/>
                    </a:moveTo>
                    <a:cubicBezTo>
                      <a:pt x="35" y="291"/>
                      <a:pt x="0" y="327"/>
                      <a:pt x="0" y="370"/>
                    </a:cubicBezTo>
                    <a:cubicBezTo>
                      <a:pt x="0" y="414"/>
                      <a:pt x="35" y="449"/>
                      <a:pt x="79" y="449"/>
                    </a:cubicBezTo>
                    <a:cubicBezTo>
                      <a:pt x="122" y="449"/>
                      <a:pt x="158" y="414"/>
                      <a:pt x="158" y="370"/>
                    </a:cubicBezTo>
                    <a:cubicBezTo>
                      <a:pt x="158" y="327"/>
                      <a:pt x="122" y="291"/>
                      <a:pt x="79" y="291"/>
                    </a:cubicBezTo>
                    <a:close/>
                    <a:moveTo>
                      <a:pt x="79" y="410"/>
                    </a:moveTo>
                    <a:cubicBezTo>
                      <a:pt x="57" y="410"/>
                      <a:pt x="39" y="392"/>
                      <a:pt x="39" y="370"/>
                    </a:cubicBezTo>
                    <a:cubicBezTo>
                      <a:pt x="39" y="349"/>
                      <a:pt x="57" y="331"/>
                      <a:pt x="79" y="331"/>
                    </a:cubicBezTo>
                    <a:cubicBezTo>
                      <a:pt x="101" y="331"/>
                      <a:pt x="118" y="349"/>
                      <a:pt x="118" y="370"/>
                    </a:cubicBezTo>
                    <a:cubicBezTo>
                      <a:pt x="118" y="392"/>
                      <a:pt x="101" y="410"/>
                      <a:pt x="79" y="410"/>
                    </a:cubicBezTo>
                    <a:close/>
                    <a:moveTo>
                      <a:pt x="226" y="67"/>
                    </a:moveTo>
                    <a:cubicBezTo>
                      <a:pt x="182" y="67"/>
                      <a:pt x="147" y="103"/>
                      <a:pt x="147" y="146"/>
                    </a:cubicBezTo>
                    <a:cubicBezTo>
                      <a:pt x="147" y="190"/>
                      <a:pt x="182" y="225"/>
                      <a:pt x="226" y="225"/>
                    </a:cubicBezTo>
                    <a:cubicBezTo>
                      <a:pt x="269" y="225"/>
                      <a:pt x="305" y="190"/>
                      <a:pt x="305" y="146"/>
                    </a:cubicBezTo>
                    <a:cubicBezTo>
                      <a:pt x="305" y="103"/>
                      <a:pt x="269" y="67"/>
                      <a:pt x="226" y="67"/>
                    </a:cubicBezTo>
                    <a:close/>
                    <a:moveTo>
                      <a:pt x="226" y="186"/>
                    </a:moveTo>
                    <a:cubicBezTo>
                      <a:pt x="204" y="186"/>
                      <a:pt x="186" y="168"/>
                      <a:pt x="186" y="146"/>
                    </a:cubicBezTo>
                    <a:cubicBezTo>
                      <a:pt x="186" y="125"/>
                      <a:pt x="204" y="107"/>
                      <a:pt x="226" y="107"/>
                    </a:cubicBezTo>
                    <a:cubicBezTo>
                      <a:pt x="248" y="107"/>
                      <a:pt x="265" y="125"/>
                      <a:pt x="265" y="146"/>
                    </a:cubicBezTo>
                    <a:cubicBezTo>
                      <a:pt x="265" y="168"/>
                      <a:pt x="248" y="186"/>
                      <a:pt x="226" y="186"/>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sp>
            <p:nvSpPr>
              <p:cNvPr id="48" name="Freeform 71">
                <a:extLst>
                  <a:ext uri="{FF2B5EF4-FFF2-40B4-BE49-F238E27FC236}">
                    <a16:creationId xmlns:a16="http://schemas.microsoft.com/office/drawing/2014/main" id="{8919B8DB-BAD3-B013-AF80-F95606D945AE}"/>
                  </a:ext>
                </a:extLst>
              </p:cNvPr>
              <p:cNvSpPr>
                <a:spLocks noEditPoints="1"/>
              </p:cNvSpPr>
              <p:nvPr/>
            </p:nvSpPr>
            <p:spPr bwMode="auto">
              <a:xfrm>
                <a:off x="1323199" y="2218790"/>
                <a:ext cx="1161955" cy="862417"/>
              </a:xfrm>
              <a:custGeom>
                <a:avLst/>
                <a:gdLst>
                  <a:gd name="T0" fmla="*/ 983 w 1623"/>
                  <a:gd name="T1" fmla="*/ 54 h 1205"/>
                  <a:gd name="T2" fmla="*/ 985 w 1623"/>
                  <a:gd name="T3" fmla="*/ 1134 h 1205"/>
                  <a:gd name="T4" fmla="*/ 1356 w 1623"/>
                  <a:gd name="T5" fmla="*/ 594 h 1205"/>
                  <a:gd name="T6" fmla="*/ 922 w 1623"/>
                  <a:gd name="T7" fmla="*/ 54 h 1205"/>
                  <a:gd name="T8" fmla="*/ 868 w 1623"/>
                  <a:gd name="T9" fmla="*/ 594 h 1205"/>
                  <a:gd name="T10" fmla="*/ 924 w 1623"/>
                  <a:gd name="T11" fmla="*/ 1134 h 1205"/>
                  <a:gd name="T12" fmla="*/ 922 w 1623"/>
                  <a:gd name="T13" fmla="*/ 54 h 1205"/>
                  <a:gd name="T14" fmla="*/ 1567 w 1623"/>
                  <a:gd name="T15" fmla="*/ 201 h 1205"/>
                  <a:gd name="T16" fmla="*/ 1260 w 1623"/>
                  <a:gd name="T17" fmla="*/ 54 h 1205"/>
                  <a:gd name="T18" fmla="*/ 1262 w 1623"/>
                  <a:gd name="T19" fmla="*/ 1133 h 1205"/>
                  <a:gd name="T20" fmla="*/ 1442 w 1623"/>
                  <a:gd name="T21" fmla="*/ 1134 h 1205"/>
                  <a:gd name="T22" fmla="*/ 1567 w 1623"/>
                  <a:gd name="T23" fmla="*/ 987 h 1205"/>
                  <a:gd name="T24" fmla="*/ 1623 w 1623"/>
                  <a:gd name="T25" fmla="*/ 593 h 1205"/>
                  <a:gd name="T26" fmla="*/ 226 w 1623"/>
                  <a:gd name="T27" fmla="*/ 491 h 1205"/>
                  <a:gd name="T28" fmla="*/ 245 w 1623"/>
                  <a:gd name="T29" fmla="*/ 358 h 1205"/>
                  <a:gd name="T30" fmla="*/ 206 w 1623"/>
                  <a:gd name="T31" fmla="*/ 358 h 1205"/>
                  <a:gd name="T32" fmla="*/ 226 w 1623"/>
                  <a:gd name="T33" fmla="*/ 491 h 1205"/>
                  <a:gd name="T34" fmla="*/ 389 w 1623"/>
                  <a:gd name="T35" fmla="*/ 255 h 1205"/>
                  <a:gd name="T36" fmla="*/ 370 w 1623"/>
                  <a:gd name="T37" fmla="*/ 123 h 1205"/>
                  <a:gd name="T38" fmla="*/ 350 w 1623"/>
                  <a:gd name="T39" fmla="*/ 255 h 1205"/>
                  <a:gd name="T40" fmla="*/ 79 w 1623"/>
                  <a:gd name="T41" fmla="*/ 153 h 1205"/>
                  <a:gd name="T42" fmla="*/ 98 w 1623"/>
                  <a:gd name="T43" fmla="*/ 20 h 1205"/>
                  <a:gd name="T44" fmla="*/ 59 w 1623"/>
                  <a:gd name="T45" fmla="*/ 20 h 1205"/>
                  <a:gd name="T46" fmla="*/ 79 w 1623"/>
                  <a:gd name="T47" fmla="*/ 153 h 1205"/>
                  <a:gd name="T48" fmla="*/ 147 w 1623"/>
                  <a:gd name="T49" fmla="*/ 787 h 1205"/>
                  <a:gd name="T50" fmla="*/ 305 w 1623"/>
                  <a:gd name="T51" fmla="*/ 787 h 1205"/>
                  <a:gd name="T52" fmla="*/ 226 w 1623"/>
                  <a:gd name="T53" fmla="*/ 827 h 1205"/>
                  <a:gd name="T54" fmla="*/ 226 w 1623"/>
                  <a:gd name="T55" fmla="*/ 748 h 1205"/>
                  <a:gd name="T56" fmla="*/ 226 w 1623"/>
                  <a:gd name="T57" fmla="*/ 827 h 1205"/>
                  <a:gd name="T58" fmla="*/ 291 w 1623"/>
                  <a:gd name="T59" fmla="*/ 994 h 1205"/>
                  <a:gd name="T60" fmla="*/ 449 w 1623"/>
                  <a:gd name="T61" fmla="*/ 994 h 1205"/>
                  <a:gd name="T62" fmla="*/ 370 w 1623"/>
                  <a:gd name="T63" fmla="*/ 1033 h 1205"/>
                  <a:gd name="T64" fmla="*/ 370 w 1623"/>
                  <a:gd name="T65" fmla="*/ 954 h 1205"/>
                  <a:gd name="T66" fmla="*/ 370 w 1623"/>
                  <a:gd name="T67" fmla="*/ 1033 h 1205"/>
                  <a:gd name="T68" fmla="*/ 0 w 1623"/>
                  <a:gd name="T69" fmla="*/ 1126 h 1205"/>
                  <a:gd name="T70" fmla="*/ 158 w 1623"/>
                  <a:gd name="T71" fmla="*/ 1126 h 1205"/>
                  <a:gd name="T72" fmla="*/ 79 w 1623"/>
                  <a:gd name="T73" fmla="*/ 1165 h 1205"/>
                  <a:gd name="T74" fmla="*/ 79 w 1623"/>
                  <a:gd name="T75" fmla="*/ 1086 h 1205"/>
                  <a:gd name="T76" fmla="*/ 79 w 1623"/>
                  <a:gd name="T77" fmla="*/ 1165 h 1205"/>
                  <a:gd name="T78" fmla="*/ 605 w 1623"/>
                  <a:gd name="T79" fmla="*/ 523 h 1205"/>
                  <a:gd name="T80" fmla="*/ 589 w 1623"/>
                  <a:gd name="T81" fmla="*/ 466 h 1205"/>
                  <a:gd name="T82" fmla="*/ 499 w 1623"/>
                  <a:gd name="T83" fmla="*/ 445 h 1205"/>
                  <a:gd name="T84" fmla="*/ 417 w 1623"/>
                  <a:gd name="T85" fmla="*/ 427 h 1205"/>
                  <a:gd name="T86" fmla="*/ 351 w 1623"/>
                  <a:gd name="T87" fmla="*/ 466 h 1205"/>
                  <a:gd name="T88" fmla="*/ 324 w 1623"/>
                  <a:gd name="T89" fmla="*/ 548 h 1205"/>
                  <a:gd name="T90" fmla="*/ 297 w 1623"/>
                  <a:gd name="T91" fmla="*/ 638 h 1205"/>
                  <a:gd name="T92" fmla="*/ 337 w 1623"/>
                  <a:gd name="T93" fmla="*/ 679 h 1205"/>
                  <a:gd name="T94" fmla="*/ 350 w 1623"/>
                  <a:gd name="T95" fmla="*/ 734 h 1205"/>
                  <a:gd name="T96" fmla="*/ 437 w 1623"/>
                  <a:gd name="T97" fmla="*/ 755 h 1205"/>
                  <a:gd name="T98" fmla="*/ 527 w 1623"/>
                  <a:gd name="T99" fmla="*/ 773 h 1205"/>
                  <a:gd name="T100" fmla="*/ 590 w 1623"/>
                  <a:gd name="T101" fmla="*/ 736 h 1205"/>
                  <a:gd name="T102" fmla="*/ 618 w 1623"/>
                  <a:gd name="T103" fmla="*/ 649 h 1205"/>
                  <a:gd name="T104" fmla="*/ 644 w 1623"/>
                  <a:gd name="T105" fmla="*/ 563 h 1205"/>
                  <a:gd name="T106" fmla="*/ 509 w 1623"/>
                  <a:gd name="T107" fmla="*/ 670 h 1205"/>
                  <a:gd name="T108" fmla="*/ 430 w 1623"/>
                  <a:gd name="T109" fmla="*/ 532 h 1205"/>
                  <a:gd name="T110" fmla="*/ 538 w 1623"/>
                  <a:gd name="T111" fmla="*/ 561 h 1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623" h="1205">
                    <a:moveTo>
                      <a:pt x="1197" y="54"/>
                    </a:moveTo>
                    <a:cubicBezTo>
                      <a:pt x="983" y="54"/>
                      <a:pt x="983" y="54"/>
                      <a:pt x="983" y="54"/>
                    </a:cubicBezTo>
                    <a:cubicBezTo>
                      <a:pt x="1078" y="93"/>
                      <a:pt x="1141" y="320"/>
                      <a:pt x="1141" y="594"/>
                    </a:cubicBezTo>
                    <a:cubicBezTo>
                      <a:pt x="1141" y="867"/>
                      <a:pt x="1079" y="1093"/>
                      <a:pt x="985" y="1134"/>
                    </a:cubicBezTo>
                    <a:cubicBezTo>
                      <a:pt x="1199" y="1134"/>
                      <a:pt x="1199" y="1134"/>
                      <a:pt x="1199" y="1134"/>
                    </a:cubicBezTo>
                    <a:cubicBezTo>
                      <a:pt x="1294" y="1093"/>
                      <a:pt x="1356" y="867"/>
                      <a:pt x="1356" y="594"/>
                    </a:cubicBezTo>
                    <a:cubicBezTo>
                      <a:pt x="1356" y="320"/>
                      <a:pt x="1293" y="93"/>
                      <a:pt x="1197" y="54"/>
                    </a:cubicBezTo>
                    <a:close/>
                    <a:moveTo>
                      <a:pt x="922" y="54"/>
                    </a:moveTo>
                    <a:cubicBezTo>
                      <a:pt x="714" y="54"/>
                      <a:pt x="714" y="54"/>
                      <a:pt x="714" y="54"/>
                    </a:cubicBezTo>
                    <a:cubicBezTo>
                      <a:pt x="806" y="93"/>
                      <a:pt x="868" y="320"/>
                      <a:pt x="868" y="594"/>
                    </a:cubicBezTo>
                    <a:cubicBezTo>
                      <a:pt x="868" y="867"/>
                      <a:pt x="807" y="1093"/>
                      <a:pt x="716" y="1134"/>
                    </a:cubicBezTo>
                    <a:cubicBezTo>
                      <a:pt x="924" y="1134"/>
                      <a:pt x="924" y="1134"/>
                      <a:pt x="924" y="1134"/>
                    </a:cubicBezTo>
                    <a:cubicBezTo>
                      <a:pt x="1016" y="1093"/>
                      <a:pt x="1077" y="867"/>
                      <a:pt x="1077" y="594"/>
                    </a:cubicBezTo>
                    <a:cubicBezTo>
                      <a:pt x="1077" y="320"/>
                      <a:pt x="1015" y="93"/>
                      <a:pt x="922" y="54"/>
                    </a:cubicBezTo>
                    <a:close/>
                    <a:moveTo>
                      <a:pt x="1584" y="250"/>
                    </a:moveTo>
                    <a:cubicBezTo>
                      <a:pt x="1579" y="233"/>
                      <a:pt x="1574" y="216"/>
                      <a:pt x="1567" y="201"/>
                    </a:cubicBezTo>
                    <a:cubicBezTo>
                      <a:pt x="1532" y="110"/>
                      <a:pt x="1485" y="54"/>
                      <a:pt x="1445" y="54"/>
                    </a:cubicBezTo>
                    <a:cubicBezTo>
                      <a:pt x="1260" y="54"/>
                      <a:pt x="1260" y="54"/>
                      <a:pt x="1260" y="54"/>
                    </a:cubicBezTo>
                    <a:cubicBezTo>
                      <a:pt x="1352" y="93"/>
                      <a:pt x="1414" y="320"/>
                      <a:pt x="1414" y="593"/>
                    </a:cubicBezTo>
                    <a:cubicBezTo>
                      <a:pt x="1414" y="866"/>
                      <a:pt x="1353" y="1092"/>
                      <a:pt x="1262" y="1133"/>
                    </a:cubicBezTo>
                    <a:cubicBezTo>
                      <a:pt x="1439" y="1133"/>
                      <a:pt x="1439" y="1133"/>
                      <a:pt x="1439" y="1133"/>
                    </a:cubicBezTo>
                    <a:cubicBezTo>
                      <a:pt x="1442" y="1134"/>
                      <a:pt x="1442" y="1134"/>
                      <a:pt x="1442" y="1134"/>
                    </a:cubicBezTo>
                    <a:cubicBezTo>
                      <a:pt x="1445" y="1134"/>
                      <a:pt x="1445" y="1134"/>
                      <a:pt x="1445" y="1134"/>
                    </a:cubicBezTo>
                    <a:cubicBezTo>
                      <a:pt x="1485" y="1134"/>
                      <a:pt x="1532" y="1078"/>
                      <a:pt x="1567" y="987"/>
                    </a:cubicBezTo>
                    <a:cubicBezTo>
                      <a:pt x="1574" y="972"/>
                      <a:pt x="1579" y="956"/>
                      <a:pt x="1584" y="939"/>
                    </a:cubicBezTo>
                    <a:cubicBezTo>
                      <a:pt x="1609" y="844"/>
                      <a:pt x="1623" y="724"/>
                      <a:pt x="1623" y="593"/>
                    </a:cubicBezTo>
                    <a:cubicBezTo>
                      <a:pt x="1623" y="464"/>
                      <a:pt x="1609" y="344"/>
                      <a:pt x="1584" y="250"/>
                    </a:cubicBezTo>
                    <a:close/>
                    <a:moveTo>
                      <a:pt x="226" y="491"/>
                    </a:moveTo>
                    <a:cubicBezTo>
                      <a:pt x="237" y="491"/>
                      <a:pt x="245" y="482"/>
                      <a:pt x="245" y="471"/>
                    </a:cubicBezTo>
                    <a:cubicBezTo>
                      <a:pt x="245" y="358"/>
                      <a:pt x="245" y="358"/>
                      <a:pt x="245" y="358"/>
                    </a:cubicBezTo>
                    <a:cubicBezTo>
                      <a:pt x="245" y="347"/>
                      <a:pt x="237" y="339"/>
                      <a:pt x="226" y="339"/>
                    </a:cubicBezTo>
                    <a:cubicBezTo>
                      <a:pt x="215" y="339"/>
                      <a:pt x="206" y="347"/>
                      <a:pt x="206" y="358"/>
                    </a:cubicBezTo>
                    <a:cubicBezTo>
                      <a:pt x="206" y="471"/>
                      <a:pt x="206" y="471"/>
                      <a:pt x="206" y="471"/>
                    </a:cubicBezTo>
                    <a:cubicBezTo>
                      <a:pt x="206" y="482"/>
                      <a:pt x="215" y="491"/>
                      <a:pt x="226" y="491"/>
                    </a:cubicBezTo>
                    <a:close/>
                    <a:moveTo>
                      <a:pt x="370" y="275"/>
                    </a:moveTo>
                    <a:cubicBezTo>
                      <a:pt x="380" y="275"/>
                      <a:pt x="389" y="266"/>
                      <a:pt x="389" y="255"/>
                    </a:cubicBezTo>
                    <a:cubicBezTo>
                      <a:pt x="389" y="142"/>
                      <a:pt x="389" y="142"/>
                      <a:pt x="389" y="142"/>
                    </a:cubicBezTo>
                    <a:cubicBezTo>
                      <a:pt x="389" y="131"/>
                      <a:pt x="380" y="123"/>
                      <a:pt x="370" y="123"/>
                    </a:cubicBezTo>
                    <a:cubicBezTo>
                      <a:pt x="359" y="123"/>
                      <a:pt x="350" y="131"/>
                      <a:pt x="350" y="142"/>
                    </a:cubicBezTo>
                    <a:cubicBezTo>
                      <a:pt x="350" y="255"/>
                      <a:pt x="350" y="255"/>
                      <a:pt x="350" y="255"/>
                    </a:cubicBezTo>
                    <a:cubicBezTo>
                      <a:pt x="350" y="266"/>
                      <a:pt x="359" y="275"/>
                      <a:pt x="370" y="275"/>
                    </a:cubicBezTo>
                    <a:close/>
                    <a:moveTo>
                      <a:pt x="79" y="153"/>
                    </a:moveTo>
                    <a:cubicBezTo>
                      <a:pt x="90" y="153"/>
                      <a:pt x="98" y="144"/>
                      <a:pt x="98" y="133"/>
                    </a:cubicBezTo>
                    <a:cubicBezTo>
                      <a:pt x="98" y="20"/>
                      <a:pt x="98" y="20"/>
                      <a:pt x="98" y="20"/>
                    </a:cubicBezTo>
                    <a:cubicBezTo>
                      <a:pt x="98" y="9"/>
                      <a:pt x="90" y="0"/>
                      <a:pt x="79" y="0"/>
                    </a:cubicBezTo>
                    <a:cubicBezTo>
                      <a:pt x="68" y="0"/>
                      <a:pt x="59" y="9"/>
                      <a:pt x="59" y="20"/>
                    </a:cubicBezTo>
                    <a:cubicBezTo>
                      <a:pt x="59" y="133"/>
                      <a:pt x="59" y="133"/>
                      <a:pt x="59" y="133"/>
                    </a:cubicBezTo>
                    <a:cubicBezTo>
                      <a:pt x="59" y="144"/>
                      <a:pt x="68" y="153"/>
                      <a:pt x="79" y="153"/>
                    </a:cubicBezTo>
                    <a:close/>
                    <a:moveTo>
                      <a:pt x="226" y="708"/>
                    </a:moveTo>
                    <a:cubicBezTo>
                      <a:pt x="182" y="708"/>
                      <a:pt x="147" y="744"/>
                      <a:pt x="147" y="787"/>
                    </a:cubicBezTo>
                    <a:cubicBezTo>
                      <a:pt x="147" y="831"/>
                      <a:pt x="182" y="866"/>
                      <a:pt x="226" y="866"/>
                    </a:cubicBezTo>
                    <a:cubicBezTo>
                      <a:pt x="269" y="866"/>
                      <a:pt x="305" y="831"/>
                      <a:pt x="305" y="787"/>
                    </a:cubicBezTo>
                    <a:cubicBezTo>
                      <a:pt x="305" y="744"/>
                      <a:pt x="269" y="708"/>
                      <a:pt x="226" y="708"/>
                    </a:cubicBezTo>
                    <a:close/>
                    <a:moveTo>
                      <a:pt x="226" y="827"/>
                    </a:moveTo>
                    <a:cubicBezTo>
                      <a:pt x="204" y="827"/>
                      <a:pt x="186" y="809"/>
                      <a:pt x="186" y="787"/>
                    </a:cubicBezTo>
                    <a:cubicBezTo>
                      <a:pt x="186" y="765"/>
                      <a:pt x="204" y="748"/>
                      <a:pt x="226" y="748"/>
                    </a:cubicBezTo>
                    <a:cubicBezTo>
                      <a:pt x="248" y="748"/>
                      <a:pt x="265" y="765"/>
                      <a:pt x="265" y="787"/>
                    </a:cubicBezTo>
                    <a:cubicBezTo>
                      <a:pt x="265" y="809"/>
                      <a:pt x="248" y="827"/>
                      <a:pt x="226" y="827"/>
                    </a:cubicBezTo>
                    <a:close/>
                    <a:moveTo>
                      <a:pt x="370" y="915"/>
                    </a:moveTo>
                    <a:cubicBezTo>
                      <a:pt x="326" y="915"/>
                      <a:pt x="291" y="950"/>
                      <a:pt x="291" y="994"/>
                    </a:cubicBezTo>
                    <a:cubicBezTo>
                      <a:pt x="291" y="1037"/>
                      <a:pt x="326" y="1073"/>
                      <a:pt x="370" y="1073"/>
                    </a:cubicBezTo>
                    <a:cubicBezTo>
                      <a:pt x="413" y="1073"/>
                      <a:pt x="449" y="1037"/>
                      <a:pt x="449" y="994"/>
                    </a:cubicBezTo>
                    <a:cubicBezTo>
                      <a:pt x="449" y="950"/>
                      <a:pt x="413" y="915"/>
                      <a:pt x="370" y="915"/>
                    </a:cubicBezTo>
                    <a:close/>
                    <a:moveTo>
                      <a:pt x="370" y="1033"/>
                    </a:moveTo>
                    <a:cubicBezTo>
                      <a:pt x="348" y="1033"/>
                      <a:pt x="330" y="1015"/>
                      <a:pt x="330" y="994"/>
                    </a:cubicBezTo>
                    <a:cubicBezTo>
                      <a:pt x="330" y="972"/>
                      <a:pt x="348" y="954"/>
                      <a:pt x="370" y="954"/>
                    </a:cubicBezTo>
                    <a:cubicBezTo>
                      <a:pt x="391" y="954"/>
                      <a:pt x="409" y="972"/>
                      <a:pt x="409" y="994"/>
                    </a:cubicBezTo>
                    <a:cubicBezTo>
                      <a:pt x="409" y="1015"/>
                      <a:pt x="391" y="1033"/>
                      <a:pt x="370" y="1033"/>
                    </a:cubicBezTo>
                    <a:close/>
                    <a:moveTo>
                      <a:pt x="79" y="1047"/>
                    </a:moveTo>
                    <a:cubicBezTo>
                      <a:pt x="35" y="1047"/>
                      <a:pt x="0" y="1082"/>
                      <a:pt x="0" y="1126"/>
                    </a:cubicBezTo>
                    <a:cubicBezTo>
                      <a:pt x="0" y="1169"/>
                      <a:pt x="35" y="1205"/>
                      <a:pt x="79" y="1205"/>
                    </a:cubicBezTo>
                    <a:cubicBezTo>
                      <a:pt x="122" y="1205"/>
                      <a:pt x="158" y="1169"/>
                      <a:pt x="158" y="1126"/>
                    </a:cubicBezTo>
                    <a:cubicBezTo>
                      <a:pt x="158" y="1082"/>
                      <a:pt x="122" y="1047"/>
                      <a:pt x="79" y="1047"/>
                    </a:cubicBezTo>
                    <a:close/>
                    <a:moveTo>
                      <a:pt x="79" y="1165"/>
                    </a:moveTo>
                    <a:cubicBezTo>
                      <a:pt x="57" y="1165"/>
                      <a:pt x="39" y="1147"/>
                      <a:pt x="39" y="1126"/>
                    </a:cubicBezTo>
                    <a:cubicBezTo>
                      <a:pt x="39" y="1104"/>
                      <a:pt x="57" y="1086"/>
                      <a:pt x="79" y="1086"/>
                    </a:cubicBezTo>
                    <a:cubicBezTo>
                      <a:pt x="101" y="1086"/>
                      <a:pt x="118" y="1104"/>
                      <a:pt x="118" y="1126"/>
                    </a:cubicBezTo>
                    <a:cubicBezTo>
                      <a:pt x="118" y="1147"/>
                      <a:pt x="101" y="1165"/>
                      <a:pt x="79" y="1165"/>
                    </a:cubicBezTo>
                    <a:close/>
                    <a:moveTo>
                      <a:pt x="617" y="550"/>
                    </a:moveTo>
                    <a:cubicBezTo>
                      <a:pt x="614" y="541"/>
                      <a:pt x="610" y="532"/>
                      <a:pt x="605" y="523"/>
                    </a:cubicBezTo>
                    <a:cubicBezTo>
                      <a:pt x="600" y="513"/>
                      <a:pt x="593" y="504"/>
                      <a:pt x="586" y="496"/>
                    </a:cubicBezTo>
                    <a:cubicBezTo>
                      <a:pt x="589" y="466"/>
                      <a:pt x="589" y="466"/>
                      <a:pt x="589" y="466"/>
                    </a:cubicBezTo>
                    <a:cubicBezTo>
                      <a:pt x="570" y="448"/>
                      <a:pt x="547" y="435"/>
                      <a:pt x="523" y="427"/>
                    </a:cubicBezTo>
                    <a:cubicBezTo>
                      <a:pt x="499" y="445"/>
                      <a:pt x="499" y="445"/>
                      <a:pt x="499" y="445"/>
                    </a:cubicBezTo>
                    <a:cubicBezTo>
                      <a:pt x="479" y="441"/>
                      <a:pt x="460" y="442"/>
                      <a:pt x="441" y="445"/>
                    </a:cubicBezTo>
                    <a:cubicBezTo>
                      <a:pt x="417" y="427"/>
                      <a:pt x="417" y="427"/>
                      <a:pt x="417" y="427"/>
                    </a:cubicBezTo>
                    <a:cubicBezTo>
                      <a:pt x="405" y="432"/>
                      <a:pt x="392" y="436"/>
                      <a:pt x="381" y="443"/>
                    </a:cubicBezTo>
                    <a:cubicBezTo>
                      <a:pt x="370" y="450"/>
                      <a:pt x="360" y="457"/>
                      <a:pt x="351" y="466"/>
                    </a:cubicBezTo>
                    <a:cubicBezTo>
                      <a:pt x="355" y="497"/>
                      <a:pt x="355" y="497"/>
                      <a:pt x="355" y="497"/>
                    </a:cubicBezTo>
                    <a:cubicBezTo>
                      <a:pt x="341" y="512"/>
                      <a:pt x="331" y="530"/>
                      <a:pt x="324" y="548"/>
                    </a:cubicBezTo>
                    <a:cubicBezTo>
                      <a:pt x="297" y="560"/>
                      <a:pt x="297" y="560"/>
                      <a:pt x="297" y="560"/>
                    </a:cubicBezTo>
                    <a:cubicBezTo>
                      <a:pt x="291" y="585"/>
                      <a:pt x="291" y="611"/>
                      <a:pt x="297" y="638"/>
                    </a:cubicBezTo>
                    <a:cubicBezTo>
                      <a:pt x="323" y="649"/>
                      <a:pt x="323" y="649"/>
                      <a:pt x="323" y="649"/>
                    </a:cubicBezTo>
                    <a:cubicBezTo>
                      <a:pt x="326" y="659"/>
                      <a:pt x="331" y="670"/>
                      <a:pt x="337" y="679"/>
                    </a:cubicBezTo>
                    <a:cubicBezTo>
                      <a:pt x="341" y="688"/>
                      <a:pt x="348" y="697"/>
                      <a:pt x="354" y="704"/>
                    </a:cubicBezTo>
                    <a:cubicBezTo>
                      <a:pt x="350" y="734"/>
                      <a:pt x="350" y="734"/>
                      <a:pt x="350" y="734"/>
                    </a:cubicBezTo>
                    <a:cubicBezTo>
                      <a:pt x="369" y="752"/>
                      <a:pt x="391" y="764"/>
                      <a:pt x="413" y="772"/>
                    </a:cubicBezTo>
                    <a:cubicBezTo>
                      <a:pt x="437" y="755"/>
                      <a:pt x="437" y="755"/>
                      <a:pt x="437" y="755"/>
                    </a:cubicBezTo>
                    <a:cubicBezTo>
                      <a:pt x="459" y="760"/>
                      <a:pt x="480" y="760"/>
                      <a:pt x="502" y="756"/>
                    </a:cubicBezTo>
                    <a:cubicBezTo>
                      <a:pt x="527" y="773"/>
                      <a:pt x="527" y="773"/>
                      <a:pt x="527" y="773"/>
                    </a:cubicBezTo>
                    <a:cubicBezTo>
                      <a:pt x="537" y="770"/>
                      <a:pt x="548" y="764"/>
                      <a:pt x="559" y="759"/>
                    </a:cubicBezTo>
                    <a:cubicBezTo>
                      <a:pt x="570" y="753"/>
                      <a:pt x="580" y="744"/>
                      <a:pt x="590" y="736"/>
                    </a:cubicBezTo>
                    <a:cubicBezTo>
                      <a:pt x="586" y="707"/>
                      <a:pt x="586" y="707"/>
                      <a:pt x="586" y="707"/>
                    </a:cubicBezTo>
                    <a:cubicBezTo>
                      <a:pt x="600" y="690"/>
                      <a:pt x="611" y="670"/>
                      <a:pt x="618" y="649"/>
                    </a:cubicBezTo>
                    <a:cubicBezTo>
                      <a:pt x="645" y="638"/>
                      <a:pt x="645" y="638"/>
                      <a:pt x="645" y="638"/>
                    </a:cubicBezTo>
                    <a:cubicBezTo>
                      <a:pt x="650" y="613"/>
                      <a:pt x="650" y="587"/>
                      <a:pt x="644" y="563"/>
                    </a:cubicBezTo>
                    <a:cubicBezTo>
                      <a:pt x="617" y="550"/>
                      <a:pt x="617" y="550"/>
                      <a:pt x="617" y="550"/>
                    </a:cubicBezTo>
                    <a:close/>
                    <a:moveTo>
                      <a:pt x="509" y="670"/>
                    </a:moveTo>
                    <a:cubicBezTo>
                      <a:pt x="471" y="692"/>
                      <a:pt x="424" y="678"/>
                      <a:pt x="402" y="640"/>
                    </a:cubicBezTo>
                    <a:cubicBezTo>
                      <a:pt x="380" y="603"/>
                      <a:pt x="392" y="553"/>
                      <a:pt x="430" y="532"/>
                    </a:cubicBezTo>
                    <a:cubicBezTo>
                      <a:pt x="440" y="526"/>
                      <a:pt x="450" y="523"/>
                      <a:pt x="460" y="522"/>
                    </a:cubicBezTo>
                    <a:cubicBezTo>
                      <a:pt x="490" y="518"/>
                      <a:pt x="522" y="532"/>
                      <a:pt x="538" y="561"/>
                    </a:cubicBezTo>
                    <a:cubicBezTo>
                      <a:pt x="559" y="600"/>
                      <a:pt x="547" y="648"/>
                      <a:pt x="509" y="67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grpSp>
      </p:grpSp>
      <p:grpSp>
        <p:nvGrpSpPr>
          <p:cNvPr id="49" name="Group 48">
            <a:extLst>
              <a:ext uri="{FF2B5EF4-FFF2-40B4-BE49-F238E27FC236}">
                <a16:creationId xmlns:a16="http://schemas.microsoft.com/office/drawing/2014/main" id="{1273A902-3564-652F-F850-BFF0F4BC9D37}"/>
              </a:ext>
            </a:extLst>
          </p:cNvPr>
          <p:cNvGrpSpPr>
            <a:grpSpLocks noChangeAspect="1"/>
          </p:cNvGrpSpPr>
          <p:nvPr/>
        </p:nvGrpSpPr>
        <p:grpSpPr>
          <a:xfrm>
            <a:off x="5897772" y="1717261"/>
            <a:ext cx="667897" cy="667897"/>
            <a:chOff x="1109933" y="1822724"/>
            <a:chExt cx="1649421" cy="1649421"/>
          </a:xfrm>
        </p:grpSpPr>
        <p:sp>
          <p:nvSpPr>
            <p:cNvPr id="50" name="AutoShape 68">
              <a:extLst>
                <a:ext uri="{FF2B5EF4-FFF2-40B4-BE49-F238E27FC236}">
                  <a16:creationId xmlns:a16="http://schemas.microsoft.com/office/drawing/2014/main" id="{70C48677-76D4-2A9A-E74D-38FE50D82B0B}"/>
                </a:ext>
              </a:extLst>
            </p:cNvPr>
            <p:cNvSpPr>
              <a:spLocks noChangeAspect="1" noChangeArrowheads="1" noTextEdit="1"/>
            </p:cNvSpPr>
            <p:nvPr/>
          </p:nvSpPr>
          <p:spPr bwMode="auto">
            <a:xfrm>
              <a:off x="1109933" y="1822724"/>
              <a:ext cx="1649421" cy="16494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51" name="Group 50">
              <a:extLst>
                <a:ext uri="{FF2B5EF4-FFF2-40B4-BE49-F238E27FC236}">
                  <a16:creationId xmlns:a16="http://schemas.microsoft.com/office/drawing/2014/main" id="{BD980157-CB71-2033-93BC-9939BE2A89A8}"/>
                </a:ext>
              </a:extLst>
            </p:cNvPr>
            <p:cNvGrpSpPr/>
            <p:nvPr/>
          </p:nvGrpSpPr>
          <p:grpSpPr>
            <a:xfrm>
              <a:off x="1323199" y="2204914"/>
              <a:ext cx="1221983" cy="879309"/>
              <a:chOff x="1323199" y="2204914"/>
              <a:chExt cx="1221983" cy="879309"/>
            </a:xfrm>
          </p:grpSpPr>
          <p:sp>
            <p:nvSpPr>
              <p:cNvPr id="52" name="Freeform 70">
                <a:extLst>
                  <a:ext uri="{FF2B5EF4-FFF2-40B4-BE49-F238E27FC236}">
                    <a16:creationId xmlns:a16="http://schemas.microsoft.com/office/drawing/2014/main" id="{606FE7D4-D851-A610-5E7D-07F4968A86C2}"/>
                  </a:ext>
                </a:extLst>
              </p:cNvPr>
              <p:cNvSpPr>
                <a:spLocks noEditPoints="1"/>
              </p:cNvSpPr>
              <p:nvPr/>
            </p:nvSpPr>
            <p:spPr bwMode="auto">
              <a:xfrm>
                <a:off x="1323199" y="2204914"/>
                <a:ext cx="1221983" cy="879309"/>
              </a:xfrm>
              <a:custGeom>
                <a:avLst/>
                <a:gdLst>
                  <a:gd name="T0" fmla="*/ 503 w 1707"/>
                  <a:gd name="T1" fmla="*/ 599 h 1228"/>
                  <a:gd name="T2" fmla="*/ 449 w 1707"/>
                  <a:gd name="T3" fmla="*/ 585 h 1228"/>
                  <a:gd name="T4" fmla="*/ 471 w 1707"/>
                  <a:gd name="T5" fmla="*/ 660 h 1228"/>
                  <a:gd name="T6" fmla="*/ 360 w 1707"/>
                  <a:gd name="T7" fmla="*/ 428 h 1228"/>
                  <a:gd name="T8" fmla="*/ 387 w 1707"/>
                  <a:gd name="T9" fmla="*/ 394 h 1228"/>
                  <a:gd name="T10" fmla="*/ 395 w 1707"/>
                  <a:gd name="T11" fmla="*/ 344 h 1228"/>
                  <a:gd name="T12" fmla="*/ 1445 w 1707"/>
                  <a:gd name="T13" fmla="*/ 0 h 1228"/>
                  <a:gd name="T14" fmla="*/ 429 w 1707"/>
                  <a:gd name="T15" fmla="*/ 161 h 1228"/>
                  <a:gd name="T16" fmla="*/ 440 w 1707"/>
                  <a:gd name="T17" fmla="*/ 196 h 1228"/>
                  <a:gd name="T18" fmla="*/ 449 w 1707"/>
                  <a:gd name="T19" fmla="*/ 174 h 1228"/>
                  <a:gd name="T20" fmla="*/ 457 w 1707"/>
                  <a:gd name="T21" fmla="*/ 158 h 1228"/>
                  <a:gd name="T22" fmla="*/ 465 w 1707"/>
                  <a:gd name="T23" fmla="*/ 143 h 1228"/>
                  <a:gd name="T24" fmla="*/ 473 w 1707"/>
                  <a:gd name="T25" fmla="*/ 129 h 1228"/>
                  <a:gd name="T26" fmla="*/ 575 w 1707"/>
                  <a:gd name="T27" fmla="*/ 37 h 1228"/>
                  <a:gd name="T28" fmla="*/ 589 w 1707"/>
                  <a:gd name="T29" fmla="*/ 34 h 1228"/>
                  <a:gd name="T30" fmla="*/ 1454 w 1707"/>
                  <a:gd name="T31" fmla="*/ 35 h 1228"/>
                  <a:gd name="T32" fmla="*/ 1466 w 1707"/>
                  <a:gd name="T33" fmla="*/ 37 h 1228"/>
                  <a:gd name="T34" fmla="*/ 1478 w 1707"/>
                  <a:gd name="T35" fmla="*/ 40 h 1228"/>
                  <a:gd name="T36" fmla="*/ 1488 w 1707"/>
                  <a:gd name="T37" fmla="*/ 46 h 1228"/>
                  <a:gd name="T38" fmla="*/ 1499 w 1707"/>
                  <a:gd name="T39" fmla="*/ 52 h 1228"/>
                  <a:gd name="T40" fmla="*/ 1513 w 1707"/>
                  <a:gd name="T41" fmla="*/ 62 h 1228"/>
                  <a:gd name="T42" fmla="*/ 1596 w 1707"/>
                  <a:gd name="T43" fmla="*/ 187 h 1228"/>
                  <a:gd name="T44" fmla="*/ 1607 w 1707"/>
                  <a:gd name="T45" fmla="*/ 216 h 1228"/>
                  <a:gd name="T46" fmla="*/ 1608 w 1707"/>
                  <a:gd name="T47" fmla="*/ 1011 h 1228"/>
                  <a:gd name="T48" fmla="*/ 1600 w 1707"/>
                  <a:gd name="T49" fmla="*/ 1031 h 1228"/>
                  <a:gd name="T50" fmla="*/ 1514 w 1707"/>
                  <a:gd name="T51" fmla="*/ 1164 h 1228"/>
                  <a:gd name="T52" fmla="*/ 1504 w 1707"/>
                  <a:gd name="T53" fmla="*/ 1173 h 1228"/>
                  <a:gd name="T54" fmla="*/ 1491 w 1707"/>
                  <a:gd name="T55" fmla="*/ 1181 h 1228"/>
                  <a:gd name="T56" fmla="*/ 1479 w 1707"/>
                  <a:gd name="T57" fmla="*/ 1187 h 1228"/>
                  <a:gd name="T58" fmla="*/ 1468 w 1707"/>
                  <a:gd name="T59" fmla="*/ 1190 h 1228"/>
                  <a:gd name="T60" fmla="*/ 1456 w 1707"/>
                  <a:gd name="T61" fmla="*/ 1193 h 1228"/>
                  <a:gd name="T62" fmla="*/ 1443 w 1707"/>
                  <a:gd name="T63" fmla="*/ 1194 h 1228"/>
                  <a:gd name="T64" fmla="*/ 1434 w 1707"/>
                  <a:gd name="T65" fmla="*/ 1193 h 1228"/>
                  <a:gd name="T66" fmla="*/ 599 w 1707"/>
                  <a:gd name="T67" fmla="*/ 1194 h 1228"/>
                  <a:gd name="T68" fmla="*/ 587 w 1707"/>
                  <a:gd name="T69" fmla="*/ 1193 h 1228"/>
                  <a:gd name="T70" fmla="*/ 574 w 1707"/>
                  <a:gd name="T71" fmla="*/ 1191 h 1228"/>
                  <a:gd name="T72" fmla="*/ 563 w 1707"/>
                  <a:gd name="T73" fmla="*/ 1188 h 1228"/>
                  <a:gd name="T74" fmla="*/ 552 w 1707"/>
                  <a:gd name="T75" fmla="*/ 1182 h 1228"/>
                  <a:gd name="T76" fmla="*/ 541 w 1707"/>
                  <a:gd name="T77" fmla="*/ 1176 h 1228"/>
                  <a:gd name="T78" fmla="*/ 528 w 1707"/>
                  <a:gd name="T79" fmla="*/ 1166 h 1228"/>
                  <a:gd name="T80" fmla="*/ 596 w 1707"/>
                  <a:gd name="T81" fmla="*/ 1228 h 1228"/>
                  <a:gd name="T82" fmla="*/ 1707 w 1707"/>
                  <a:gd name="T83" fmla="*/ 614 h 1228"/>
                  <a:gd name="T84" fmla="*/ 451 w 1707"/>
                  <a:gd name="T85" fmla="*/ 423 h 1228"/>
                  <a:gd name="T86" fmla="*/ 535 w 1707"/>
                  <a:gd name="T87" fmla="*/ 409 h 1228"/>
                  <a:gd name="T88" fmla="*/ 639 w 1707"/>
                  <a:gd name="T89" fmla="*/ 522 h 1228"/>
                  <a:gd name="T90" fmla="*/ 684 w 1707"/>
                  <a:gd name="T91" fmla="*/ 664 h 1228"/>
                  <a:gd name="T92" fmla="*/ 631 w 1707"/>
                  <a:gd name="T93" fmla="*/ 772 h 1228"/>
                  <a:gd name="T94" fmla="*/ 577 w 1707"/>
                  <a:gd name="T95" fmla="*/ 813 h 1228"/>
                  <a:gd name="T96" fmla="*/ 471 w 1707"/>
                  <a:gd name="T97" fmla="*/ 817 h 1228"/>
                  <a:gd name="T98" fmla="*/ 488 w 1707"/>
                  <a:gd name="T99" fmla="*/ 1013 h 1228"/>
                  <a:gd name="T100" fmla="*/ 808 w 1707"/>
                  <a:gd name="T101" fmla="*/ 614 h 1228"/>
                  <a:gd name="T102" fmla="*/ 362 w 1707"/>
                  <a:gd name="T103" fmla="*/ 894 h 1228"/>
                  <a:gd name="T104" fmla="*/ 345 w 1707"/>
                  <a:gd name="T105" fmla="*/ 800 h 1228"/>
                  <a:gd name="T106" fmla="*/ 226 w 1707"/>
                  <a:gd name="T107" fmla="*/ 1169 h 1228"/>
                  <a:gd name="T108" fmla="*/ 79 w 1707"/>
                  <a:gd name="T109" fmla="*/ 793 h 1228"/>
                  <a:gd name="T110" fmla="*/ 98 w 1707"/>
                  <a:gd name="T111" fmla="*/ 926 h 1228"/>
                  <a:gd name="T112" fmla="*/ 0 w 1707"/>
                  <a:gd name="T113" fmla="*/ 370 h 1228"/>
                  <a:gd name="T114" fmla="*/ 79 w 1707"/>
                  <a:gd name="T115" fmla="*/ 410 h 1228"/>
                  <a:gd name="T116" fmla="*/ 79 w 1707"/>
                  <a:gd name="T117" fmla="*/ 410 h 1228"/>
                  <a:gd name="T118" fmla="*/ 305 w 1707"/>
                  <a:gd name="T119" fmla="*/ 146 h 1228"/>
                  <a:gd name="T120" fmla="*/ 226 w 1707"/>
                  <a:gd name="T121" fmla="*/ 107 h 1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707" h="1228">
                    <a:moveTo>
                      <a:pt x="471" y="660"/>
                    </a:moveTo>
                    <a:cubicBezTo>
                      <a:pt x="477" y="660"/>
                      <a:pt x="483" y="658"/>
                      <a:pt x="489" y="655"/>
                    </a:cubicBezTo>
                    <a:cubicBezTo>
                      <a:pt x="489" y="655"/>
                      <a:pt x="489" y="655"/>
                      <a:pt x="489" y="655"/>
                    </a:cubicBezTo>
                    <a:cubicBezTo>
                      <a:pt x="508" y="644"/>
                      <a:pt x="514" y="619"/>
                      <a:pt x="503" y="599"/>
                    </a:cubicBezTo>
                    <a:cubicBezTo>
                      <a:pt x="496" y="587"/>
                      <a:pt x="483" y="580"/>
                      <a:pt x="469" y="580"/>
                    </a:cubicBezTo>
                    <a:cubicBezTo>
                      <a:pt x="467" y="580"/>
                      <a:pt x="466" y="580"/>
                      <a:pt x="464" y="580"/>
                    </a:cubicBezTo>
                    <a:cubicBezTo>
                      <a:pt x="463" y="580"/>
                      <a:pt x="463" y="580"/>
                      <a:pt x="463" y="580"/>
                    </a:cubicBezTo>
                    <a:cubicBezTo>
                      <a:pt x="461" y="580"/>
                      <a:pt x="456" y="581"/>
                      <a:pt x="449" y="585"/>
                    </a:cubicBezTo>
                    <a:cubicBezTo>
                      <a:pt x="441" y="590"/>
                      <a:pt x="435" y="598"/>
                      <a:pt x="432" y="608"/>
                    </a:cubicBezTo>
                    <a:cubicBezTo>
                      <a:pt x="429" y="619"/>
                      <a:pt x="431" y="630"/>
                      <a:pt x="436" y="639"/>
                    </a:cubicBezTo>
                    <a:cubicBezTo>
                      <a:pt x="437" y="640"/>
                      <a:pt x="437" y="640"/>
                      <a:pt x="437" y="640"/>
                    </a:cubicBezTo>
                    <a:cubicBezTo>
                      <a:pt x="444" y="652"/>
                      <a:pt x="457" y="660"/>
                      <a:pt x="471" y="660"/>
                    </a:cubicBezTo>
                    <a:close/>
                    <a:moveTo>
                      <a:pt x="362" y="333"/>
                    </a:moveTo>
                    <a:cubicBezTo>
                      <a:pt x="355" y="367"/>
                      <a:pt x="349" y="403"/>
                      <a:pt x="344" y="439"/>
                    </a:cubicBezTo>
                    <a:cubicBezTo>
                      <a:pt x="349" y="435"/>
                      <a:pt x="354" y="432"/>
                      <a:pt x="359" y="429"/>
                    </a:cubicBezTo>
                    <a:cubicBezTo>
                      <a:pt x="360" y="428"/>
                      <a:pt x="360" y="428"/>
                      <a:pt x="360" y="428"/>
                    </a:cubicBezTo>
                    <a:cubicBezTo>
                      <a:pt x="362" y="427"/>
                      <a:pt x="362" y="427"/>
                      <a:pt x="362" y="427"/>
                    </a:cubicBezTo>
                    <a:cubicBezTo>
                      <a:pt x="369" y="423"/>
                      <a:pt x="376" y="420"/>
                      <a:pt x="383" y="417"/>
                    </a:cubicBezTo>
                    <a:cubicBezTo>
                      <a:pt x="384" y="410"/>
                      <a:pt x="385" y="403"/>
                      <a:pt x="387" y="397"/>
                    </a:cubicBezTo>
                    <a:cubicBezTo>
                      <a:pt x="387" y="394"/>
                      <a:pt x="387" y="394"/>
                      <a:pt x="387" y="394"/>
                    </a:cubicBezTo>
                    <a:cubicBezTo>
                      <a:pt x="387" y="386"/>
                      <a:pt x="389" y="379"/>
                      <a:pt x="391" y="371"/>
                    </a:cubicBezTo>
                    <a:cubicBezTo>
                      <a:pt x="391" y="370"/>
                      <a:pt x="391" y="370"/>
                      <a:pt x="391" y="369"/>
                    </a:cubicBezTo>
                    <a:cubicBezTo>
                      <a:pt x="393" y="361"/>
                      <a:pt x="394" y="354"/>
                      <a:pt x="395" y="345"/>
                    </a:cubicBezTo>
                    <a:cubicBezTo>
                      <a:pt x="395" y="345"/>
                      <a:pt x="395" y="345"/>
                      <a:pt x="395" y="344"/>
                    </a:cubicBezTo>
                    <a:cubicBezTo>
                      <a:pt x="397" y="338"/>
                      <a:pt x="398" y="331"/>
                      <a:pt x="400" y="325"/>
                    </a:cubicBezTo>
                    <a:cubicBezTo>
                      <a:pt x="391" y="330"/>
                      <a:pt x="381" y="334"/>
                      <a:pt x="370" y="334"/>
                    </a:cubicBezTo>
                    <a:cubicBezTo>
                      <a:pt x="367" y="334"/>
                      <a:pt x="364" y="333"/>
                      <a:pt x="362" y="333"/>
                    </a:cubicBezTo>
                    <a:close/>
                    <a:moveTo>
                      <a:pt x="1445" y="0"/>
                    </a:moveTo>
                    <a:cubicBezTo>
                      <a:pt x="583" y="0"/>
                      <a:pt x="583" y="0"/>
                      <a:pt x="583" y="0"/>
                    </a:cubicBezTo>
                    <a:cubicBezTo>
                      <a:pt x="580" y="0"/>
                      <a:pt x="577" y="1"/>
                      <a:pt x="575" y="2"/>
                    </a:cubicBezTo>
                    <a:cubicBezTo>
                      <a:pt x="519" y="11"/>
                      <a:pt x="468" y="61"/>
                      <a:pt x="426" y="143"/>
                    </a:cubicBezTo>
                    <a:cubicBezTo>
                      <a:pt x="428" y="149"/>
                      <a:pt x="429" y="155"/>
                      <a:pt x="429" y="161"/>
                    </a:cubicBezTo>
                    <a:cubicBezTo>
                      <a:pt x="429" y="226"/>
                      <a:pt x="429" y="226"/>
                      <a:pt x="429" y="226"/>
                    </a:cubicBezTo>
                    <a:cubicBezTo>
                      <a:pt x="431" y="220"/>
                      <a:pt x="433" y="214"/>
                      <a:pt x="435" y="208"/>
                    </a:cubicBezTo>
                    <a:cubicBezTo>
                      <a:pt x="437" y="204"/>
                      <a:pt x="438" y="202"/>
                      <a:pt x="439" y="198"/>
                    </a:cubicBezTo>
                    <a:cubicBezTo>
                      <a:pt x="439" y="197"/>
                      <a:pt x="439" y="197"/>
                      <a:pt x="440" y="196"/>
                    </a:cubicBezTo>
                    <a:cubicBezTo>
                      <a:pt x="441" y="194"/>
                      <a:pt x="442" y="191"/>
                      <a:pt x="443" y="189"/>
                    </a:cubicBezTo>
                    <a:cubicBezTo>
                      <a:pt x="444" y="187"/>
                      <a:pt x="445" y="186"/>
                      <a:pt x="445" y="185"/>
                    </a:cubicBezTo>
                    <a:cubicBezTo>
                      <a:pt x="446" y="183"/>
                      <a:pt x="446" y="181"/>
                      <a:pt x="447" y="180"/>
                    </a:cubicBezTo>
                    <a:cubicBezTo>
                      <a:pt x="447" y="178"/>
                      <a:pt x="448" y="177"/>
                      <a:pt x="449" y="174"/>
                    </a:cubicBezTo>
                    <a:cubicBezTo>
                      <a:pt x="450" y="173"/>
                      <a:pt x="451" y="172"/>
                      <a:pt x="451" y="171"/>
                    </a:cubicBezTo>
                    <a:cubicBezTo>
                      <a:pt x="452" y="169"/>
                      <a:pt x="453" y="168"/>
                      <a:pt x="454" y="166"/>
                    </a:cubicBezTo>
                    <a:cubicBezTo>
                      <a:pt x="455" y="165"/>
                      <a:pt x="455" y="164"/>
                      <a:pt x="455" y="162"/>
                    </a:cubicBezTo>
                    <a:cubicBezTo>
                      <a:pt x="456" y="161"/>
                      <a:pt x="457" y="160"/>
                      <a:pt x="457" y="158"/>
                    </a:cubicBezTo>
                    <a:cubicBezTo>
                      <a:pt x="458" y="157"/>
                      <a:pt x="459" y="155"/>
                      <a:pt x="459" y="154"/>
                    </a:cubicBezTo>
                    <a:cubicBezTo>
                      <a:pt x="460" y="152"/>
                      <a:pt x="461" y="151"/>
                      <a:pt x="462" y="150"/>
                    </a:cubicBezTo>
                    <a:cubicBezTo>
                      <a:pt x="463" y="149"/>
                      <a:pt x="463" y="147"/>
                      <a:pt x="463" y="146"/>
                    </a:cubicBezTo>
                    <a:cubicBezTo>
                      <a:pt x="464" y="145"/>
                      <a:pt x="465" y="143"/>
                      <a:pt x="465" y="143"/>
                    </a:cubicBezTo>
                    <a:cubicBezTo>
                      <a:pt x="466" y="141"/>
                      <a:pt x="467" y="140"/>
                      <a:pt x="468" y="138"/>
                    </a:cubicBezTo>
                    <a:cubicBezTo>
                      <a:pt x="469" y="137"/>
                      <a:pt x="469" y="136"/>
                      <a:pt x="470" y="135"/>
                    </a:cubicBezTo>
                    <a:cubicBezTo>
                      <a:pt x="471" y="134"/>
                      <a:pt x="472" y="133"/>
                      <a:pt x="472" y="131"/>
                    </a:cubicBezTo>
                    <a:cubicBezTo>
                      <a:pt x="472" y="130"/>
                      <a:pt x="473" y="129"/>
                      <a:pt x="473" y="129"/>
                    </a:cubicBezTo>
                    <a:cubicBezTo>
                      <a:pt x="474" y="127"/>
                      <a:pt x="476" y="125"/>
                      <a:pt x="477" y="124"/>
                    </a:cubicBezTo>
                    <a:cubicBezTo>
                      <a:pt x="477" y="123"/>
                      <a:pt x="477" y="123"/>
                      <a:pt x="478" y="122"/>
                    </a:cubicBezTo>
                    <a:cubicBezTo>
                      <a:pt x="479" y="120"/>
                      <a:pt x="480" y="118"/>
                      <a:pt x="481" y="116"/>
                    </a:cubicBezTo>
                    <a:cubicBezTo>
                      <a:pt x="510" y="72"/>
                      <a:pt x="542" y="45"/>
                      <a:pt x="575" y="37"/>
                    </a:cubicBezTo>
                    <a:cubicBezTo>
                      <a:pt x="576" y="37"/>
                      <a:pt x="578" y="37"/>
                      <a:pt x="579" y="36"/>
                    </a:cubicBezTo>
                    <a:cubicBezTo>
                      <a:pt x="580" y="36"/>
                      <a:pt x="580" y="36"/>
                      <a:pt x="581" y="36"/>
                    </a:cubicBezTo>
                    <a:cubicBezTo>
                      <a:pt x="582" y="36"/>
                      <a:pt x="583" y="35"/>
                      <a:pt x="585" y="35"/>
                    </a:cubicBezTo>
                    <a:cubicBezTo>
                      <a:pt x="586" y="34"/>
                      <a:pt x="587" y="34"/>
                      <a:pt x="589" y="34"/>
                    </a:cubicBezTo>
                    <a:cubicBezTo>
                      <a:pt x="595" y="34"/>
                      <a:pt x="595" y="34"/>
                      <a:pt x="595" y="34"/>
                    </a:cubicBezTo>
                    <a:cubicBezTo>
                      <a:pt x="1437" y="34"/>
                      <a:pt x="1445" y="34"/>
                      <a:pt x="1445" y="34"/>
                    </a:cubicBezTo>
                    <a:cubicBezTo>
                      <a:pt x="1451" y="34"/>
                      <a:pt x="1451" y="34"/>
                      <a:pt x="1451" y="34"/>
                    </a:cubicBezTo>
                    <a:cubicBezTo>
                      <a:pt x="1452" y="35"/>
                      <a:pt x="1453" y="35"/>
                      <a:pt x="1454" y="35"/>
                    </a:cubicBezTo>
                    <a:cubicBezTo>
                      <a:pt x="1456" y="35"/>
                      <a:pt x="1456" y="35"/>
                      <a:pt x="1456" y="35"/>
                    </a:cubicBezTo>
                    <a:cubicBezTo>
                      <a:pt x="1457" y="35"/>
                      <a:pt x="1459" y="36"/>
                      <a:pt x="1460" y="36"/>
                    </a:cubicBezTo>
                    <a:cubicBezTo>
                      <a:pt x="1461" y="36"/>
                      <a:pt x="1462" y="36"/>
                      <a:pt x="1462" y="36"/>
                    </a:cubicBezTo>
                    <a:cubicBezTo>
                      <a:pt x="1463" y="37"/>
                      <a:pt x="1464" y="37"/>
                      <a:pt x="1466" y="37"/>
                    </a:cubicBezTo>
                    <a:cubicBezTo>
                      <a:pt x="1467" y="37"/>
                      <a:pt x="1467" y="37"/>
                      <a:pt x="1468" y="37"/>
                    </a:cubicBezTo>
                    <a:cubicBezTo>
                      <a:pt x="1469" y="37"/>
                      <a:pt x="1471" y="38"/>
                      <a:pt x="1471" y="38"/>
                    </a:cubicBezTo>
                    <a:cubicBezTo>
                      <a:pt x="1472" y="38"/>
                      <a:pt x="1473" y="39"/>
                      <a:pt x="1473" y="39"/>
                    </a:cubicBezTo>
                    <a:cubicBezTo>
                      <a:pt x="1475" y="39"/>
                      <a:pt x="1476" y="40"/>
                      <a:pt x="1478" y="40"/>
                    </a:cubicBezTo>
                    <a:cubicBezTo>
                      <a:pt x="1478" y="41"/>
                      <a:pt x="1479" y="41"/>
                      <a:pt x="1479" y="41"/>
                    </a:cubicBezTo>
                    <a:cubicBezTo>
                      <a:pt x="1480" y="42"/>
                      <a:pt x="1481" y="42"/>
                      <a:pt x="1483" y="43"/>
                    </a:cubicBezTo>
                    <a:cubicBezTo>
                      <a:pt x="1484" y="43"/>
                      <a:pt x="1484" y="44"/>
                      <a:pt x="1485" y="44"/>
                    </a:cubicBezTo>
                    <a:cubicBezTo>
                      <a:pt x="1486" y="45"/>
                      <a:pt x="1488" y="45"/>
                      <a:pt x="1488" y="46"/>
                    </a:cubicBezTo>
                    <a:cubicBezTo>
                      <a:pt x="1489" y="46"/>
                      <a:pt x="1490" y="46"/>
                      <a:pt x="1491" y="46"/>
                    </a:cubicBezTo>
                    <a:cubicBezTo>
                      <a:pt x="1492" y="47"/>
                      <a:pt x="1493" y="48"/>
                      <a:pt x="1494" y="48"/>
                    </a:cubicBezTo>
                    <a:cubicBezTo>
                      <a:pt x="1495" y="49"/>
                      <a:pt x="1496" y="50"/>
                      <a:pt x="1496" y="50"/>
                    </a:cubicBezTo>
                    <a:cubicBezTo>
                      <a:pt x="1497" y="51"/>
                      <a:pt x="1498" y="51"/>
                      <a:pt x="1499" y="52"/>
                    </a:cubicBezTo>
                    <a:cubicBezTo>
                      <a:pt x="1500" y="53"/>
                      <a:pt x="1502" y="54"/>
                      <a:pt x="1504" y="55"/>
                    </a:cubicBezTo>
                    <a:cubicBezTo>
                      <a:pt x="1504" y="55"/>
                      <a:pt x="1504" y="55"/>
                      <a:pt x="1504" y="55"/>
                    </a:cubicBezTo>
                    <a:cubicBezTo>
                      <a:pt x="1506" y="56"/>
                      <a:pt x="1508" y="58"/>
                      <a:pt x="1510" y="60"/>
                    </a:cubicBezTo>
                    <a:cubicBezTo>
                      <a:pt x="1511" y="60"/>
                      <a:pt x="1512" y="61"/>
                      <a:pt x="1513" y="62"/>
                    </a:cubicBezTo>
                    <a:cubicBezTo>
                      <a:pt x="1513" y="63"/>
                      <a:pt x="1513" y="63"/>
                      <a:pt x="1514" y="63"/>
                    </a:cubicBezTo>
                    <a:cubicBezTo>
                      <a:pt x="1543" y="89"/>
                      <a:pt x="1570" y="128"/>
                      <a:pt x="1592" y="179"/>
                    </a:cubicBezTo>
                    <a:cubicBezTo>
                      <a:pt x="1593" y="180"/>
                      <a:pt x="1593" y="181"/>
                      <a:pt x="1594" y="182"/>
                    </a:cubicBezTo>
                    <a:cubicBezTo>
                      <a:pt x="1595" y="184"/>
                      <a:pt x="1596" y="186"/>
                      <a:pt x="1596" y="187"/>
                    </a:cubicBezTo>
                    <a:cubicBezTo>
                      <a:pt x="1598" y="190"/>
                      <a:pt x="1599" y="194"/>
                      <a:pt x="1600" y="197"/>
                    </a:cubicBezTo>
                    <a:cubicBezTo>
                      <a:pt x="1601" y="200"/>
                      <a:pt x="1602" y="203"/>
                      <a:pt x="1604" y="205"/>
                    </a:cubicBezTo>
                    <a:cubicBezTo>
                      <a:pt x="1604" y="206"/>
                      <a:pt x="1604" y="206"/>
                      <a:pt x="1604" y="206"/>
                    </a:cubicBezTo>
                    <a:cubicBezTo>
                      <a:pt x="1606" y="210"/>
                      <a:pt x="1607" y="213"/>
                      <a:pt x="1607" y="216"/>
                    </a:cubicBezTo>
                    <a:cubicBezTo>
                      <a:pt x="1608" y="217"/>
                      <a:pt x="1608" y="217"/>
                      <a:pt x="1608" y="217"/>
                    </a:cubicBezTo>
                    <a:cubicBezTo>
                      <a:pt x="1646" y="318"/>
                      <a:pt x="1669" y="453"/>
                      <a:pt x="1671" y="600"/>
                    </a:cubicBezTo>
                    <a:cubicBezTo>
                      <a:pt x="1671" y="628"/>
                      <a:pt x="1671" y="628"/>
                      <a:pt x="1671" y="628"/>
                    </a:cubicBezTo>
                    <a:cubicBezTo>
                      <a:pt x="1669" y="775"/>
                      <a:pt x="1646" y="909"/>
                      <a:pt x="1608" y="1011"/>
                    </a:cubicBezTo>
                    <a:cubicBezTo>
                      <a:pt x="1608" y="1011"/>
                      <a:pt x="1608" y="1011"/>
                      <a:pt x="1607" y="1012"/>
                    </a:cubicBezTo>
                    <a:cubicBezTo>
                      <a:pt x="1607" y="1014"/>
                      <a:pt x="1606" y="1018"/>
                      <a:pt x="1604" y="1022"/>
                    </a:cubicBezTo>
                    <a:cubicBezTo>
                      <a:pt x="1604" y="1022"/>
                      <a:pt x="1604" y="1022"/>
                      <a:pt x="1603" y="1023"/>
                    </a:cubicBezTo>
                    <a:cubicBezTo>
                      <a:pt x="1602" y="1026"/>
                      <a:pt x="1601" y="1028"/>
                      <a:pt x="1600" y="1031"/>
                    </a:cubicBezTo>
                    <a:cubicBezTo>
                      <a:pt x="1599" y="1034"/>
                      <a:pt x="1598" y="1038"/>
                      <a:pt x="1596" y="1040"/>
                    </a:cubicBezTo>
                    <a:cubicBezTo>
                      <a:pt x="1596" y="1042"/>
                      <a:pt x="1595" y="1044"/>
                      <a:pt x="1594" y="1046"/>
                    </a:cubicBezTo>
                    <a:cubicBezTo>
                      <a:pt x="1593" y="1047"/>
                      <a:pt x="1593" y="1048"/>
                      <a:pt x="1592" y="1049"/>
                    </a:cubicBezTo>
                    <a:cubicBezTo>
                      <a:pt x="1570" y="1100"/>
                      <a:pt x="1543" y="1139"/>
                      <a:pt x="1514" y="1164"/>
                    </a:cubicBezTo>
                    <a:cubicBezTo>
                      <a:pt x="1513" y="1165"/>
                      <a:pt x="1513" y="1165"/>
                      <a:pt x="1513" y="1166"/>
                    </a:cubicBezTo>
                    <a:cubicBezTo>
                      <a:pt x="1512" y="1167"/>
                      <a:pt x="1511" y="1168"/>
                      <a:pt x="1510" y="1168"/>
                    </a:cubicBezTo>
                    <a:cubicBezTo>
                      <a:pt x="1508" y="1170"/>
                      <a:pt x="1506" y="1172"/>
                      <a:pt x="1504" y="1172"/>
                    </a:cubicBezTo>
                    <a:cubicBezTo>
                      <a:pt x="1504" y="1173"/>
                      <a:pt x="1504" y="1173"/>
                      <a:pt x="1504" y="1173"/>
                    </a:cubicBezTo>
                    <a:cubicBezTo>
                      <a:pt x="1502" y="1174"/>
                      <a:pt x="1500" y="1175"/>
                      <a:pt x="1499" y="1176"/>
                    </a:cubicBezTo>
                    <a:cubicBezTo>
                      <a:pt x="1498" y="1177"/>
                      <a:pt x="1497" y="1177"/>
                      <a:pt x="1496" y="1178"/>
                    </a:cubicBezTo>
                    <a:cubicBezTo>
                      <a:pt x="1496" y="1178"/>
                      <a:pt x="1495" y="1179"/>
                      <a:pt x="1494" y="1180"/>
                    </a:cubicBezTo>
                    <a:cubicBezTo>
                      <a:pt x="1493" y="1180"/>
                      <a:pt x="1492" y="1181"/>
                      <a:pt x="1491" y="1181"/>
                    </a:cubicBezTo>
                    <a:cubicBezTo>
                      <a:pt x="1490" y="1181"/>
                      <a:pt x="1489" y="1182"/>
                      <a:pt x="1488" y="1182"/>
                    </a:cubicBezTo>
                    <a:cubicBezTo>
                      <a:pt x="1488" y="1183"/>
                      <a:pt x="1486" y="1183"/>
                      <a:pt x="1485" y="1184"/>
                    </a:cubicBezTo>
                    <a:cubicBezTo>
                      <a:pt x="1484" y="1184"/>
                      <a:pt x="1484" y="1185"/>
                      <a:pt x="1483" y="1185"/>
                    </a:cubicBezTo>
                    <a:cubicBezTo>
                      <a:pt x="1481" y="1186"/>
                      <a:pt x="1480" y="1186"/>
                      <a:pt x="1479" y="1187"/>
                    </a:cubicBezTo>
                    <a:cubicBezTo>
                      <a:pt x="1479" y="1187"/>
                      <a:pt x="1478" y="1187"/>
                      <a:pt x="1478" y="1188"/>
                    </a:cubicBezTo>
                    <a:cubicBezTo>
                      <a:pt x="1476" y="1188"/>
                      <a:pt x="1475" y="1189"/>
                      <a:pt x="1473" y="1189"/>
                    </a:cubicBezTo>
                    <a:cubicBezTo>
                      <a:pt x="1473" y="1189"/>
                      <a:pt x="1472" y="1190"/>
                      <a:pt x="1471" y="1190"/>
                    </a:cubicBezTo>
                    <a:cubicBezTo>
                      <a:pt x="1471" y="1190"/>
                      <a:pt x="1469" y="1190"/>
                      <a:pt x="1468" y="1190"/>
                    </a:cubicBezTo>
                    <a:cubicBezTo>
                      <a:pt x="1467" y="1190"/>
                      <a:pt x="1467" y="1191"/>
                      <a:pt x="1466" y="1191"/>
                    </a:cubicBezTo>
                    <a:cubicBezTo>
                      <a:pt x="1464" y="1191"/>
                      <a:pt x="1463" y="1191"/>
                      <a:pt x="1462" y="1192"/>
                    </a:cubicBezTo>
                    <a:cubicBezTo>
                      <a:pt x="1462" y="1192"/>
                      <a:pt x="1461" y="1192"/>
                      <a:pt x="1460" y="1192"/>
                    </a:cubicBezTo>
                    <a:cubicBezTo>
                      <a:pt x="1459" y="1192"/>
                      <a:pt x="1457" y="1193"/>
                      <a:pt x="1456" y="1193"/>
                    </a:cubicBezTo>
                    <a:cubicBezTo>
                      <a:pt x="1454" y="1193"/>
                      <a:pt x="1454" y="1193"/>
                      <a:pt x="1454" y="1193"/>
                    </a:cubicBezTo>
                    <a:cubicBezTo>
                      <a:pt x="1453" y="1193"/>
                      <a:pt x="1452" y="1193"/>
                      <a:pt x="1451" y="1194"/>
                    </a:cubicBezTo>
                    <a:cubicBezTo>
                      <a:pt x="1445" y="1194"/>
                      <a:pt x="1445" y="1194"/>
                      <a:pt x="1445" y="1194"/>
                    </a:cubicBezTo>
                    <a:cubicBezTo>
                      <a:pt x="1444" y="1194"/>
                      <a:pt x="1444" y="1194"/>
                      <a:pt x="1443" y="1194"/>
                    </a:cubicBezTo>
                    <a:cubicBezTo>
                      <a:pt x="1442" y="1194"/>
                      <a:pt x="1442" y="1194"/>
                      <a:pt x="1442" y="1194"/>
                    </a:cubicBezTo>
                    <a:cubicBezTo>
                      <a:pt x="1441" y="1194"/>
                      <a:pt x="1441" y="1194"/>
                      <a:pt x="1441" y="1194"/>
                    </a:cubicBezTo>
                    <a:cubicBezTo>
                      <a:pt x="1437" y="1194"/>
                      <a:pt x="1437" y="1194"/>
                      <a:pt x="1437" y="1194"/>
                    </a:cubicBezTo>
                    <a:cubicBezTo>
                      <a:pt x="1434" y="1193"/>
                      <a:pt x="1434" y="1193"/>
                      <a:pt x="1434" y="1193"/>
                    </a:cubicBezTo>
                    <a:cubicBezTo>
                      <a:pt x="607" y="1193"/>
                      <a:pt x="607" y="1193"/>
                      <a:pt x="607" y="1193"/>
                    </a:cubicBezTo>
                    <a:cubicBezTo>
                      <a:pt x="604" y="1194"/>
                      <a:pt x="604" y="1194"/>
                      <a:pt x="604" y="1194"/>
                    </a:cubicBezTo>
                    <a:cubicBezTo>
                      <a:pt x="600" y="1194"/>
                      <a:pt x="600" y="1194"/>
                      <a:pt x="600" y="1194"/>
                    </a:cubicBezTo>
                    <a:cubicBezTo>
                      <a:pt x="599" y="1194"/>
                      <a:pt x="599" y="1194"/>
                      <a:pt x="599" y="1194"/>
                    </a:cubicBezTo>
                    <a:cubicBezTo>
                      <a:pt x="599" y="1194"/>
                      <a:pt x="599" y="1194"/>
                      <a:pt x="598" y="1194"/>
                    </a:cubicBezTo>
                    <a:cubicBezTo>
                      <a:pt x="597" y="1194"/>
                      <a:pt x="597" y="1194"/>
                      <a:pt x="596" y="1194"/>
                    </a:cubicBezTo>
                    <a:cubicBezTo>
                      <a:pt x="590" y="1194"/>
                      <a:pt x="590" y="1194"/>
                      <a:pt x="590" y="1194"/>
                    </a:cubicBezTo>
                    <a:cubicBezTo>
                      <a:pt x="589" y="1193"/>
                      <a:pt x="588" y="1193"/>
                      <a:pt x="587" y="1193"/>
                    </a:cubicBezTo>
                    <a:cubicBezTo>
                      <a:pt x="584" y="1193"/>
                      <a:pt x="584" y="1193"/>
                      <a:pt x="584" y="1193"/>
                    </a:cubicBezTo>
                    <a:cubicBezTo>
                      <a:pt x="583" y="1193"/>
                      <a:pt x="582" y="1192"/>
                      <a:pt x="581" y="1192"/>
                    </a:cubicBezTo>
                    <a:cubicBezTo>
                      <a:pt x="580" y="1192"/>
                      <a:pt x="579" y="1192"/>
                      <a:pt x="579" y="1192"/>
                    </a:cubicBezTo>
                    <a:cubicBezTo>
                      <a:pt x="577" y="1191"/>
                      <a:pt x="576" y="1191"/>
                      <a:pt x="574" y="1191"/>
                    </a:cubicBezTo>
                    <a:cubicBezTo>
                      <a:pt x="574" y="1191"/>
                      <a:pt x="574" y="1190"/>
                      <a:pt x="573" y="1190"/>
                    </a:cubicBezTo>
                    <a:cubicBezTo>
                      <a:pt x="572" y="1190"/>
                      <a:pt x="570" y="1190"/>
                      <a:pt x="569" y="1190"/>
                    </a:cubicBezTo>
                    <a:cubicBezTo>
                      <a:pt x="568" y="1190"/>
                      <a:pt x="567" y="1189"/>
                      <a:pt x="567" y="1189"/>
                    </a:cubicBezTo>
                    <a:cubicBezTo>
                      <a:pt x="566" y="1189"/>
                      <a:pt x="565" y="1188"/>
                      <a:pt x="563" y="1188"/>
                    </a:cubicBezTo>
                    <a:cubicBezTo>
                      <a:pt x="563" y="1187"/>
                      <a:pt x="562" y="1187"/>
                      <a:pt x="561" y="1187"/>
                    </a:cubicBezTo>
                    <a:cubicBezTo>
                      <a:pt x="560" y="1186"/>
                      <a:pt x="559" y="1186"/>
                      <a:pt x="557" y="1185"/>
                    </a:cubicBezTo>
                    <a:cubicBezTo>
                      <a:pt x="557" y="1185"/>
                      <a:pt x="557" y="1184"/>
                      <a:pt x="556" y="1184"/>
                    </a:cubicBezTo>
                    <a:cubicBezTo>
                      <a:pt x="555" y="1183"/>
                      <a:pt x="553" y="1183"/>
                      <a:pt x="552" y="1182"/>
                    </a:cubicBezTo>
                    <a:cubicBezTo>
                      <a:pt x="551" y="1182"/>
                      <a:pt x="550" y="1181"/>
                      <a:pt x="549" y="1181"/>
                    </a:cubicBezTo>
                    <a:cubicBezTo>
                      <a:pt x="549" y="1181"/>
                      <a:pt x="548" y="1180"/>
                      <a:pt x="547" y="1180"/>
                    </a:cubicBezTo>
                    <a:cubicBezTo>
                      <a:pt x="546" y="1179"/>
                      <a:pt x="545" y="1178"/>
                      <a:pt x="544" y="1178"/>
                    </a:cubicBezTo>
                    <a:cubicBezTo>
                      <a:pt x="543" y="1177"/>
                      <a:pt x="542" y="1177"/>
                      <a:pt x="541" y="1176"/>
                    </a:cubicBezTo>
                    <a:cubicBezTo>
                      <a:pt x="540" y="1175"/>
                      <a:pt x="539" y="1174"/>
                      <a:pt x="537" y="1173"/>
                    </a:cubicBezTo>
                    <a:cubicBezTo>
                      <a:pt x="537" y="1173"/>
                      <a:pt x="537" y="1172"/>
                      <a:pt x="536" y="1172"/>
                    </a:cubicBezTo>
                    <a:cubicBezTo>
                      <a:pt x="534" y="1172"/>
                      <a:pt x="532" y="1170"/>
                      <a:pt x="531" y="1168"/>
                    </a:cubicBezTo>
                    <a:cubicBezTo>
                      <a:pt x="530" y="1168"/>
                      <a:pt x="529" y="1167"/>
                      <a:pt x="528" y="1166"/>
                    </a:cubicBezTo>
                    <a:cubicBezTo>
                      <a:pt x="528" y="1165"/>
                      <a:pt x="527" y="1165"/>
                      <a:pt x="526" y="1164"/>
                    </a:cubicBezTo>
                    <a:cubicBezTo>
                      <a:pt x="504" y="1145"/>
                      <a:pt x="483" y="1118"/>
                      <a:pt x="465" y="1083"/>
                    </a:cubicBezTo>
                    <a:cubicBezTo>
                      <a:pt x="458" y="1093"/>
                      <a:pt x="449" y="1102"/>
                      <a:pt x="439" y="1109"/>
                    </a:cubicBezTo>
                    <a:cubicBezTo>
                      <a:pt x="482" y="1184"/>
                      <a:pt x="537" y="1228"/>
                      <a:pt x="596" y="1228"/>
                    </a:cubicBezTo>
                    <a:cubicBezTo>
                      <a:pt x="600" y="1228"/>
                      <a:pt x="606" y="1228"/>
                      <a:pt x="610" y="1227"/>
                    </a:cubicBezTo>
                    <a:cubicBezTo>
                      <a:pt x="1430" y="1227"/>
                      <a:pt x="1430" y="1227"/>
                      <a:pt x="1430" y="1227"/>
                    </a:cubicBezTo>
                    <a:cubicBezTo>
                      <a:pt x="1435" y="1228"/>
                      <a:pt x="1440" y="1228"/>
                      <a:pt x="1445" y="1228"/>
                    </a:cubicBezTo>
                    <a:cubicBezTo>
                      <a:pt x="1591" y="1228"/>
                      <a:pt x="1707" y="959"/>
                      <a:pt x="1707" y="614"/>
                    </a:cubicBezTo>
                    <a:cubicBezTo>
                      <a:pt x="1707" y="269"/>
                      <a:pt x="1591" y="0"/>
                      <a:pt x="1445" y="0"/>
                    </a:cubicBezTo>
                    <a:close/>
                    <a:moveTo>
                      <a:pt x="444" y="319"/>
                    </a:moveTo>
                    <a:cubicBezTo>
                      <a:pt x="437" y="346"/>
                      <a:pt x="432" y="375"/>
                      <a:pt x="427" y="405"/>
                    </a:cubicBezTo>
                    <a:cubicBezTo>
                      <a:pt x="451" y="423"/>
                      <a:pt x="451" y="423"/>
                      <a:pt x="451" y="423"/>
                    </a:cubicBezTo>
                    <a:cubicBezTo>
                      <a:pt x="458" y="422"/>
                      <a:pt x="465" y="422"/>
                      <a:pt x="471" y="422"/>
                    </a:cubicBezTo>
                    <a:cubicBezTo>
                      <a:pt x="477" y="422"/>
                      <a:pt x="483" y="422"/>
                      <a:pt x="489" y="423"/>
                    </a:cubicBezTo>
                    <a:cubicBezTo>
                      <a:pt x="516" y="403"/>
                      <a:pt x="516" y="403"/>
                      <a:pt x="516" y="403"/>
                    </a:cubicBezTo>
                    <a:cubicBezTo>
                      <a:pt x="535" y="409"/>
                      <a:pt x="535" y="409"/>
                      <a:pt x="535" y="409"/>
                    </a:cubicBezTo>
                    <a:cubicBezTo>
                      <a:pt x="564" y="418"/>
                      <a:pt x="593" y="435"/>
                      <a:pt x="616" y="456"/>
                    </a:cubicBezTo>
                    <a:cubicBezTo>
                      <a:pt x="630" y="470"/>
                      <a:pt x="630" y="470"/>
                      <a:pt x="630" y="470"/>
                    </a:cubicBezTo>
                    <a:cubicBezTo>
                      <a:pt x="627" y="502"/>
                      <a:pt x="627" y="502"/>
                      <a:pt x="627" y="502"/>
                    </a:cubicBezTo>
                    <a:cubicBezTo>
                      <a:pt x="631" y="509"/>
                      <a:pt x="635" y="515"/>
                      <a:pt x="639" y="522"/>
                    </a:cubicBezTo>
                    <a:cubicBezTo>
                      <a:pt x="643" y="528"/>
                      <a:pt x="646" y="534"/>
                      <a:pt x="648" y="540"/>
                    </a:cubicBezTo>
                    <a:cubicBezTo>
                      <a:pt x="679" y="555"/>
                      <a:pt x="679" y="555"/>
                      <a:pt x="679" y="555"/>
                    </a:cubicBezTo>
                    <a:cubicBezTo>
                      <a:pt x="683" y="573"/>
                      <a:pt x="683" y="573"/>
                      <a:pt x="683" y="573"/>
                    </a:cubicBezTo>
                    <a:cubicBezTo>
                      <a:pt x="689" y="602"/>
                      <a:pt x="690" y="633"/>
                      <a:pt x="684" y="664"/>
                    </a:cubicBezTo>
                    <a:cubicBezTo>
                      <a:pt x="680" y="684"/>
                      <a:pt x="680" y="684"/>
                      <a:pt x="680" y="684"/>
                    </a:cubicBezTo>
                    <a:cubicBezTo>
                      <a:pt x="649" y="698"/>
                      <a:pt x="649" y="698"/>
                      <a:pt x="649" y="698"/>
                    </a:cubicBezTo>
                    <a:cubicBezTo>
                      <a:pt x="643" y="712"/>
                      <a:pt x="636" y="725"/>
                      <a:pt x="627" y="737"/>
                    </a:cubicBezTo>
                    <a:cubicBezTo>
                      <a:pt x="631" y="772"/>
                      <a:pt x="631" y="772"/>
                      <a:pt x="631" y="772"/>
                    </a:cubicBezTo>
                    <a:cubicBezTo>
                      <a:pt x="615" y="786"/>
                      <a:pt x="615" y="786"/>
                      <a:pt x="615" y="786"/>
                    </a:cubicBezTo>
                    <a:cubicBezTo>
                      <a:pt x="604" y="794"/>
                      <a:pt x="593" y="804"/>
                      <a:pt x="579" y="812"/>
                    </a:cubicBezTo>
                    <a:cubicBezTo>
                      <a:pt x="578" y="812"/>
                      <a:pt x="578" y="812"/>
                      <a:pt x="578" y="812"/>
                    </a:cubicBezTo>
                    <a:cubicBezTo>
                      <a:pt x="577" y="813"/>
                      <a:pt x="577" y="813"/>
                      <a:pt x="577" y="813"/>
                    </a:cubicBezTo>
                    <a:cubicBezTo>
                      <a:pt x="563" y="820"/>
                      <a:pt x="551" y="826"/>
                      <a:pt x="540" y="829"/>
                    </a:cubicBezTo>
                    <a:cubicBezTo>
                      <a:pt x="521" y="836"/>
                      <a:pt x="521" y="836"/>
                      <a:pt x="521" y="836"/>
                    </a:cubicBezTo>
                    <a:cubicBezTo>
                      <a:pt x="492" y="816"/>
                      <a:pt x="492" y="816"/>
                      <a:pt x="492" y="816"/>
                    </a:cubicBezTo>
                    <a:cubicBezTo>
                      <a:pt x="485" y="817"/>
                      <a:pt x="478" y="817"/>
                      <a:pt x="471" y="817"/>
                    </a:cubicBezTo>
                    <a:cubicBezTo>
                      <a:pt x="463" y="817"/>
                      <a:pt x="455" y="817"/>
                      <a:pt x="447" y="816"/>
                    </a:cubicBezTo>
                    <a:cubicBezTo>
                      <a:pt x="428" y="829"/>
                      <a:pt x="428" y="829"/>
                      <a:pt x="428" y="829"/>
                    </a:cubicBezTo>
                    <a:cubicBezTo>
                      <a:pt x="433" y="862"/>
                      <a:pt x="439" y="894"/>
                      <a:pt x="447" y="923"/>
                    </a:cubicBezTo>
                    <a:cubicBezTo>
                      <a:pt x="472" y="945"/>
                      <a:pt x="488" y="977"/>
                      <a:pt x="488" y="1013"/>
                    </a:cubicBezTo>
                    <a:cubicBezTo>
                      <a:pt x="488" y="1021"/>
                      <a:pt x="487" y="1029"/>
                      <a:pt x="486" y="1036"/>
                    </a:cubicBezTo>
                    <a:cubicBezTo>
                      <a:pt x="518" y="1107"/>
                      <a:pt x="559" y="1151"/>
                      <a:pt x="604" y="1154"/>
                    </a:cubicBezTo>
                    <a:cubicBezTo>
                      <a:pt x="615" y="1154"/>
                      <a:pt x="615" y="1154"/>
                      <a:pt x="615" y="1154"/>
                    </a:cubicBezTo>
                    <a:cubicBezTo>
                      <a:pt x="721" y="1146"/>
                      <a:pt x="808" y="907"/>
                      <a:pt x="808" y="614"/>
                    </a:cubicBezTo>
                    <a:cubicBezTo>
                      <a:pt x="808" y="317"/>
                      <a:pt x="718" y="76"/>
                      <a:pt x="609" y="76"/>
                    </a:cubicBezTo>
                    <a:cubicBezTo>
                      <a:pt x="562" y="76"/>
                      <a:pt x="519" y="121"/>
                      <a:pt x="485" y="196"/>
                    </a:cubicBezTo>
                    <a:moveTo>
                      <a:pt x="345" y="800"/>
                    </a:moveTo>
                    <a:cubicBezTo>
                      <a:pt x="350" y="833"/>
                      <a:pt x="355" y="864"/>
                      <a:pt x="362" y="894"/>
                    </a:cubicBezTo>
                    <a:cubicBezTo>
                      <a:pt x="364" y="894"/>
                      <a:pt x="367" y="894"/>
                      <a:pt x="370" y="894"/>
                    </a:cubicBezTo>
                    <a:cubicBezTo>
                      <a:pt x="380" y="894"/>
                      <a:pt x="390" y="896"/>
                      <a:pt x="400" y="898"/>
                    </a:cubicBezTo>
                    <a:cubicBezTo>
                      <a:pt x="394" y="874"/>
                      <a:pt x="389" y="849"/>
                      <a:pt x="385" y="823"/>
                    </a:cubicBezTo>
                    <a:cubicBezTo>
                      <a:pt x="371" y="816"/>
                      <a:pt x="358" y="809"/>
                      <a:pt x="345" y="800"/>
                    </a:cubicBezTo>
                    <a:close/>
                    <a:moveTo>
                      <a:pt x="226" y="1016"/>
                    </a:moveTo>
                    <a:cubicBezTo>
                      <a:pt x="215" y="1016"/>
                      <a:pt x="206" y="1025"/>
                      <a:pt x="206" y="1036"/>
                    </a:cubicBezTo>
                    <a:cubicBezTo>
                      <a:pt x="206" y="1149"/>
                      <a:pt x="206" y="1149"/>
                      <a:pt x="206" y="1149"/>
                    </a:cubicBezTo>
                    <a:cubicBezTo>
                      <a:pt x="206" y="1160"/>
                      <a:pt x="215" y="1169"/>
                      <a:pt x="226" y="1169"/>
                    </a:cubicBezTo>
                    <a:cubicBezTo>
                      <a:pt x="237" y="1169"/>
                      <a:pt x="245" y="1160"/>
                      <a:pt x="245" y="1149"/>
                    </a:cubicBezTo>
                    <a:cubicBezTo>
                      <a:pt x="245" y="1036"/>
                      <a:pt x="245" y="1036"/>
                      <a:pt x="245" y="1036"/>
                    </a:cubicBezTo>
                    <a:cubicBezTo>
                      <a:pt x="245" y="1025"/>
                      <a:pt x="237" y="1016"/>
                      <a:pt x="226" y="1016"/>
                    </a:cubicBezTo>
                    <a:close/>
                    <a:moveTo>
                      <a:pt x="79" y="793"/>
                    </a:moveTo>
                    <a:cubicBezTo>
                      <a:pt x="68" y="793"/>
                      <a:pt x="59" y="801"/>
                      <a:pt x="59" y="812"/>
                    </a:cubicBezTo>
                    <a:cubicBezTo>
                      <a:pt x="59" y="926"/>
                      <a:pt x="59" y="926"/>
                      <a:pt x="59" y="926"/>
                    </a:cubicBezTo>
                    <a:cubicBezTo>
                      <a:pt x="59" y="936"/>
                      <a:pt x="68" y="945"/>
                      <a:pt x="79" y="945"/>
                    </a:cubicBezTo>
                    <a:cubicBezTo>
                      <a:pt x="90" y="945"/>
                      <a:pt x="98" y="936"/>
                      <a:pt x="98" y="926"/>
                    </a:cubicBezTo>
                    <a:cubicBezTo>
                      <a:pt x="98" y="812"/>
                      <a:pt x="98" y="812"/>
                      <a:pt x="98" y="812"/>
                    </a:cubicBezTo>
                    <a:cubicBezTo>
                      <a:pt x="98" y="801"/>
                      <a:pt x="90" y="793"/>
                      <a:pt x="79" y="793"/>
                    </a:cubicBezTo>
                    <a:close/>
                    <a:moveTo>
                      <a:pt x="79" y="291"/>
                    </a:moveTo>
                    <a:cubicBezTo>
                      <a:pt x="35" y="291"/>
                      <a:pt x="0" y="327"/>
                      <a:pt x="0" y="370"/>
                    </a:cubicBezTo>
                    <a:cubicBezTo>
                      <a:pt x="0" y="414"/>
                      <a:pt x="35" y="449"/>
                      <a:pt x="79" y="449"/>
                    </a:cubicBezTo>
                    <a:cubicBezTo>
                      <a:pt x="122" y="449"/>
                      <a:pt x="158" y="414"/>
                      <a:pt x="158" y="370"/>
                    </a:cubicBezTo>
                    <a:cubicBezTo>
                      <a:pt x="158" y="327"/>
                      <a:pt x="122" y="291"/>
                      <a:pt x="79" y="291"/>
                    </a:cubicBezTo>
                    <a:close/>
                    <a:moveTo>
                      <a:pt x="79" y="410"/>
                    </a:moveTo>
                    <a:cubicBezTo>
                      <a:pt x="57" y="410"/>
                      <a:pt x="39" y="392"/>
                      <a:pt x="39" y="370"/>
                    </a:cubicBezTo>
                    <a:cubicBezTo>
                      <a:pt x="39" y="349"/>
                      <a:pt x="57" y="331"/>
                      <a:pt x="79" y="331"/>
                    </a:cubicBezTo>
                    <a:cubicBezTo>
                      <a:pt x="101" y="331"/>
                      <a:pt x="118" y="349"/>
                      <a:pt x="118" y="370"/>
                    </a:cubicBezTo>
                    <a:cubicBezTo>
                      <a:pt x="118" y="392"/>
                      <a:pt x="101" y="410"/>
                      <a:pt x="79" y="410"/>
                    </a:cubicBezTo>
                    <a:close/>
                    <a:moveTo>
                      <a:pt x="226" y="67"/>
                    </a:moveTo>
                    <a:cubicBezTo>
                      <a:pt x="182" y="67"/>
                      <a:pt x="147" y="103"/>
                      <a:pt x="147" y="146"/>
                    </a:cubicBezTo>
                    <a:cubicBezTo>
                      <a:pt x="147" y="190"/>
                      <a:pt x="182" y="225"/>
                      <a:pt x="226" y="225"/>
                    </a:cubicBezTo>
                    <a:cubicBezTo>
                      <a:pt x="269" y="225"/>
                      <a:pt x="305" y="190"/>
                      <a:pt x="305" y="146"/>
                    </a:cubicBezTo>
                    <a:cubicBezTo>
                      <a:pt x="305" y="103"/>
                      <a:pt x="269" y="67"/>
                      <a:pt x="226" y="67"/>
                    </a:cubicBezTo>
                    <a:close/>
                    <a:moveTo>
                      <a:pt x="226" y="186"/>
                    </a:moveTo>
                    <a:cubicBezTo>
                      <a:pt x="204" y="186"/>
                      <a:pt x="186" y="168"/>
                      <a:pt x="186" y="146"/>
                    </a:cubicBezTo>
                    <a:cubicBezTo>
                      <a:pt x="186" y="125"/>
                      <a:pt x="204" y="107"/>
                      <a:pt x="226" y="107"/>
                    </a:cubicBezTo>
                    <a:cubicBezTo>
                      <a:pt x="248" y="107"/>
                      <a:pt x="265" y="125"/>
                      <a:pt x="265" y="146"/>
                    </a:cubicBezTo>
                    <a:cubicBezTo>
                      <a:pt x="265" y="168"/>
                      <a:pt x="248" y="186"/>
                      <a:pt x="226" y="186"/>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sp>
            <p:nvSpPr>
              <p:cNvPr id="53" name="Freeform 71">
                <a:extLst>
                  <a:ext uri="{FF2B5EF4-FFF2-40B4-BE49-F238E27FC236}">
                    <a16:creationId xmlns:a16="http://schemas.microsoft.com/office/drawing/2014/main" id="{DD552A71-19DE-DA24-73AC-9F5E955A5A98}"/>
                  </a:ext>
                </a:extLst>
              </p:cNvPr>
              <p:cNvSpPr>
                <a:spLocks noEditPoints="1"/>
              </p:cNvSpPr>
              <p:nvPr/>
            </p:nvSpPr>
            <p:spPr bwMode="auto">
              <a:xfrm>
                <a:off x="1323199" y="2218790"/>
                <a:ext cx="1161955" cy="862417"/>
              </a:xfrm>
              <a:custGeom>
                <a:avLst/>
                <a:gdLst>
                  <a:gd name="T0" fmla="*/ 983 w 1623"/>
                  <a:gd name="T1" fmla="*/ 54 h 1205"/>
                  <a:gd name="T2" fmla="*/ 985 w 1623"/>
                  <a:gd name="T3" fmla="*/ 1134 h 1205"/>
                  <a:gd name="T4" fmla="*/ 1356 w 1623"/>
                  <a:gd name="T5" fmla="*/ 594 h 1205"/>
                  <a:gd name="T6" fmla="*/ 922 w 1623"/>
                  <a:gd name="T7" fmla="*/ 54 h 1205"/>
                  <a:gd name="T8" fmla="*/ 868 w 1623"/>
                  <a:gd name="T9" fmla="*/ 594 h 1205"/>
                  <a:gd name="T10" fmla="*/ 924 w 1623"/>
                  <a:gd name="T11" fmla="*/ 1134 h 1205"/>
                  <a:gd name="T12" fmla="*/ 922 w 1623"/>
                  <a:gd name="T13" fmla="*/ 54 h 1205"/>
                  <a:gd name="T14" fmla="*/ 1567 w 1623"/>
                  <a:gd name="T15" fmla="*/ 201 h 1205"/>
                  <a:gd name="T16" fmla="*/ 1260 w 1623"/>
                  <a:gd name="T17" fmla="*/ 54 h 1205"/>
                  <a:gd name="T18" fmla="*/ 1262 w 1623"/>
                  <a:gd name="T19" fmla="*/ 1133 h 1205"/>
                  <a:gd name="T20" fmla="*/ 1442 w 1623"/>
                  <a:gd name="T21" fmla="*/ 1134 h 1205"/>
                  <a:gd name="T22" fmla="*/ 1567 w 1623"/>
                  <a:gd name="T23" fmla="*/ 987 h 1205"/>
                  <a:gd name="T24" fmla="*/ 1623 w 1623"/>
                  <a:gd name="T25" fmla="*/ 593 h 1205"/>
                  <a:gd name="T26" fmla="*/ 226 w 1623"/>
                  <a:gd name="T27" fmla="*/ 491 h 1205"/>
                  <a:gd name="T28" fmla="*/ 245 w 1623"/>
                  <a:gd name="T29" fmla="*/ 358 h 1205"/>
                  <a:gd name="T30" fmla="*/ 206 w 1623"/>
                  <a:gd name="T31" fmla="*/ 358 h 1205"/>
                  <a:gd name="T32" fmla="*/ 226 w 1623"/>
                  <a:gd name="T33" fmla="*/ 491 h 1205"/>
                  <a:gd name="T34" fmla="*/ 389 w 1623"/>
                  <a:gd name="T35" fmla="*/ 255 h 1205"/>
                  <a:gd name="T36" fmla="*/ 370 w 1623"/>
                  <a:gd name="T37" fmla="*/ 123 h 1205"/>
                  <a:gd name="T38" fmla="*/ 350 w 1623"/>
                  <a:gd name="T39" fmla="*/ 255 h 1205"/>
                  <a:gd name="T40" fmla="*/ 79 w 1623"/>
                  <a:gd name="T41" fmla="*/ 153 h 1205"/>
                  <a:gd name="T42" fmla="*/ 98 w 1623"/>
                  <a:gd name="T43" fmla="*/ 20 h 1205"/>
                  <a:gd name="T44" fmla="*/ 59 w 1623"/>
                  <a:gd name="T45" fmla="*/ 20 h 1205"/>
                  <a:gd name="T46" fmla="*/ 79 w 1623"/>
                  <a:gd name="T47" fmla="*/ 153 h 1205"/>
                  <a:gd name="T48" fmla="*/ 147 w 1623"/>
                  <a:gd name="T49" fmla="*/ 787 h 1205"/>
                  <a:gd name="T50" fmla="*/ 305 w 1623"/>
                  <a:gd name="T51" fmla="*/ 787 h 1205"/>
                  <a:gd name="T52" fmla="*/ 226 w 1623"/>
                  <a:gd name="T53" fmla="*/ 827 h 1205"/>
                  <a:gd name="T54" fmla="*/ 226 w 1623"/>
                  <a:gd name="T55" fmla="*/ 748 h 1205"/>
                  <a:gd name="T56" fmla="*/ 226 w 1623"/>
                  <a:gd name="T57" fmla="*/ 827 h 1205"/>
                  <a:gd name="T58" fmla="*/ 291 w 1623"/>
                  <a:gd name="T59" fmla="*/ 994 h 1205"/>
                  <a:gd name="T60" fmla="*/ 449 w 1623"/>
                  <a:gd name="T61" fmla="*/ 994 h 1205"/>
                  <a:gd name="T62" fmla="*/ 370 w 1623"/>
                  <a:gd name="T63" fmla="*/ 1033 h 1205"/>
                  <a:gd name="T64" fmla="*/ 370 w 1623"/>
                  <a:gd name="T65" fmla="*/ 954 h 1205"/>
                  <a:gd name="T66" fmla="*/ 370 w 1623"/>
                  <a:gd name="T67" fmla="*/ 1033 h 1205"/>
                  <a:gd name="T68" fmla="*/ 0 w 1623"/>
                  <a:gd name="T69" fmla="*/ 1126 h 1205"/>
                  <a:gd name="T70" fmla="*/ 158 w 1623"/>
                  <a:gd name="T71" fmla="*/ 1126 h 1205"/>
                  <a:gd name="T72" fmla="*/ 79 w 1623"/>
                  <a:gd name="T73" fmla="*/ 1165 h 1205"/>
                  <a:gd name="T74" fmla="*/ 79 w 1623"/>
                  <a:gd name="T75" fmla="*/ 1086 h 1205"/>
                  <a:gd name="T76" fmla="*/ 79 w 1623"/>
                  <a:gd name="T77" fmla="*/ 1165 h 1205"/>
                  <a:gd name="T78" fmla="*/ 605 w 1623"/>
                  <a:gd name="T79" fmla="*/ 523 h 1205"/>
                  <a:gd name="T80" fmla="*/ 589 w 1623"/>
                  <a:gd name="T81" fmla="*/ 466 h 1205"/>
                  <a:gd name="T82" fmla="*/ 499 w 1623"/>
                  <a:gd name="T83" fmla="*/ 445 h 1205"/>
                  <a:gd name="T84" fmla="*/ 417 w 1623"/>
                  <a:gd name="T85" fmla="*/ 427 h 1205"/>
                  <a:gd name="T86" fmla="*/ 351 w 1623"/>
                  <a:gd name="T87" fmla="*/ 466 h 1205"/>
                  <a:gd name="T88" fmla="*/ 324 w 1623"/>
                  <a:gd name="T89" fmla="*/ 548 h 1205"/>
                  <a:gd name="T90" fmla="*/ 297 w 1623"/>
                  <a:gd name="T91" fmla="*/ 638 h 1205"/>
                  <a:gd name="T92" fmla="*/ 337 w 1623"/>
                  <a:gd name="T93" fmla="*/ 679 h 1205"/>
                  <a:gd name="T94" fmla="*/ 350 w 1623"/>
                  <a:gd name="T95" fmla="*/ 734 h 1205"/>
                  <a:gd name="T96" fmla="*/ 437 w 1623"/>
                  <a:gd name="T97" fmla="*/ 755 h 1205"/>
                  <a:gd name="T98" fmla="*/ 527 w 1623"/>
                  <a:gd name="T99" fmla="*/ 773 h 1205"/>
                  <a:gd name="T100" fmla="*/ 590 w 1623"/>
                  <a:gd name="T101" fmla="*/ 736 h 1205"/>
                  <a:gd name="T102" fmla="*/ 618 w 1623"/>
                  <a:gd name="T103" fmla="*/ 649 h 1205"/>
                  <a:gd name="T104" fmla="*/ 644 w 1623"/>
                  <a:gd name="T105" fmla="*/ 563 h 1205"/>
                  <a:gd name="T106" fmla="*/ 509 w 1623"/>
                  <a:gd name="T107" fmla="*/ 670 h 1205"/>
                  <a:gd name="T108" fmla="*/ 430 w 1623"/>
                  <a:gd name="T109" fmla="*/ 532 h 1205"/>
                  <a:gd name="T110" fmla="*/ 538 w 1623"/>
                  <a:gd name="T111" fmla="*/ 561 h 1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623" h="1205">
                    <a:moveTo>
                      <a:pt x="1197" y="54"/>
                    </a:moveTo>
                    <a:cubicBezTo>
                      <a:pt x="983" y="54"/>
                      <a:pt x="983" y="54"/>
                      <a:pt x="983" y="54"/>
                    </a:cubicBezTo>
                    <a:cubicBezTo>
                      <a:pt x="1078" y="93"/>
                      <a:pt x="1141" y="320"/>
                      <a:pt x="1141" y="594"/>
                    </a:cubicBezTo>
                    <a:cubicBezTo>
                      <a:pt x="1141" y="867"/>
                      <a:pt x="1079" y="1093"/>
                      <a:pt x="985" y="1134"/>
                    </a:cubicBezTo>
                    <a:cubicBezTo>
                      <a:pt x="1199" y="1134"/>
                      <a:pt x="1199" y="1134"/>
                      <a:pt x="1199" y="1134"/>
                    </a:cubicBezTo>
                    <a:cubicBezTo>
                      <a:pt x="1294" y="1093"/>
                      <a:pt x="1356" y="867"/>
                      <a:pt x="1356" y="594"/>
                    </a:cubicBezTo>
                    <a:cubicBezTo>
                      <a:pt x="1356" y="320"/>
                      <a:pt x="1293" y="93"/>
                      <a:pt x="1197" y="54"/>
                    </a:cubicBezTo>
                    <a:close/>
                    <a:moveTo>
                      <a:pt x="922" y="54"/>
                    </a:moveTo>
                    <a:cubicBezTo>
                      <a:pt x="714" y="54"/>
                      <a:pt x="714" y="54"/>
                      <a:pt x="714" y="54"/>
                    </a:cubicBezTo>
                    <a:cubicBezTo>
                      <a:pt x="806" y="93"/>
                      <a:pt x="868" y="320"/>
                      <a:pt x="868" y="594"/>
                    </a:cubicBezTo>
                    <a:cubicBezTo>
                      <a:pt x="868" y="867"/>
                      <a:pt x="807" y="1093"/>
                      <a:pt x="716" y="1134"/>
                    </a:cubicBezTo>
                    <a:cubicBezTo>
                      <a:pt x="924" y="1134"/>
                      <a:pt x="924" y="1134"/>
                      <a:pt x="924" y="1134"/>
                    </a:cubicBezTo>
                    <a:cubicBezTo>
                      <a:pt x="1016" y="1093"/>
                      <a:pt x="1077" y="867"/>
                      <a:pt x="1077" y="594"/>
                    </a:cubicBezTo>
                    <a:cubicBezTo>
                      <a:pt x="1077" y="320"/>
                      <a:pt x="1015" y="93"/>
                      <a:pt x="922" y="54"/>
                    </a:cubicBezTo>
                    <a:close/>
                    <a:moveTo>
                      <a:pt x="1584" y="250"/>
                    </a:moveTo>
                    <a:cubicBezTo>
                      <a:pt x="1579" y="233"/>
                      <a:pt x="1574" y="216"/>
                      <a:pt x="1567" y="201"/>
                    </a:cubicBezTo>
                    <a:cubicBezTo>
                      <a:pt x="1532" y="110"/>
                      <a:pt x="1485" y="54"/>
                      <a:pt x="1445" y="54"/>
                    </a:cubicBezTo>
                    <a:cubicBezTo>
                      <a:pt x="1260" y="54"/>
                      <a:pt x="1260" y="54"/>
                      <a:pt x="1260" y="54"/>
                    </a:cubicBezTo>
                    <a:cubicBezTo>
                      <a:pt x="1352" y="93"/>
                      <a:pt x="1414" y="320"/>
                      <a:pt x="1414" y="593"/>
                    </a:cubicBezTo>
                    <a:cubicBezTo>
                      <a:pt x="1414" y="866"/>
                      <a:pt x="1353" y="1092"/>
                      <a:pt x="1262" y="1133"/>
                    </a:cubicBezTo>
                    <a:cubicBezTo>
                      <a:pt x="1439" y="1133"/>
                      <a:pt x="1439" y="1133"/>
                      <a:pt x="1439" y="1133"/>
                    </a:cubicBezTo>
                    <a:cubicBezTo>
                      <a:pt x="1442" y="1134"/>
                      <a:pt x="1442" y="1134"/>
                      <a:pt x="1442" y="1134"/>
                    </a:cubicBezTo>
                    <a:cubicBezTo>
                      <a:pt x="1445" y="1134"/>
                      <a:pt x="1445" y="1134"/>
                      <a:pt x="1445" y="1134"/>
                    </a:cubicBezTo>
                    <a:cubicBezTo>
                      <a:pt x="1485" y="1134"/>
                      <a:pt x="1532" y="1078"/>
                      <a:pt x="1567" y="987"/>
                    </a:cubicBezTo>
                    <a:cubicBezTo>
                      <a:pt x="1574" y="972"/>
                      <a:pt x="1579" y="956"/>
                      <a:pt x="1584" y="939"/>
                    </a:cubicBezTo>
                    <a:cubicBezTo>
                      <a:pt x="1609" y="844"/>
                      <a:pt x="1623" y="724"/>
                      <a:pt x="1623" y="593"/>
                    </a:cubicBezTo>
                    <a:cubicBezTo>
                      <a:pt x="1623" y="464"/>
                      <a:pt x="1609" y="344"/>
                      <a:pt x="1584" y="250"/>
                    </a:cubicBezTo>
                    <a:close/>
                    <a:moveTo>
                      <a:pt x="226" y="491"/>
                    </a:moveTo>
                    <a:cubicBezTo>
                      <a:pt x="237" y="491"/>
                      <a:pt x="245" y="482"/>
                      <a:pt x="245" y="471"/>
                    </a:cubicBezTo>
                    <a:cubicBezTo>
                      <a:pt x="245" y="358"/>
                      <a:pt x="245" y="358"/>
                      <a:pt x="245" y="358"/>
                    </a:cubicBezTo>
                    <a:cubicBezTo>
                      <a:pt x="245" y="347"/>
                      <a:pt x="237" y="339"/>
                      <a:pt x="226" y="339"/>
                    </a:cubicBezTo>
                    <a:cubicBezTo>
                      <a:pt x="215" y="339"/>
                      <a:pt x="206" y="347"/>
                      <a:pt x="206" y="358"/>
                    </a:cubicBezTo>
                    <a:cubicBezTo>
                      <a:pt x="206" y="471"/>
                      <a:pt x="206" y="471"/>
                      <a:pt x="206" y="471"/>
                    </a:cubicBezTo>
                    <a:cubicBezTo>
                      <a:pt x="206" y="482"/>
                      <a:pt x="215" y="491"/>
                      <a:pt x="226" y="491"/>
                    </a:cubicBezTo>
                    <a:close/>
                    <a:moveTo>
                      <a:pt x="370" y="275"/>
                    </a:moveTo>
                    <a:cubicBezTo>
                      <a:pt x="380" y="275"/>
                      <a:pt x="389" y="266"/>
                      <a:pt x="389" y="255"/>
                    </a:cubicBezTo>
                    <a:cubicBezTo>
                      <a:pt x="389" y="142"/>
                      <a:pt x="389" y="142"/>
                      <a:pt x="389" y="142"/>
                    </a:cubicBezTo>
                    <a:cubicBezTo>
                      <a:pt x="389" y="131"/>
                      <a:pt x="380" y="123"/>
                      <a:pt x="370" y="123"/>
                    </a:cubicBezTo>
                    <a:cubicBezTo>
                      <a:pt x="359" y="123"/>
                      <a:pt x="350" y="131"/>
                      <a:pt x="350" y="142"/>
                    </a:cubicBezTo>
                    <a:cubicBezTo>
                      <a:pt x="350" y="255"/>
                      <a:pt x="350" y="255"/>
                      <a:pt x="350" y="255"/>
                    </a:cubicBezTo>
                    <a:cubicBezTo>
                      <a:pt x="350" y="266"/>
                      <a:pt x="359" y="275"/>
                      <a:pt x="370" y="275"/>
                    </a:cubicBezTo>
                    <a:close/>
                    <a:moveTo>
                      <a:pt x="79" y="153"/>
                    </a:moveTo>
                    <a:cubicBezTo>
                      <a:pt x="90" y="153"/>
                      <a:pt x="98" y="144"/>
                      <a:pt x="98" y="133"/>
                    </a:cubicBezTo>
                    <a:cubicBezTo>
                      <a:pt x="98" y="20"/>
                      <a:pt x="98" y="20"/>
                      <a:pt x="98" y="20"/>
                    </a:cubicBezTo>
                    <a:cubicBezTo>
                      <a:pt x="98" y="9"/>
                      <a:pt x="90" y="0"/>
                      <a:pt x="79" y="0"/>
                    </a:cubicBezTo>
                    <a:cubicBezTo>
                      <a:pt x="68" y="0"/>
                      <a:pt x="59" y="9"/>
                      <a:pt x="59" y="20"/>
                    </a:cubicBezTo>
                    <a:cubicBezTo>
                      <a:pt x="59" y="133"/>
                      <a:pt x="59" y="133"/>
                      <a:pt x="59" y="133"/>
                    </a:cubicBezTo>
                    <a:cubicBezTo>
                      <a:pt x="59" y="144"/>
                      <a:pt x="68" y="153"/>
                      <a:pt x="79" y="153"/>
                    </a:cubicBezTo>
                    <a:close/>
                    <a:moveTo>
                      <a:pt x="226" y="708"/>
                    </a:moveTo>
                    <a:cubicBezTo>
                      <a:pt x="182" y="708"/>
                      <a:pt x="147" y="744"/>
                      <a:pt x="147" y="787"/>
                    </a:cubicBezTo>
                    <a:cubicBezTo>
                      <a:pt x="147" y="831"/>
                      <a:pt x="182" y="866"/>
                      <a:pt x="226" y="866"/>
                    </a:cubicBezTo>
                    <a:cubicBezTo>
                      <a:pt x="269" y="866"/>
                      <a:pt x="305" y="831"/>
                      <a:pt x="305" y="787"/>
                    </a:cubicBezTo>
                    <a:cubicBezTo>
                      <a:pt x="305" y="744"/>
                      <a:pt x="269" y="708"/>
                      <a:pt x="226" y="708"/>
                    </a:cubicBezTo>
                    <a:close/>
                    <a:moveTo>
                      <a:pt x="226" y="827"/>
                    </a:moveTo>
                    <a:cubicBezTo>
                      <a:pt x="204" y="827"/>
                      <a:pt x="186" y="809"/>
                      <a:pt x="186" y="787"/>
                    </a:cubicBezTo>
                    <a:cubicBezTo>
                      <a:pt x="186" y="765"/>
                      <a:pt x="204" y="748"/>
                      <a:pt x="226" y="748"/>
                    </a:cubicBezTo>
                    <a:cubicBezTo>
                      <a:pt x="248" y="748"/>
                      <a:pt x="265" y="765"/>
                      <a:pt x="265" y="787"/>
                    </a:cubicBezTo>
                    <a:cubicBezTo>
                      <a:pt x="265" y="809"/>
                      <a:pt x="248" y="827"/>
                      <a:pt x="226" y="827"/>
                    </a:cubicBezTo>
                    <a:close/>
                    <a:moveTo>
                      <a:pt x="370" y="915"/>
                    </a:moveTo>
                    <a:cubicBezTo>
                      <a:pt x="326" y="915"/>
                      <a:pt x="291" y="950"/>
                      <a:pt x="291" y="994"/>
                    </a:cubicBezTo>
                    <a:cubicBezTo>
                      <a:pt x="291" y="1037"/>
                      <a:pt x="326" y="1073"/>
                      <a:pt x="370" y="1073"/>
                    </a:cubicBezTo>
                    <a:cubicBezTo>
                      <a:pt x="413" y="1073"/>
                      <a:pt x="449" y="1037"/>
                      <a:pt x="449" y="994"/>
                    </a:cubicBezTo>
                    <a:cubicBezTo>
                      <a:pt x="449" y="950"/>
                      <a:pt x="413" y="915"/>
                      <a:pt x="370" y="915"/>
                    </a:cubicBezTo>
                    <a:close/>
                    <a:moveTo>
                      <a:pt x="370" y="1033"/>
                    </a:moveTo>
                    <a:cubicBezTo>
                      <a:pt x="348" y="1033"/>
                      <a:pt x="330" y="1015"/>
                      <a:pt x="330" y="994"/>
                    </a:cubicBezTo>
                    <a:cubicBezTo>
                      <a:pt x="330" y="972"/>
                      <a:pt x="348" y="954"/>
                      <a:pt x="370" y="954"/>
                    </a:cubicBezTo>
                    <a:cubicBezTo>
                      <a:pt x="391" y="954"/>
                      <a:pt x="409" y="972"/>
                      <a:pt x="409" y="994"/>
                    </a:cubicBezTo>
                    <a:cubicBezTo>
                      <a:pt x="409" y="1015"/>
                      <a:pt x="391" y="1033"/>
                      <a:pt x="370" y="1033"/>
                    </a:cubicBezTo>
                    <a:close/>
                    <a:moveTo>
                      <a:pt x="79" y="1047"/>
                    </a:moveTo>
                    <a:cubicBezTo>
                      <a:pt x="35" y="1047"/>
                      <a:pt x="0" y="1082"/>
                      <a:pt x="0" y="1126"/>
                    </a:cubicBezTo>
                    <a:cubicBezTo>
                      <a:pt x="0" y="1169"/>
                      <a:pt x="35" y="1205"/>
                      <a:pt x="79" y="1205"/>
                    </a:cubicBezTo>
                    <a:cubicBezTo>
                      <a:pt x="122" y="1205"/>
                      <a:pt x="158" y="1169"/>
                      <a:pt x="158" y="1126"/>
                    </a:cubicBezTo>
                    <a:cubicBezTo>
                      <a:pt x="158" y="1082"/>
                      <a:pt x="122" y="1047"/>
                      <a:pt x="79" y="1047"/>
                    </a:cubicBezTo>
                    <a:close/>
                    <a:moveTo>
                      <a:pt x="79" y="1165"/>
                    </a:moveTo>
                    <a:cubicBezTo>
                      <a:pt x="57" y="1165"/>
                      <a:pt x="39" y="1147"/>
                      <a:pt x="39" y="1126"/>
                    </a:cubicBezTo>
                    <a:cubicBezTo>
                      <a:pt x="39" y="1104"/>
                      <a:pt x="57" y="1086"/>
                      <a:pt x="79" y="1086"/>
                    </a:cubicBezTo>
                    <a:cubicBezTo>
                      <a:pt x="101" y="1086"/>
                      <a:pt x="118" y="1104"/>
                      <a:pt x="118" y="1126"/>
                    </a:cubicBezTo>
                    <a:cubicBezTo>
                      <a:pt x="118" y="1147"/>
                      <a:pt x="101" y="1165"/>
                      <a:pt x="79" y="1165"/>
                    </a:cubicBezTo>
                    <a:close/>
                    <a:moveTo>
                      <a:pt x="617" y="550"/>
                    </a:moveTo>
                    <a:cubicBezTo>
                      <a:pt x="614" y="541"/>
                      <a:pt x="610" y="532"/>
                      <a:pt x="605" y="523"/>
                    </a:cubicBezTo>
                    <a:cubicBezTo>
                      <a:pt x="600" y="513"/>
                      <a:pt x="593" y="504"/>
                      <a:pt x="586" y="496"/>
                    </a:cubicBezTo>
                    <a:cubicBezTo>
                      <a:pt x="589" y="466"/>
                      <a:pt x="589" y="466"/>
                      <a:pt x="589" y="466"/>
                    </a:cubicBezTo>
                    <a:cubicBezTo>
                      <a:pt x="570" y="448"/>
                      <a:pt x="547" y="435"/>
                      <a:pt x="523" y="427"/>
                    </a:cubicBezTo>
                    <a:cubicBezTo>
                      <a:pt x="499" y="445"/>
                      <a:pt x="499" y="445"/>
                      <a:pt x="499" y="445"/>
                    </a:cubicBezTo>
                    <a:cubicBezTo>
                      <a:pt x="479" y="441"/>
                      <a:pt x="460" y="442"/>
                      <a:pt x="441" y="445"/>
                    </a:cubicBezTo>
                    <a:cubicBezTo>
                      <a:pt x="417" y="427"/>
                      <a:pt x="417" y="427"/>
                      <a:pt x="417" y="427"/>
                    </a:cubicBezTo>
                    <a:cubicBezTo>
                      <a:pt x="405" y="432"/>
                      <a:pt x="392" y="436"/>
                      <a:pt x="381" y="443"/>
                    </a:cubicBezTo>
                    <a:cubicBezTo>
                      <a:pt x="370" y="450"/>
                      <a:pt x="360" y="457"/>
                      <a:pt x="351" y="466"/>
                    </a:cubicBezTo>
                    <a:cubicBezTo>
                      <a:pt x="355" y="497"/>
                      <a:pt x="355" y="497"/>
                      <a:pt x="355" y="497"/>
                    </a:cubicBezTo>
                    <a:cubicBezTo>
                      <a:pt x="341" y="512"/>
                      <a:pt x="331" y="530"/>
                      <a:pt x="324" y="548"/>
                    </a:cubicBezTo>
                    <a:cubicBezTo>
                      <a:pt x="297" y="560"/>
                      <a:pt x="297" y="560"/>
                      <a:pt x="297" y="560"/>
                    </a:cubicBezTo>
                    <a:cubicBezTo>
                      <a:pt x="291" y="585"/>
                      <a:pt x="291" y="611"/>
                      <a:pt x="297" y="638"/>
                    </a:cubicBezTo>
                    <a:cubicBezTo>
                      <a:pt x="323" y="649"/>
                      <a:pt x="323" y="649"/>
                      <a:pt x="323" y="649"/>
                    </a:cubicBezTo>
                    <a:cubicBezTo>
                      <a:pt x="326" y="659"/>
                      <a:pt x="331" y="670"/>
                      <a:pt x="337" y="679"/>
                    </a:cubicBezTo>
                    <a:cubicBezTo>
                      <a:pt x="341" y="688"/>
                      <a:pt x="348" y="697"/>
                      <a:pt x="354" y="704"/>
                    </a:cubicBezTo>
                    <a:cubicBezTo>
                      <a:pt x="350" y="734"/>
                      <a:pt x="350" y="734"/>
                      <a:pt x="350" y="734"/>
                    </a:cubicBezTo>
                    <a:cubicBezTo>
                      <a:pt x="369" y="752"/>
                      <a:pt x="391" y="764"/>
                      <a:pt x="413" y="772"/>
                    </a:cubicBezTo>
                    <a:cubicBezTo>
                      <a:pt x="437" y="755"/>
                      <a:pt x="437" y="755"/>
                      <a:pt x="437" y="755"/>
                    </a:cubicBezTo>
                    <a:cubicBezTo>
                      <a:pt x="459" y="760"/>
                      <a:pt x="480" y="760"/>
                      <a:pt x="502" y="756"/>
                    </a:cubicBezTo>
                    <a:cubicBezTo>
                      <a:pt x="527" y="773"/>
                      <a:pt x="527" y="773"/>
                      <a:pt x="527" y="773"/>
                    </a:cubicBezTo>
                    <a:cubicBezTo>
                      <a:pt x="537" y="770"/>
                      <a:pt x="548" y="764"/>
                      <a:pt x="559" y="759"/>
                    </a:cubicBezTo>
                    <a:cubicBezTo>
                      <a:pt x="570" y="753"/>
                      <a:pt x="580" y="744"/>
                      <a:pt x="590" y="736"/>
                    </a:cubicBezTo>
                    <a:cubicBezTo>
                      <a:pt x="586" y="707"/>
                      <a:pt x="586" y="707"/>
                      <a:pt x="586" y="707"/>
                    </a:cubicBezTo>
                    <a:cubicBezTo>
                      <a:pt x="600" y="690"/>
                      <a:pt x="611" y="670"/>
                      <a:pt x="618" y="649"/>
                    </a:cubicBezTo>
                    <a:cubicBezTo>
                      <a:pt x="645" y="638"/>
                      <a:pt x="645" y="638"/>
                      <a:pt x="645" y="638"/>
                    </a:cubicBezTo>
                    <a:cubicBezTo>
                      <a:pt x="650" y="613"/>
                      <a:pt x="650" y="587"/>
                      <a:pt x="644" y="563"/>
                    </a:cubicBezTo>
                    <a:cubicBezTo>
                      <a:pt x="617" y="550"/>
                      <a:pt x="617" y="550"/>
                      <a:pt x="617" y="550"/>
                    </a:cubicBezTo>
                    <a:close/>
                    <a:moveTo>
                      <a:pt x="509" y="670"/>
                    </a:moveTo>
                    <a:cubicBezTo>
                      <a:pt x="471" y="692"/>
                      <a:pt x="424" y="678"/>
                      <a:pt x="402" y="640"/>
                    </a:cubicBezTo>
                    <a:cubicBezTo>
                      <a:pt x="380" y="603"/>
                      <a:pt x="392" y="553"/>
                      <a:pt x="430" y="532"/>
                    </a:cubicBezTo>
                    <a:cubicBezTo>
                      <a:pt x="440" y="526"/>
                      <a:pt x="450" y="523"/>
                      <a:pt x="460" y="522"/>
                    </a:cubicBezTo>
                    <a:cubicBezTo>
                      <a:pt x="490" y="518"/>
                      <a:pt x="522" y="532"/>
                      <a:pt x="538" y="561"/>
                    </a:cubicBezTo>
                    <a:cubicBezTo>
                      <a:pt x="559" y="600"/>
                      <a:pt x="547" y="648"/>
                      <a:pt x="509" y="67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grpSp>
      </p:grpSp>
    </p:spTree>
    <p:extLst>
      <p:ext uri="{BB962C8B-B14F-4D97-AF65-F5344CB8AC3E}">
        <p14:creationId xmlns:p14="http://schemas.microsoft.com/office/powerpoint/2010/main" val="25596891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D1449AF9-9149-90F1-7EBA-5984D44703A0}"/>
              </a:ext>
            </a:extLst>
          </p:cNvPr>
          <p:cNvSpPr/>
          <p:nvPr/>
        </p:nvSpPr>
        <p:spPr>
          <a:xfrm>
            <a:off x="-11957" y="3738799"/>
            <a:ext cx="1046952" cy="1107996"/>
          </a:xfrm>
          <a:prstGeom prst="rect">
            <a:avLst/>
          </a:prstGeom>
          <a:solidFill>
            <a:schemeClr val="tx2"/>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err="1">
              <a:solidFill>
                <a:schemeClr val="bg1"/>
              </a:solidFill>
            </a:endParaRPr>
          </a:p>
        </p:txBody>
      </p:sp>
      <p:grpSp>
        <p:nvGrpSpPr>
          <p:cNvPr id="4" name="Group 3">
            <a:extLst>
              <a:ext uri="{FF2B5EF4-FFF2-40B4-BE49-F238E27FC236}">
                <a16:creationId xmlns:a16="http://schemas.microsoft.com/office/drawing/2014/main" id="{66D74861-CA44-8BED-B7EE-4B9237D05526}"/>
              </a:ext>
            </a:extLst>
          </p:cNvPr>
          <p:cNvGrpSpPr/>
          <p:nvPr/>
        </p:nvGrpSpPr>
        <p:grpSpPr>
          <a:xfrm>
            <a:off x="628651" y="2482223"/>
            <a:ext cx="4409589" cy="3621147"/>
            <a:chOff x="628651" y="2619633"/>
            <a:chExt cx="4409589" cy="3621147"/>
          </a:xfrm>
        </p:grpSpPr>
        <p:sp>
          <p:nvSpPr>
            <p:cNvPr id="5" name="Freeform: Shape 4">
              <a:extLst>
                <a:ext uri="{FF2B5EF4-FFF2-40B4-BE49-F238E27FC236}">
                  <a16:creationId xmlns:a16="http://schemas.microsoft.com/office/drawing/2014/main" id="{375BC08D-60EA-08C2-1D67-0CCF9A294623}"/>
                </a:ext>
              </a:extLst>
            </p:cNvPr>
            <p:cNvSpPr/>
            <p:nvPr/>
          </p:nvSpPr>
          <p:spPr>
            <a:xfrm>
              <a:off x="628652" y="4413109"/>
              <a:ext cx="4404614" cy="1827671"/>
            </a:xfrm>
            <a:custGeom>
              <a:avLst/>
              <a:gdLst>
                <a:gd name="connsiteX0" fmla="*/ 0 w 3413760"/>
                <a:gd name="connsiteY0" fmla="*/ 0 h 2164080"/>
                <a:gd name="connsiteX1" fmla="*/ 0 w 3413760"/>
                <a:gd name="connsiteY1" fmla="*/ 2026920 h 2164080"/>
                <a:gd name="connsiteX2" fmla="*/ 137160 w 3413760"/>
                <a:gd name="connsiteY2" fmla="*/ 2164080 h 2164080"/>
                <a:gd name="connsiteX3" fmla="*/ 3317240 w 3413760"/>
                <a:gd name="connsiteY3" fmla="*/ 2164080 h 2164080"/>
                <a:gd name="connsiteX4" fmla="*/ 3413760 w 3413760"/>
                <a:gd name="connsiteY4" fmla="*/ 2067560 h 2164080"/>
                <a:gd name="connsiteX5" fmla="*/ 3413760 w 3413760"/>
                <a:gd name="connsiteY5" fmla="*/ 60960 h 2164080"/>
                <a:gd name="connsiteX0" fmla="*/ 0 w 3413760"/>
                <a:gd name="connsiteY0" fmla="*/ 0 h 2164080"/>
                <a:gd name="connsiteX1" fmla="*/ 0 w 3413760"/>
                <a:gd name="connsiteY1" fmla="*/ 2026920 h 2164080"/>
                <a:gd name="connsiteX2" fmla="*/ 137160 w 3413760"/>
                <a:gd name="connsiteY2" fmla="*/ 2164080 h 2164080"/>
                <a:gd name="connsiteX3" fmla="*/ 3317240 w 3413760"/>
                <a:gd name="connsiteY3" fmla="*/ 2164080 h 2164080"/>
                <a:gd name="connsiteX4" fmla="*/ 3413760 w 3413760"/>
                <a:gd name="connsiteY4" fmla="*/ 2067560 h 2164080"/>
                <a:gd name="connsiteX5" fmla="*/ 3413760 w 3413760"/>
                <a:gd name="connsiteY5" fmla="*/ 60960 h 2164080"/>
                <a:gd name="connsiteX0" fmla="*/ 0 w 3413760"/>
                <a:gd name="connsiteY0" fmla="*/ 0 h 2164080"/>
                <a:gd name="connsiteX1" fmla="*/ 0 w 3413760"/>
                <a:gd name="connsiteY1" fmla="*/ 2026920 h 2164080"/>
                <a:gd name="connsiteX2" fmla="*/ 137160 w 3413760"/>
                <a:gd name="connsiteY2" fmla="*/ 2164080 h 2164080"/>
                <a:gd name="connsiteX3" fmla="*/ 3317240 w 3413760"/>
                <a:gd name="connsiteY3" fmla="*/ 2164080 h 2164080"/>
                <a:gd name="connsiteX4" fmla="*/ 3413760 w 3413760"/>
                <a:gd name="connsiteY4" fmla="*/ 2067560 h 2164080"/>
                <a:gd name="connsiteX5" fmla="*/ 3413760 w 3413760"/>
                <a:gd name="connsiteY5" fmla="*/ 60960 h 2164080"/>
                <a:gd name="connsiteX0" fmla="*/ 0 w 3413760"/>
                <a:gd name="connsiteY0" fmla="*/ 0 h 2164080"/>
                <a:gd name="connsiteX1" fmla="*/ 0 w 3413760"/>
                <a:gd name="connsiteY1" fmla="*/ 2026920 h 2164080"/>
                <a:gd name="connsiteX2" fmla="*/ 137160 w 3413760"/>
                <a:gd name="connsiteY2" fmla="*/ 2164080 h 2164080"/>
                <a:gd name="connsiteX3" fmla="*/ 3317240 w 3413760"/>
                <a:gd name="connsiteY3" fmla="*/ 2164080 h 2164080"/>
                <a:gd name="connsiteX4" fmla="*/ 3413760 w 3413760"/>
                <a:gd name="connsiteY4" fmla="*/ 2067560 h 2164080"/>
                <a:gd name="connsiteX5" fmla="*/ 3413760 w 3413760"/>
                <a:gd name="connsiteY5" fmla="*/ 60960 h 2164080"/>
                <a:gd name="connsiteX0" fmla="*/ 0 w 3413760"/>
                <a:gd name="connsiteY0" fmla="*/ 0 h 2164080"/>
                <a:gd name="connsiteX1" fmla="*/ 0 w 3413760"/>
                <a:gd name="connsiteY1" fmla="*/ 2026920 h 2164080"/>
                <a:gd name="connsiteX2" fmla="*/ 137160 w 3413760"/>
                <a:gd name="connsiteY2" fmla="*/ 2164080 h 2164080"/>
                <a:gd name="connsiteX3" fmla="*/ 3317240 w 3413760"/>
                <a:gd name="connsiteY3" fmla="*/ 2164080 h 2164080"/>
                <a:gd name="connsiteX4" fmla="*/ 3413760 w 3413760"/>
                <a:gd name="connsiteY4" fmla="*/ 2046605 h 2164080"/>
                <a:gd name="connsiteX5" fmla="*/ 3413760 w 3413760"/>
                <a:gd name="connsiteY5" fmla="*/ 60960 h 2164080"/>
                <a:gd name="connsiteX0" fmla="*/ 0 w 3414349"/>
                <a:gd name="connsiteY0" fmla="*/ 0 h 2164080"/>
                <a:gd name="connsiteX1" fmla="*/ 0 w 3414349"/>
                <a:gd name="connsiteY1" fmla="*/ 2026920 h 2164080"/>
                <a:gd name="connsiteX2" fmla="*/ 137160 w 3414349"/>
                <a:gd name="connsiteY2" fmla="*/ 2164080 h 2164080"/>
                <a:gd name="connsiteX3" fmla="*/ 3317240 w 3414349"/>
                <a:gd name="connsiteY3" fmla="*/ 2164080 h 2164080"/>
                <a:gd name="connsiteX4" fmla="*/ 3413760 w 3414349"/>
                <a:gd name="connsiteY4" fmla="*/ 2046605 h 2164080"/>
                <a:gd name="connsiteX5" fmla="*/ 3413760 w 3414349"/>
                <a:gd name="connsiteY5" fmla="*/ 60960 h 2164080"/>
                <a:gd name="connsiteX0" fmla="*/ 0 w 3414556"/>
                <a:gd name="connsiteY0" fmla="*/ 0 h 2164080"/>
                <a:gd name="connsiteX1" fmla="*/ 0 w 3414556"/>
                <a:gd name="connsiteY1" fmla="*/ 2026920 h 2164080"/>
                <a:gd name="connsiteX2" fmla="*/ 137160 w 3414556"/>
                <a:gd name="connsiteY2" fmla="*/ 2164080 h 2164080"/>
                <a:gd name="connsiteX3" fmla="*/ 3317240 w 3414556"/>
                <a:gd name="connsiteY3" fmla="*/ 2164080 h 2164080"/>
                <a:gd name="connsiteX4" fmla="*/ 3413760 w 3414556"/>
                <a:gd name="connsiteY4" fmla="*/ 2046605 h 2164080"/>
                <a:gd name="connsiteX5" fmla="*/ 3413760 w 3414556"/>
                <a:gd name="connsiteY5" fmla="*/ 60960 h 2164080"/>
                <a:gd name="connsiteX0" fmla="*/ 0 w 3413760"/>
                <a:gd name="connsiteY0" fmla="*/ 0 h 2164080"/>
                <a:gd name="connsiteX1" fmla="*/ 0 w 3413760"/>
                <a:gd name="connsiteY1" fmla="*/ 2026920 h 2164080"/>
                <a:gd name="connsiteX2" fmla="*/ 137160 w 3413760"/>
                <a:gd name="connsiteY2" fmla="*/ 2164080 h 2164080"/>
                <a:gd name="connsiteX3" fmla="*/ 3317240 w 3413760"/>
                <a:gd name="connsiteY3" fmla="*/ 2164080 h 2164080"/>
                <a:gd name="connsiteX4" fmla="*/ 3413760 w 3413760"/>
                <a:gd name="connsiteY4" fmla="*/ 2046605 h 2164080"/>
                <a:gd name="connsiteX5" fmla="*/ 3413760 w 3413760"/>
                <a:gd name="connsiteY5" fmla="*/ 60960 h 2164080"/>
                <a:gd name="connsiteX0" fmla="*/ 0 w 3413760"/>
                <a:gd name="connsiteY0" fmla="*/ 0 h 2164080"/>
                <a:gd name="connsiteX1" fmla="*/ 0 w 3413760"/>
                <a:gd name="connsiteY1" fmla="*/ 2026920 h 2164080"/>
                <a:gd name="connsiteX2" fmla="*/ 137160 w 3413760"/>
                <a:gd name="connsiteY2" fmla="*/ 2164080 h 2164080"/>
                <a:gd name="connsiteX3" fmla="*/ 3317240 w 3413760"/>
                <a:gd name="connsiteY3" fmla="*/ 2164080 h 2164080"/>
                <a:gd name="connsiteX4" fmla="*/ 3413760 w 3413760"/>
                <a:gd name="connsiteY4" fmla="*/ 2046605 h 2164080"/>
                <a:gd name="connsiteX5" fmla="*/ 3413760 w 3413760"/>
                <a:gd name="connsiteY5" fmla="*/ 60960 h 2164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13760" h="2164080">
                  <a:moveTo>
                    <a:pt x="0" y="0"/>
                  </a:moveTo>
                  <a:lnTo>
                    <a:pt x="0" y="2026920"/>
                  </a:lnTo>
                  <a:cubicBezTo>
                    <a:pt x="0" y="2105025"/>
                    <a:pt x="17145" y="2158365"/>
                    <a:pt x="137160" y="2164080"/>
                  </a:cubicBezTo>
                  <a:lnTo>
                    <a:pt x="3317240" y="2164080"/>
                  </a:lnTo>
                  <a:cubicBezTo>
                    <a:pt x="3377988" y="2157307"/>
                    <a:pt x="3413972" y="2114338"/>
                    <a:pt x="3413760" y="2046605"/>
                  </a:cubicBezTo>
                  <a:lnTo>
                    <a:pt x="3413760" y="60960"/>
                  </a:lnTo>
                </a:path>
              </a:pathLst>
            </a:custGeom>
            <a:noFill/>
            <a:ln w="19050">
              <a:solidFill>
                <a:schemeClr val="tx2"/>
              </a:solidFill>
            </a:ln>
          </p:spPr>
          <p:style>
            <a:lnRef idx="1">
              <a:schemeClr val="dk1"/>
            </a:lnRef>
            <a:fillRef idx="0">
              <a:schemeClr val="dk1"/>
            </a:fillRef>
            <a:effectRef idx="0">
              <a:schemeClr val="dk1"/>
            </a:effectRef>
            <a:fontRef idx="minor">
              <a:schemeClr val="tx1"/>
            </a:fontRef>
          </p:style>
          <p:txBody>
            <a:bodyPr rtlCol="0" anchor="ctr"/>
            <a:lstStyle/>
            <a:p>
              <a:pPr algn="ctr"/>
              <a:endParaRPr lang="en-US"/>
            </a:p>
          </p:txBody>
        </p:sp>
        <p:sp>
          <p:nvSpPr>
            <p:cNvPr id="6" name="Rectangle: Rounded Corners 5">
              <a:extLst>
                <a:ext uri="{FF2B5EF4-FFF2-40B4-BE49-F238E27FC236}">
                  <a16:creationId xmlns:a16="http://schemas.microsoft.com/office/drawing/2014/main" id="{104016CD-12A5-E03B-E7EF-F14079DC74B3}"/>
                </a:ext>
              </a:extLst>
            </p:cNvPr>
            <p:cNvSpPr/>
            <p:nvPr/>
          </p:nvSpPr>
          <p:spPr>
            <a:xfrm>
              <a:off x="647699" y="2649284"/>
              <a:ext cx="4368801" cy="3568636"/>
            </a:xfrm>
            <a:prstGeom prst="roundRect">
              <a:avLst>
                <a:gd name="adj" fmla="val 2664"/>
              </a:avLst>
            </a:prstGeom>
            <a:solidFill>
              <a:srgbClr val="FFFFFF"/>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err="1">
                <a:solidFill>
                  <a:schemeClr val="bg1"/>
                </a:solidFill>
              </a:endParaRPr>
            </a:p>
          </p:txBody>
        </p:sp>
        <p:sp>
          <p:nvSpPr>
            <p:cNvPr id="7" name="Freeform: Shape 6">
              <a:extLst>
                <a:ext uri="{FF2B5EF4-FFF2-40B4-BE49-F238E27FC236}">
                  <a16:creationId xmlns:a16="http://schemas.microsoft.com/office/drawing/2014/main" id="{711B1B0F-CC8B-5C1D-0E98-76A4F7929AD0}"/>
                </a:ext>
              </a:extLst>
            </p:cNvPr>
            <p:cNvSpPr/>
            <p:nvPr/>
          </p:nvSpPr>
          <p:spPr>
            <a:xfrm flipV="1">
              <a:off x="628651" y="2619633"/>
              <a:ext cx="4409589" cy="1765081"/>
            </a:xfrm>
            <a:custGeom>
              <a:avLst/>
              <a:gdLst>
                <a:gd name="connsiteX0" fmla="*/ 0 w 3413760"/>
                <a:gd name="connsiteY0" fmla="*/ 0 h 2164080"/>
                <a:gd name="connsiteX1" fmla="*/ 0 w 3413760"/>
                <a:gd name="connsiteY1" fmla="*/ 2026920 h 2164080"/>
                <a:gd name="connsiteX2" fmla="*/ 137160 w 3413760"/>
                <a:gd name="connsiteY2" fmla="*/ 2164080 h 2164080"/>
                <a:gd name="connsiteX3" fmla="*/ 3317240 w 3413760"/>
                <a:gd name="connsiteY3" fmla="*/ 2164080 h 2164080"/>
                <a:gd name="connsiteX4" fmla="*/ 3413760 w 3413760"/>
                <a:gd name="connsiteY4" fmla="*/ 2067560 h 2164080"/>
                <a:gd name="connsiteX5" fmla="*/ 3413760 w 3413760"/>
                <a:gd name="connsiteY5" fmla="*/ 60960 h 2164080"/>
                <a:gd name="connsiteX0" fmla="*/ 0 w 3413760"/>
                <a:gd name="connsiteY0" fmla="*/ 0 h 2164080"/>
                <a:gd name="connsiteX1" fmla="*/ 0 w 3413760"/>
                <a:gd name="connsiteY1" fmla="*/ 2026920 h 2164080"/>
                <a:gd name="connsiteX2" fmla="*/ 137160 w 3413760"/>
                <a:gd name="connsiteY2" fmla="*/ 2164080 h 2164080"/>
                <a:gd name="connsiteX3" fmla="*/ 3317240 w 3413760"/>
                <a:gd name="connsiteY3" fmla="*/ 2164080 h 2164080"/>
                <a:gd name="connsiteX4" fmla="*/ 3413760 w 3413760"/>
                <a:gd name="connsiteY4" fmla="*/ 2067560 h 2164080"/>
                <a:gd name="connsiteX5" fmla="*/ 3413760 w 3413760"/>
                <a:gd name="connsiteY5" fmla="*/ 60960 h 2164080"/>
                <a:gd name="connsiteX0" fmla="*/ 0 w 3413760"/>
                <a:gd name="connsiteY0" fmla="*/ 0 h 2164080"/>
                <a:gd name="connsiteX1" fmla="*/ 0 w 3413760"/>
                <a:gd name="connsiteY1" fmla="*/ 2026920 h 2164080"/>
                <a:gd name="connsiteX2" fmla="*/ 137160 w 3413760"/>
                <a:gd name="connsiteY2" fmla="*/ 2164080 h 2164080"/>
                <a:gd name="connsiteX3" fmla="*/ 3317240 w 3413760"/>
                <a:gd name="connsiteY3" fmla="*/ 2164080 h 2164080"/>
                <a:gd name="connsiteX4" fmla="*/ 3413760 w 3413760"/>
                <a:gd name="connsiteY4" fmla="*/ 2067560 h 2164080"/>
                <a:gd name="connsiteX5" fmla="*/ 3413760 w 3413760"/>
                <a:gd name="connsiteY5" fmla="*/ 60960 h 2164080"/>
                <a:gd name="connsiteX0" fmla="*/ 0 w 3413760"/>
                <a:gd name="connsiteY0" fmla="*/ 0 h 2164080"/>
                <a:gd name="connsiteX1" fmla="*/ 0 w 3413760"/>
                <a:gd name="connsiteY1" fmla="*/ 2026920 h 2164080"/>
                <a:gd name="connsiteX2" fmla="*/ 137160 w 3413760"/>
                <a:gd name="connsiteY2" fmla="*/ 2164080 h 2164080"/>
                <a:gd name="connsiteX3" fmla="*/ 3317240 w 3413760"/>
                <a:gd name="connsiteY3" fmla="*/ 2164080 h 2164080"/>
                <a:gd name="connsiteX4" fmla="*/ 3413760 w 3413760"/>
                <a:gd name="connsiteY4" fmla="*/ 2067560 h 2164080"/>
                <a:gd name="connsiteX5" fmla="*/ 3413760 w 3413760"/>
                <a:gd name="connsiteY5" fmla="*/ 60960 h 2164080"/>
                <a:gd name="connsiteX0" fmla="*/ 0 w 3413760"/>
                <a:gd name="connsiteY0" fmla="*/ 0 h 2164080"/>
                <a:gd name="connsiteX1" fmla="*/ 0 w 3413760"/>
                <a:gd name="connsiteY1" fmla="*/ 2026920 h 2164080"/>
                <a:gd name="connsiteX2" fmla="*/ 137160 w 3413760"/>
                <a:gd name="connsiteY2" fmla="*/ 2164080 h 2164080"/>
                <a:gd name="connsiteX3" fmla="*/ 3317240 w 3413760"/>
                <a:gd name="connsiteY3" fmla="*/ 2164080 h 2164080"/>
                <a:gd name="connsiteX4" fmla="*/ 3413760 w 3413760"/>
                <a:gd name="connsiteY4" fmla="*/ 2046605 h 2164080"/>
                <a:gd name="connsiteX5" fmla="*/ 3413760 w 3413760"/>
                <a:gd name="connsiteY5" fmla="*/ 60960 h 2164080"/>
                <a:gd name="connsiteX0" fmla="*/ 0 w 3414349"/>
                <a:gd name="connsiteY0" fmla="*/ 0 h 2164080"/>
                <a:gd name="connsiteX1" fmla="*/ 0 w 3414349"/>
                <a:gd name="connsiteY1" fmla="*/ 2026920 h 2164080"/>
                <a:gd name="connsiteX2" fmla="*/ 137160 w 3414349"/>
                <a:gd name="connsiteY2" fmla="*/ 2164080 h 2164080"/>
                <a:gd name="connsiteX3" fmla="*/ 3317240 w 3414349"/>
                <a:gd name="connsiteY3" fmla="*/ 2164080 h 2164080"/>
                <a:gd name="connsiteX4" fmla="*/ 3413760 w 3414349"/>
                <a:gd name="connsiteY4" fmla="*/ 2046605 h 2164080"/>
                <a:gd name="connsiteX5" fmla="*/ 3413760 w 3414349"/>
                <a:gd name="connsiteY5" fmla="*/ 60960 h 2164080"/>
                <a:gd name="connsiteX0" fmla="*/ 0 w 3414556"/>
                <a:gd name="connsiteY0" fmla="*/ 0 h 2164080"/>
                <a:gd name="connsiteX1" fmla="*/ 0 w 3414556"/>
                <a:gd name="connsiteY1" fmla="*/ 2026920 h 2164080"/>
                <a:gd name="connsiteX2" fmla="*/ 137160 w 3414556"/>
                <a:gd name="connsiteY2" fmla="*/ 2164080 h 2164080"/>
                <a:gd name="connsiteX3" fmla="*/ 3317240 w 3414556"/>
                <a:gd name="connsiteY3" fmla="*/ 2164080 h 2164080"/>
                <a:gd name="connsiteX4" fmla="*/ 3413760 w 3414556"/>
                <a:gd name="connsiteY4" fmla="*/ 2046605 h 2164080"/>
                <a:gd name="connsiteX5" fmla="*/ 3413760 w 3414556"/>
                <a:gd name="connsiteY5" fmla="*/ 60960 h 2164080"/>
                <a:gd name="connsiteX0" fmla="*/ 0 w 3413760"/>
                <a:gd name="connsiteY0" fmla="*/ 0 h 2164080"/>
                <a:gd name="connsiteX1" fmla="*/ 0 w 3413760"/>
                <a:gd name="connsiteY1" fmla="*/ 2026920 h 2164080"/>
                <a:gd name="connsiteX2" fmla="*/ 137160 w 3413760"/>
                <a:gd name="connsiteY2" fmla="*/ 2164080 h 2164080"/>
                <a:gd name="connsiteX3" fmla="*/ 3317240 w 3413760"/>
                <a:gd name="connsiteY3" fmla="*/ 2164080 h 2164080"/>
                <a:gd name="connsiteX4" fmla="*/ 3413760 w 3413760"/>
                <a:gd name="connsiteY4" fmla="*/ 2046605 h 2164080"/>
                <a:gd name="connsiteX5" fmla="*/ 3413760 w 3413760"/>
                <a:gd name="connsiteY5" fmla="*/ 60960 h 2164080"/>
                <a:gd name="connsiteX0" fmla="*/ 0 w 3413760"/>
                <a:gd name="connsiteY0" fmla="*/ 0 h 2164080"/>
                <a:gd name="connsiteX1" fmla="*/ 0 w 3413760"/>
                <a:gd name="connsiteY1" fmla="*/ 2026920 h 2164080"/>
                <a:gd name="connsiteX2" fmla="*/ 137160 w 3413760"/>
                <a:gd name="connsiteY2" fmla="*/ 2164080 h 2164080"/>
                <a:gd name="connsiteX3" fmla="*/ 3317240 w 3413760"/>
                <a:gd name="connsiteY3" fmla="*/ 2164080 h 2164080"/>
                <a:gd name="connsiteX4" fmla="*/ 3413760 w 3413760"/>
                <a:gd name="connsiteY4" fmla="*/ 2046605 h 2164080"/>
                <a:gd name="connsiteX5" fmla="*/ 3413760 w 3413760"/>
                <a:gd name="connsiteY5" fmla="*/ 60960 h 2164080"/>
                <a:gd name="connsiteX0" fmla="*/ 0 w 3417615"/>
                <a:gd name="connsiteY0" fmla="*/ 0 h 2164080"/>
                <a:gd name="connsiteX1" fmla="*/ 0 w 3417615"/>
                <a:gd name="connsiteY1" fmla="*/ 2026920 h 2164080"/>
                <a:gd name="connsiteX2" fmla="*/ 137160 w 3417615"/>
                <a:gd name="connsiteY2" fmla="*/ 2164080 h 2164080"/>
                <a:gd name="connsiteX3" fmla="*/ 3317240 w 3417615"/>
                <a:gd name="connsiteY3" fmla="*/ 2164080 h 2164080"/>
                <a:gd name="connsiteX4" fmla="*/ 3413760 w 3417615"/>
                <a:gd name="connsiteY4" fmla="*/ 2046605 h 2164080"/>
                <a:gd name="connsiteX5" fmla="*/ 3417615 w 3417615"/>
                <a:gd name="connsiteY5" fmla="*/ 368979 h 2164080"/>
                <a:gd name="connsiteX0" fmla="*/ 3855 w 3417615"/>
                <a:gd name="connsiteY0" fmla="*/ 0 h 1913558"/>
                <a:gd name="connsiteX1" fmla="*/ 0 w 3417615"/>
                <a:gd name="connsiteY1" fmla="*/ 1776398 h 1913558"/>
                <a:gd name="connsiteX2" fmla="*/ 137160 w 3417615"/>
                <a:gd name="connsiteY2" fmla="*/ 1913558 h 1913558"/>
                <a:gd name="connsiteX3" fmla="*/ 3317240 w 3417615"/>
                <a:gd name="connsiteY3" fmla="*/ 1913558 h 1913558"/>
                <a:gd name="connsiteX4" fmla="*/ 3413760 w 3417615"/>
                <a:gd name="connsiteY4" fmla="*/ 1796083 h 1913558"/>
                <a:gd name="connsiteX5" fmla="*/ 3417615 w 3417615"/>
                <a:gd name="connsiteY5" fmla="*/ 118457 h 1913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17615" h="1913558">
                  <a:moveTo>
                    <a:pt x="3855" y="0"/>
                  </a:moveTo>
                  <a:lnTo>
                    <a:pt x="0" y="1776398"/>
                  </a:lnTo>
                  <a:cubicBezTo>
                    <a:pt x="0" y="1854503"/>
                    <a:pt x="17145" y="1907843"/>
                    <a:pt x="137160" y="1913558"/>
                  </a:cubicBezTo>
                  <a:lnTo>
                    <a:pt x="3317240" y="1913558"/>
                  </a:lnTo>
                  <a:cubicBezTo>
                    <a:pt x="3377988" y="1906785"/>
                    <a:pt x="3413972" y="1863816"/>
                    <a:pt x="3413760" y="1796083"/>
                  </a:cubicBezTo>
                  <a:lnTo>
                    <a:pt x="3417615" y="118457"/>
                  </a:lnTo>
                </a:path>
              </a:pathLst>
            </a:custGeom>
            <a:noFill/>
            <a:ln w="12700">
              <a:solidFill>
                <a:schemeClr val="accent2"/>
              </a:solidFill>
              <a:prstDash val="sysDash"/>
            </a:ln>
          </p:spPr>
          <p:style>
            <a:lnRef idx="1">
              <a:schemeClr val="dk1"/>
            </a:lnRef>
            <a:fillRef idx="0">
              <a:schemeClr val="dk1"/>
            </a:fillRef>
            <a:effectRef idx="0">
              <a:schemeClr val="dk1"/>
            </a:effectRef>
            <a:fontRef idx="minor">
              <a:schemeClr val="tx1"/>
            </a:fontRef>
          </p:style>
          <p:txBody>
            <a:bodyPr rtlCol="0" anchor="ctr"/>
            <a:lstStyle/>
            <a:p>
              <a:pPr algn="ctr"/>
              <a:endParaRPr lang="en-US"/>
            </a:p>
          </p:txBody>
        </p:sp>
      </p:grpSp>
      <p:sp>
        <p:nvSpPr>
          <p:cNvPr id="9" name="Rectangle 8">
            <a:extLst>
              <a:ext uri="{FF2B5EF4-FFF2-40B4-BE49-F238E27FC236}">
                <a16:creationId xmlns:a16="http://schemas.microsoft.com/office/drawing/2014/main" id="{B2A1FA4B-2DC0-ED7A-091A-4A0B4DD3290C}"/>
              </a:ext>
            </a:extLst>
          </p:cNvPr>
          <p:cNvSpPr/>
          <p:nvPr/>
        </p:nvSpPr>
        <p:spPr>
          <a:xfrm>
            <a:off x="11145047" y="3738799"/>
            <a:ext cx="1046952" cy="1107996"/>
          </a:xfrm>
          <a:prstGeom prst="rect">
            <a:avLst/>
          </a:prstGeom>
          <a:solidFill>
            <a:schemeClr val="tx2"/>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err="1">
              <a:solidFill>
                <a:schemeClr val="bg1"/>
              </a:solidFill>
            </a:endParaRPr>
          </a:p>
        </p:txBody>
      </p:sp>
      <p:sp>
        <p:nvSpPr>
          <p:cNvPr id="10" name="Rectangle 9">
            <a:extLst>
              <a:ext uri="{FF2B5EF4-FFF2-40B4-BE49-F238E27FC236}">
                <a16:creationId xmlns:a16="http://schemas.microsoft.com/office/drawing/2014/main" id="{987A72B4-F88B-B660-C942-83DD55B14911}"/>
              </a:ext>
            </a:extLst>
          </p:cNvPr>
          <p:cNvSpPr/>
          <p:nvPr/>
        </p:nvSpPr>
        <p:spPr>
          <a:xfrm>
            <a:off x="802497" y="2534935"/>
            <a:ext cx="4061695" cy="969496"/>
          </a:xfrm>
          <a:prstGeom prst="rect">
            <a:avLst/>
          </a:prstGeom>
          <a:noFill/>
          <a:ln>
            <a:noFill/>
          </a:ln>
          <a:extLst>
            <a:ext uri="{909E8E84-426E-40DD-AFC4-6F175D3DCCD1}">
              <a14:hiddenFill xmlns:a14="http://schemas.microsoft.com/office/drawing/2010/main">
                <a:solidFill>
                  <a:schemeClr val="tx2">
                    <a:lumMod val="20000"/>
                    <a:lumOff val="80000"/>
                  </a:schemeClr>
                </a:solidFill>
              </a14:hiddenFill>
            </a:ext>
          </a:extLst>
        </p:spPr>
        <p:txBody>
          <a:bodyPr wrap="square" lIns="0" tIns="0" rIns="0" bIns="0">
            <a:spAutoFit/>
          </a:bodyPr>
          <a:lstStyle/>
          <a:p>
            <a:pPr fontAlgn="ctr">
              <a:lnSpc>
                <a:spcPct val="150000"/>
              </a:lnSpc>
              <a:buSzPct val="100000"/>
              <a:buFont typeface="Trebuchet MS" panose="020B0603020202020204" pitchFamily="34" charset="0"/>
              <a:buChar char="​"/>
            </a:pPr>
            <a:r>
              <a:rPr lang="en-US" dirty="0">
                <a:solidFill>
                  <a:schemeClr val="tx2"/>
                </a:solidFill>
                <a:sym typeface="Trebuchet MS" panose="020B0603020202020204" pitchFamily="34" charset="0"/>
              </a:rPr>
              <a:t>It can be noticed that </a:t>
            </a:r>
            <a:r>
              <a:rPr lang="en-US" dirty="0" err="1">
                <a:solidFill>
                  <a:schemeClr val="tx2"/>
                </a:solidFill>
                <a:sym typeface="Trebuchet MS" panose="020B0603020202020204" pitchFamily="34" charset="0"/>
              </a:rPr>
              <a:t>products_dataset</a:t>
            </a:r>
            <a:r>
              <a:rPr lang="en-US" dirty="0">
                <a:solidFill>
                  <a:schemeClr val="tx2"/>
                </a:solidFill>
                <a:sym typeface="Trebuchet MS" panose="020B0603020202020204" pitchFamily="34" charset="0"/>
              </a:rPr>
              <a:t> is having multiple null values:</a:t>
            </a:r>
          </a:p>
          <a:p>
            <a:pPr fontAlgn="ctr">
              <a:lnSpc>
                <a:spcPct val="150000"/>
              </a:lnSpc>
              <a:buSzPct val="100000"/>
              <a:buFont typeface="Trebuchet MS" panose="020B0603020202020204" pitchFamily="34" charset="0"/>
              <a:buChar char="​"/>
            </a:pPr>
            <a:endParaRPr lang="en-US" dirty="0">
              <a:solidFill>
                <a:schemeClr val="tx1"/>
              </a:solidFill>
              <a:sym typeface="Trebuchet MS" panose="020B0603020202020204" pitchFamily="34" charset="0"/>
            </a:endParaRPr>
          </a:p>
        </p:txBody>
      </p:sp>
      <p:grpSp>
        <p:nvGrpSpPr>
          <p:cNvPr id="11" name="Group 10">
            <a:extLst>
              <a:ext uri="{FF2B5EF4-FFF2-40B4-BE49-F238E27FC236}">
                <a16:creationId xmlns:a16="http://schemas.microsoft.com/office/drawing/2014/main" id="{2874D697-AA69-074F-A2B3-52E7C0D0A111}"/>
              </a:ext>
            </a:extLst>
          </p:cNvPr>
          <p:cNvGrpSpPr/>
          <p:nvPr/>
        </p:nvGrpSpPr>
        <p:grpSpPr>
          <a:xfrm>
            <a:off x="5656230" y="2444078"/>
            <a:ext cx="5907120" cy="3697437"/>
            <a:chOff x="5656230" y="2619632"/>
            <a:chExt cx="5907120" cy="3697437"/>
          </a:xfrm>
        </p:grpSpPr>
        <p:sp>
          <p:nvSpPr>
            <p:cNvPr id="12" name="Freeform: Shape 11">
              <a:extLst>
                <a:ext uri="{FF2B5EF4-FFF2-40B4-BE49-F238E27FC236}">
                  <a16:creationId xmlns:a16="http://schemas.microsoft.com/office/drawing/2014/main" id="{6218F2B4-6680-8687-1B4C-8AE34FD7C582}"/>
                </a:ext>
              </a:extLst>
            </p:cNvPr>
            <p:cNvSpPr/>
            <p:nvPr/>
          </p:nvSpPr>
          <p:spPr>
            <a:xfrm>
              <a:off x="5657110" y="4413109"/>
              <a:ext cx="5900456" cy="1903960"/>
            </a:xfrm>
            <a:custGeom>
              <a:avLst/>
              <a:gdLst>
                <a:gd name="connsiteX0" fmla="*/ 0 w 3413760"/>
                <a:gd name="connsiteY0" fmla="*/ 0 h 2164080"/>
                <a:gd name="connsiteX1" fmla="*/ 0 w 3413760"/>
                <a:gd name="connsiteY1" fmla="*/ 2026920 h 2164080"/>
                <a:gd name="connsiteX2" fmla="*/ 137160 w 3413760"/>
                <a:gd name="connsiteY2" fmla="*/ 2164080 h 2164080"/>
                <a:gd name="connsiteX3" fmla="*/ 3317240 w 3413760"/>
                <a:gd name="connsiteY3" fmla="*/ 2164080 h 2164080"/>
                <a:gd name="connsiteX4" fmla="*/ 3413760 w 3413760"/>
                <a:gd name="connsiteY4" fmla="*/ 2067560 h 2164080"/>
                <a:gd name="connsiteX5" fmla="*/ 3413760 w 3413760"/>
                <a:gd name="connsiteY5" fmla="*/ 60960 h 2164080"/>
                <a:gd name="connsiteX0" fmla="*/ 0 w 3413760"/>
                <a:gd name="connsiteY0" fmla="*/ 0 h 2164080"/>
                <a:gd name="connsiteX1" fmla="*/ 0 w 3413760"/>
                <a:gd name="connsiteY1" fmla="*/ 2026920 h 2164080"/>
                <a:gd name="connsiteX2" fmla="*/ 137160 w 3413760"/>
                <a:gd name="connsiteY2" fmla="*/ 2164080 h 2164080"/>
                <a:gd name="connsiteX3" fmla="*/ 3317240 w 3413760"/>
                <a:gd name="connsiteY3" fmla="*/ 2164080 h 2164080"/>
                <a:gd name="connsiteX4" fmla="*/ 3413760 w 3413760"/>
                <a:gd name="connsiteY4" fmla="*/ 2067560 h 2164080"/>
                <a:gd name="connsiteX5" fmla="*/ 3413760 w 3413760"/>
                <a:gd name="connsiteY5" fmla="*/ 60960 h 2164080"/>
                <a:gd name="connsiteX0" fmla="*/ 0 w 3413760"/>
                <a:gd name="connsiteY0" fmla="*/ 0 h 2164080"/>
                <a:gd name="connsiteX1" fmla="*/ 0 w 3413760"/>
                <a:gd name="connsiteY1" fmla="*/ 2026920 h 2164080"/>
                <a:gd name="connsiteX2" fmla="*/ 137160 w 3413760"/>
                <a:gd name="connsiteY2" fmla="*/ 2164080 h 2164080"/>
                <a:gd name="connsiteX3" fmla="*/ 3317240 w 3413760"/>
                <a:gd name="connsiteY3" fmla="*/ 2164080 h 2164080"/>
                <a:gd name="connsiteX4" fmla="*/ 3413760 w 3413760"/>
                <a:gd name="connsiteY4" fmla="*/ 2067560 h 2164080"/>
                <a:gd name="connsiteX5" fmla="*/ 3413760 w 3413760"/>
                <a:gd name="connsiteY5" fmla="*/ 60960 h 2164080"/>
                <a:gd name="connsiteX0" fmla="*/ 0 w 3413760"/>
                <a:gd name="connsiteY0" fmla="*/ 0 h 2164080"/>
                <a:gd name="connsiteX1" fmla="*/ 0 w 3413760"/>
                <a:gd name="connsiteY1" fmla="*/ 2026920 h 2164080"/>
                <a:gd name="connsiteX2" fmla="*/ 137160 w 3413760"/>
                <a:gd name="connsiteY2" fmla="*/ 2164080 h 2164080"/>
                <a:gd name="connsiteX3" fmla="*/ 3317240 w 3413760"/>
                <a:gd name="connsiteY3" fmla="*/ 2164080 h 2164080"/>
                <a:gd name="connsiteX4" fmla="*/ 3413760 w 3413760"/>
                <a:gd name="connsiteY4" fmla="*/ 2067560 h 2164080"/>
                <a:gd name="connsiteX5" fmla="*/ 3413760 w 3413760"/>
                <a:gd name="connsiteY5" fmla="*/ 60960 h 2164080"/>
                <a:gd name="connsiteX0" fmla="*/ 0 w 3413760"/>
                <a:gd name="connsiteY0" fmla="*/ 0 h 2164080"/>
                <a:gd name="connsiteX1" fmla="*/ 0 w 3413760"/>
                <a:gd name="connsiteY1" fmla="*/ 2026920 h 2164080"/>
                <a:gd name="connsiteX2" fmla="*/ 137160 w 3413760"/>
                <a:gd name="connsiteY2" fmla="*/ 2164080 h 2164080"/>
                <a:gd name="connsiteX3" fmla="*/ 3317240 w 3413760"/>
                <a:gd name="connsiteY3" fmla="*/ 2164080 h 2164080"/>
                <a:gd name="connsiteX4" fmla="*/ 3413760 w 3413760"/>
                <a:gd name="connsiteY4" fmla="*/ 2046605 h 2164080"/>
                <a:gd name="connsiteX5" fmla="*/ 3413760 w 3413760"/>
                <a:gd name="connsiteY5" fmla="*/ 60960 h 2164080"/>
                <a:gd name="connsiteX0" fmla="*/ 0 w 3414349"/>
                <a:gd name="connsiteY0" fmla="*/ 0 h 2164080"/>
                <a:gd name="connsiteX1" fmla="*/ 0 w 3414349"/>
                <a:gd name="connsiteY1" fmla="*/ 2026920 h 2164080"/>
                <a:gd name="connsiteX2" fmla="*/ 137160 w 3414349"/>
                <a:gd name="connsiteY2" fmla="*/ 2164080 h 2164080"/>
                <a:gd name="connsiteX3" fmla="*/ 3317240 w 3414349"/>
                <a:gd name="connsiteY3" fmla="*/ 2164080 h 2164080"/>
                <a:gd name="connsiteX4" fmla="*/ 3413760 w 3414349"/>
                <a:gd name="connsiteY4" fmla="*/ 2046605 h 2164080"/>
                <a:gd name="connsiteX5" fmla="*/ 3413760 w 3414349"/>
                <a:gd name="connsiteY5" fmla="*/ 60960 h 2164080"/>
                <a:gd name="connsiteX0" fmla="*/ 0 w 3414556"/>
                <a:gd name="connsiteY0" fmla="*/ 0 h 2164080"/>
                <a:gd name="connsiteX1" fmla="*/ 0 w 3414556"/>
                <a:gd name="connsiteY1" fmla="*/ 2026920 h 2164080"/>
                <a:gd name="connsiteX2" fmla="*/ 137160 w 3414556"/>
                <a:gd name="connsiteY2" fmla="*/ 2164080 h 2164080"/>
                <a:gd name="connsiteX3" fmla="*/ 3317240 w 3414556"/>
                <a:gd name="connsiteY3" fmla="*/ 2164080 h 2164080"/>
                <a:gd name="connsiteX4" fmla="*/ 3413760 w 3414556"/>
                <a:gd name="connsiteY4" fmla="*/ 2046605 h 2164080"/>
                <a:gd name="connsiteX5" fmla="*/ 3413760 w 3414556"/>
                <a:gd name="connsiteY5" fmla="*/ 60960 h 2164080"/>
                <a:gd name="connsiteX0" fmla="*/ 0 w 3413760"/>
                <a:gd name="connsiteY0" fmla="*/ 0 h 2164080"/>
                <a:gd name="connsiteX1" fmla="*/ 0 w 3413760"/>
                <a:gd name="connsiteY1" fmla="*/ 2026920 h 2164080"/>
                <a:gd name="connsiteX2" fmla="*/ 137160 w 3413760"/>
                <a:gd name="connsiteY2" fmla="*/ 2164080 h 2164080"/>
                <a:gd name="connsiteX3" fmla="*/ 3317240 w 3413760"/>
                <a:gd name="connsiteY3" fmla="*/ 2164080 h 2164080"/>
                <a:gd name="connsiteX4" fmla="*/ 3413760 w 3413760"/>
                <a:gd name="connsiteY4" fmla="*/ 2046605 h 2164080"/>
                <a:gd name="connsiteX5" fmla="*/ 3413760 w 3413760"/>
                <a:gd name="connsiteY5" fmla="*/ 60960 h 2164080"/>
                <a:gd name="connsiteX0" fmla="*/ 0 w 3413760"/>
                <a:gd name="connsiteY0" fmla="*/ 0 h 2164080"/>
                <a:gd name="connsiteX1" fmla="*/ 0 w 3413760"/>
                <a:gd name="connsiteY1" fmla="*/ 2026920 h 2164080"/>
                <a:gd name="connsiteX2" fmla="*/ 137160 w 3413760"/>
                <a:gd name="connsiteY2" fmla="*/ 2164080 h 2164080"/>
                <a:gd name="connsiteX3" fmla="*/ 3317240 w 3413760"/>
                <a:gd name="connsiteY3" fmla="*/ 2164080 h 2164080"/>
                <a:gd name="connsiteX4" fmla="*/ 3413760 w 3413760"/>
                <a:gd name="connsiteY4" fmla="*/ 2046605 h 2164080"/>
                <a:gd name="connsiteX5" fmla="*/ 3413760 w 3413760"/>
                <a:gd name="connsiteY5" fmla="*/ 60960 h 2164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13760" h="2164080">
                  <a:moveTo>
                    <a:pt x="0" y="0"/>
                  </a:moveTo>
                  <a:lnTo>
                    <a:pt x="0" y="2026920"/>
                  </a:lnTo>
                  <a:cubicBezTo>
                    <a:pt x="0" y="2105025"/>
                    <a:pt x="17145" y="2158365"/>
                    <a:pt x="137160" y="2164080"/>
                  </a:cubicBezTo>
                  <a:lnTo>
                    <a:pt x="3317240" y="2164080"/>
                  </a:lnTo>
                  <a:cubicBezTo>
                    <a:pt x="3377988" y="2157307"/>
                    <a:pt x="3413972" y="2114338"/>
                    <a:pt x="3413760" y="2046605"/>
                  </a:cubicBezTo>
                  <a:lnTo>
                    <a:pt x="3413760" y="60960"/>
                  </a:lnTo>
                </a:path>
              </a:pathLst>
            </a:custGeom>
            <a:noFill/>
            <a:ln w="19050">
              <a:solidFill>
                <a:schemeClr val="tx2"/>
              </a:solidFill>
            </a:ln>
          </p:spPr>
          <p:style>
            <a:lnRef idx="1">
              <a:schemeClr val="dk1"/>
            </a:lnRef>
            <a:fillRef idx="0">
              <a:schemeClr val="dk1"/>
            </a:fillRef>
            <a:effectRef idx="0">
              <a:schemeClr val="dk1"/>
            </a:effectRef>
            <a:fontRef idx="minor">
              <a:schemeClr val="tx1"/>
            </a:fontRef>
          </p:style>
          <p:txBody>
            <a:bodyPr rtlCol="0" anchor="ctr"/>
            <a:lstStyle/>
            <a:p>
              <a:pPr algn="ctr"/>
              <a:endParaRPr lang="en-US"/>
            </a:p>
          </p:txBody>
        </p:sp>
        <p:sp>
          <p:nvSpPr>
            <p:cNvPr id="13" name="Rectangle: Rounded Corners 12">
              <a:extLst>
                <a:ext uri="{FF2B5EF4-FFF2-40B4-BE49-F238E27FC236}">
                  <a16:creationId xmlns:a16="http://schemas.microsoft.com/office/drawing/2014/main" id="{D0E1DBFB-7E29-C903-9E06-41590D52A304}"/>
                </a:ext>
              </a:extLst>
            </p:cNvPr>
            <p:cNvSpPr/>
            <p:nvPr/>
          </p:nvSpPr>
          <p:spPr>
            <a:xfrm>
              <a:off x="5685352" y="2619633"/>
              <a:ext cx="5858948" cy="3667786"/>
            </a:xfrm>
            <a:prstGeom prst="roundRect">
              <a:avLst>
                <a:gd name="adj" fmla="val 2664"/>
              </a:avLst>
            </a:prstGeom>
            <a:solidFill>
              <a:srgbClr val="FFFFFF"/>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err="1">
                <a:solidFill>
                  <a:schemeClr val="bg1"/>
                </a:solidFill>
              </a:endParaRPr>
            </a:p>
          </p:txBody>
        </p:sp>
        <p:sp>
          <p:nvSpPr>
            <p:cNvPr id="14" name="Freeform: Shape 13">
              <a:extLst>
                <a:ext uri="{FF2B5EF4-FFF2-40B4-BE49-F238E27FC236}">
                  <a16:creationId xmlns:a16="http://schemas.microsoft.com/office/drawing/2014/main" id="{5D6693DC-2494-0FE3-22A7-0629127E5E59}"/>
                </a:ext>
              </a:extLst>
            </p:cNvPr>
            <p:cNvSpPr/>
            <p:nvPr/>
          </p:nvSpPr>
          <p:spPr>
            <a:xfrm flipV="1">
              <a:off x="5656230" y="2619632"/>
              <a:ext cx="5907120" cy="1630507"/>
            </a:xfrm>
            <a:custGeom>
              <a:avLst/>
              <a:gdLst>
                <a:gd name="connsiteX0" fmla="*/ 0 w 3413760"/>
                <a:gd name="connsiteY0" fmla="*/ 0 h 2164080"/>
                <a:gd name="connsiteX1" fmla="*/ 0 w 3413760"/>
                <a:gd name="connsiteY1" fmla="*/ 2026920 h 2164080"/>
                <a:gd name="connsiteX2" fmla="*/ 137160 w 3413760"/>
                <a:gd name="connsiteY2" fmla="*/ 2164080 h 2164080"/>
                <a:gd name="connsiteX3" fmla="*/ 3317240 w 3413760"/>
                <a:gd name="connsiteY3" fmla="*/ 2164080 h 2164080"/>
                <a:gd name="connsiteX4" fmla="*/ 3413760 w 3413760"/>
                <a:gd name="connsiteY4" fmla="*/ 2067560 h 2164080"/>
                <a:gd name="connsiteX5" fmla="*/ 3413760 w 3413760"/>
                <a:gd name="connsiteY5" fmla="*/ 60960 h 2164080"/>
                <a:gd name="connsiteX0" fmla="*/ 0 w 3413760"/>
                <a:gd name="connsiteY0" fmla="*/ 0 h 2164080"/>
                <a:gd name="connsiteX1" fmla="*/ 0 w 3413760"/>
                <a:gd name="connsiteY1" fmla="*/ 2026920 h 2164080"/>
                <a:gd name="connsiteX2" fmla="*/ 137160 w 3413760"/>
                <a:gd name="connsiteY2" fmla="*/ 2164080 h 2164080"/>
                <a:gd name="connsiteX3" fmla="*/ 3317240 w 3413760"/>
                <a:gd name="connsiteY3" fmla="*/ 2164080 h 2164080"/>
                <a:gd name="connsiteX4" fmla="*/ 3413760 w 3413760"/>
                <a:gd name="connsiteY4" fmla="*/ 2067560 h 2164080"/>
                <a:gd name="connsiteX5" fmla="*/ 3413760 w 3413760"/>
                <a:gd name="connsiteY5" fmla="*/ 60960 h 2164080"/>
                <a:gd name="connsiteX0" fmla="*/ 0 w 3413760"/>
                <a:gd name="connsiteY0" fmla="*/ 0 h 2164080"/>
                <a:gd name="connsiteX1" fmla="*/ 0 w 3413760"/>
                <a:gd name="connsiteY1" fmla="*/ 2026920 h 2164080"/>
                <a:gd name="connsiteX2" fmla="*/ 137160 w 3413760"/>
                <a:gd name="connsiteY2" fmla="*/ 2164080 h 2164080"/>
                <a:gd name="connsiteX3" fmla="*/ 3317240 w 3413760"/>
                <a:gd name="connsiteY3" fmla="*/ 2164080 h 2164080"/>
                <a:gd name="connsiteX4" fmla="*/ 3413760 w 3413760"/>
                <a:gd name="connsiteY4" fmla="*/ 2067560 h 2164080"/>
                <a:gd name="connsiteX5" fmla="*/ 3413760 w 3413760"/>
                <a:gd name="connsiteY5" fmla="*/ 60960 h 2164080"/>
                <a:gd name="connsiteX0" fmla="*/ 0 w 3413760"/>
                <a:gd name="connsiteY0" fmla="*/ 0 h 2164080"/>
                <a:gd name="connsiteX1" fmla="*/ 0 w 3413760"/>
                <a:gd name="connsiteY1" fmla="*/ 2026920 h 2164080"/>
                <a:gd name="connsiteX2" fmla="*/ 137160 w 3413760"/>
                <a:gd name="connsiteY2" fmla="*/ 2164080 h 2164080"/>
                <a:gd name="connsiteX3" fmla="*/ 3317240 w 3413760"/>
                <a:gd name="connsiteY3" fmla="*/ 2164080 h 2164080"/>
                <a:gd name="connsiteX4" fmla="*/ 3413760 w 3413760"/>
                <a:gd name="connsiteY4" fmla="*/ 2067560 h 2164080"/>
                <a:gd name="connsiteX5" fmla="*/ 3413760 w 3413760"/>
                <a:gd name="connsiteY5" fmla="*/ 60960 h 2164080"/>
                <a:gd name="connsiteX0" fmla="*/ 0 w 3413760"/>
                <a:gd name="connsiteY0" fmla="*/ 0 h 2164080"/>
                <a:gd name="connsiteX1" fmla="*/ 0 w 3413760"/>
                <a:gd name="connsiteY1" fmla="*/ 2026920 h 2164080"/>
                <a:gd name="connsiteX2" fmla="*/ 137160 w 3413760"/>
                <a:gd name="connsiteY2" fmla="*/ 2164080 h 2164080"/>
                <a:gd name="connsiteX3" fmla="*/ 3317240 w 3413760"/>
                <a:gd name="connsiteY3" fmla="*/ 2164080 h 2164080"/>
                <a:gd name="connsiteX4" fmla="*/ 3413760 w 3413760"/>
                <a:gd name="connsiteY4" fmla="*/ 2046605 h 2164080"/>
                <a:gd name="connsiteX5" fmla="*/ 3413760 w 3413760"/>
                <a:gd name="connsiteY5" fmla="*/ 60960 h 2164080"/>
                <a:gd name="connsiteX0" fmla="*/ 0 w 3414349"/>
                <a:gd name="connsiteY0" fmla="*/ 0 h 2164080"/>
                <a:gd name="connsiteX1" fmla="*/ 0 w 3414349"/>
                <a:gd name="connsiteY1" fmla="*/ 2026920 h 2164080"/>
                <a:gd name="connsiteX2" fmla="*/ 137160 w 3414349"/>
                <a:gd name="connsiteY2" fmla="*/ 2164080 h 2164080"/>
                <a:gd name="connsiteX3" fmla="*/ 3317240 w 3414349"/>
                <a:gd name="connsiteY3" fmla="*/ 2164080 h 2164080"/>
                <a:gd name="connsiteX4" fmla="*/ 3413760 w 3414349"/>
                <a:gd name="connsiteY4" fmla="*/ 2046605 h 2164080"/>
                <a:gd name="connsiteX5" fmla="*/ 3413760 w 3414349"/>
                <a:gd name="connsiteY5" fmla="*/ 60960 h 2164080"/>
                <a:gd name="connsiteX0" fmla="*/ 0 w 3414556"/>
                <a:gd name="connsiteY0" fmla="*/ 0 h 2164080"/>
                <a:gd name="connsiteX1" fmla="*/ 0 w 3414556"/>
                <a:gd name="connsiteY1" fmla="*/ 2026920 h 2164080"/>
                <a:gd name="connsiteX2" fmla="*/ 137160 w 3414556"/>
                <a:gd name="connsiteY2" fmla="*/ 2164080 h 2164080"/>
                <a:gd name="connsiteX3" fmla="*/ 3317240 w 3414556"/>
                <a:gd name="connsiteY3" fmla="*/ 2164080 h 2164080"/>
                <a:gd name="connsiteX4" fmla="*/ 3413760 w 3414556"/>
                <a:gd name="connsiteY4" fmla="*/ 2046605 h 2164080"/>
                <a:gd name="connsiteX5" fmla="*/ 3413760 w 3414556"/>
                <a:gd name="connsiteY5" fmla="*/ 60960 h 2164080"/>
                <a:gd name="connsiteX0" fmla="*/ 0 w 3413760"/>
                <a:gd name="connsiteY0" fmla="*/ 0 h 2164080"/>
                <a:gd name="connsiteX1" fmla="*/ 0 w 3413760"/>
                <a:gd name="connsiteY1" fmla="*/ 2026920 h 2164080"/>
                <a:gd name="connsiteX2" fmla="*/ 137160 w 3413760"/>
                <a:gd name="connsiteY2" fmla="*/ 2164080 h 2164080"/>
                <a:gd name="connsiteX3" fmla="*/ 3317240 w 3413760"/>
                <a:gd name="connsiteY3" fmla="*/ 2164080 h 2164080"/>
                <a:gd name="connsiteX4" fmla="*/ 3413760 w 3413760"/>
                <a:gd name="connsiteY4" fmla="*/ 2046605 h 2164080"/>
                <a:gd name="connsiteX5" fmla="*/ 3413760 w 3413760"/>
                <a:gd name="connsiteY5" fmla="*/ 60960 h 2164080"/>
                <a:gd name="connsiteX0" fmla="*/ 0 w 3413760"/>
                <a:gd name="connsiteY0" fmla="*/ 0 h 2164080"/>
                <a:gd name="connsiteX1" fmla="*/ 0 w 3413760"/>
                <a:gd name="connsiteY1" fmla="*/ 2026920 h 2164080"/>
                <a:gd name="connsiteX2" fmla="*/ 137160 w 3413760"/>
                <a:gd name="connsiteY2" fmla="*/ 2164080 h 2164080"/>
                <a:gd name="connsiteX3" fmla="*/ 3317240 w 3413760"/>
                <a:gd name="connsiteY3" fmla="*/ 2164080 h 2164080"/>
                <a:gd name="connsiteX4" fmla="*/ 3413760 w 3413760"/>
                <a:gd name="connsiteY4" fmla="*/ 2046605 h 2164080"/>
                <a:gd name="connsiteX5" fmla="*/ 3413760 w 3413760"/>
                <a:gd name="connsiteY5" fmla="*/ 60960 h 2164080"/>
                <a:gd name="connsiteX0" fmla="*/ 0 w 3417615"/>
                <a:gd name="connsiteY0" fmla="*/ 0 h 2164080"/>
                <a:gd name="connsiteX1" fmla="*/ 0 w 3417615"/>
                <a:gd name="connsiteY1" fmla="*/ 2026920 h 2164080"/>
                <a:gd name="connsiteX2" fmla="*/ 137160 w 3417615"/>
                <a:gd name="connsiteY2" fmla="*/ 2164080 h 2164080"/>
                <a:gd name="connsiteX3" fmla="*/ 3317240 w 3417615"/>
                <a:gd name="connsiteY3" fmla="*/ 2164080 h 2164080"/>
                <a:gd name="connsiteX4" fmla="*/ 3413760 w 3417615"/>
                <a:gd name="connsiteY4" fmla="*/ 2046605 h 2164080"/>
                <a:gd name="connsiteX5" fmla="*/ 3417615 w 3417615"/>
                <a:gd name="connsiteY5" fmla="*/ 368979 h 2164080"/>
                <a:gd name="connsiteX0" fmla="*/ 3855 w 3417615"/>
                <a:gd name="connsiteY0" fmla="*/ 0 h 1913558"/>
                <a:gd name="connsiteX1" fmla="*/ 0 w 3417615"/>
                <a:gd name="connsiteY1" fmla="*/ 1776398 h 1913558"/>
                <a:gd name="connsiteX2" fmla="*/ 137160 w 3417615"/>
                <a:gd name="connsiteY2" fmla="*/ 1913558 h 1913558"/>
                <a:gd name="connsiteX3" fmla="*/ 3317240 w 3417615"/>
                <a:gd name="connsiteY3" fmla="*/ 1913558 h 1913558"/>
                <a:gd name="connsiteX4" fmla="*/ 3413760 w 3417615"/>
                <a:gd name="connsiteY4" fmla="*/ 1796083 h 1913558"/>
                <a:gd name="connsiteX5" fmla="*/ 3417615 w 3417615"/>
                <a:gd name="connsiteY5" fmla="*/ 118457 h 1913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17615" h="1913558">
                  <a:moveTo>
                    <a:pt x="3855" y="0"/>
                  </a:moveTo>
                  <a:lnTo>
                    <a:pt x="0" y="1776398"/>
                  </a:lnTo>
                  <a:cubicBezTo>
                    <a:pt x="0" y="1854503"/>
                    <a:pt x="17145" y="1907843"/>
                    <a:pt x="137160" y="1913558"/>
                  </a:cubicBezTo>
                  <a:lnTo>
                    <a:pt x="3317240" y="1913558"/>
                  </a:lnTo>
                  <a:cubicBezTo>
                    <a:pt x="3377988" y="1906785"/>
                    <a:pt x="3413972" y="1863816"/>
                    <a:pt x="3413760" y="1796083"/>
                  </a:cubicBezTo>
                  <a:lnTo>
                    <a:pt x="3417615" y="118457"/>
                  </a:lnTo>
                </a:path>
              </a:pathLst>
            </a:custGeom>
            <a:noFill/>
            <a:ln w="12700">
              <a:solidFill>
                <a:schemeClr val="accent2"/>
              </a:solidFill>
              <a:prstDash val="sysDash"/>
            </a:ln>
          </p:spPr>
          <p:style>
            <a:lnRef idx="1">
              <a:schemeClr val="dk1"/>
            </a:lnRef>
            <a:fillRef idx="0">
              <a:schemeClr val="dk1"/>
            </a:fillRef>
            <a:effectRef idx="0">
              <a:schemeClr val="dk1"/>
            </a:effectRef>
            <a:fontRef idx="minor">
              <a:schemeClr val="tx1"/>
            </a:fontRef>
          </p:style>
          <p:txBody>
            <a:bodyPr rtlCol="0" anchor="ctr"/>
            <a:lstStyle/>
            <a:p>
              <a:pPr algn="ctr"/>
              <a:endParaRPr lang="en-US"/>
            </a:p>
          </p:txBody>
        </p:sp>
      </p:grpSp>
      <p:sp>
        <p:nvSpPr>
          <p:cNvPr id="15" name="TextBox 14">
            <a:extLst>
              <a:ext uri="{FF2B5EF4-FFF2-40B4-BE49-F238E27FC236}">
                <a16:creationId xmlns:a16="http://schemas.microsoft.com/office/drawing/2014/main" id="{9ECF5A8C-6D2E-5F00-D18B-76004E576D86}"/>
              </a:ext>
            </a:extLst>
          </p:cNvPr>
          <p:cNvSpPr txBox="1"/>
          <p:nvPr/>
        </p:nvSpPr>
        <p:spPr>
          <a:xfrm>
            <a:off x="5863050" y="2397202"/>
            <a:ext cx="4857163" cy="769441"/>
          </a:xfrm>
          <a:prstGeom prst="rect">
            <a:avLst/>
          </a:prstGeom>
          <a:noFill/>
          <a:ln w="9525" cap="rnd">
            <a:noFill/>
            <a:prstDash val="solid"/>
            <a:round/>
          </a:ln>
          <a:effectLst/>
          <a:extLst>
            <a:ext uri="{909E8E84-426E-40DD-AFC4-6F175D3DCCD1}">
              <a14:hiddenFill xmlns:a14="http://schemas.microsoft.com/office/drawing/2010/main">
                <a:solidFill>
                  <a:srgbClr val="29BA74"/>
                </a:solidFill>
              </a14:hiddenFill>
            </a:ext>
            <a:ext uri="{AF507438-7753-43E0-B8FC-AC1667EBCBE1}">
              <a14:hiddenEffects xmlns:a14="http://schemas.microsoft.com/office/drawing/2010/main">
                <a:effectLst>
                  <a:outerShdw sx="0" sy="0" rotWithShape="0">
                    <a:scrgbClr r="0" g="0" b="0"/>
                  </a:outerShdw>
                </a:effectLst>
              </a14:hiddenEffects>
            </a:ext>
            <a:ext uri="{53640926-AAD7-44D8-BBD7-CCE9431645EC}">
              <a14:shadowObscure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fontAlgn="base">
              <a:buSzPct val="100000"/>
              <a:buFont typeface="Trebuchet MS" panose="020B0603020202020204" pitchFamily="34" charset="0"/>
              <a:buChar char="​"/>
            </a:pPr>
            <a:br>
              <a:rPr lang="en-US" sz="1200" dirty="0">
                <a:solidFill>
                  <a:schemeClr val="tx1"/>
                </a:solidFill>
                <a:sym typeface="Trebuchet MS" panose="020B0603020202020204" pitchFamily="34" charset="0"/>
              </a:rPr>
            </a:br>
            <a:r>
              <a:rPr lang="en-US" sz="1400" dirty="0">
                <a:solidFill>
                  <a:schemeClr val="tx2"/>
                </a:solidFill>
                <a:sym typeface="Trebuchet MS" panose="020B0603020202020204" pitchFamily="34" charset="0"/>
              </a:rPr>
              <a:t>Solution:</a:t>
            </a:r>
            <a:r>
              <a:rPr lang="en-US" dirty="0">
                <a:solidFill>
                  <a:schemeClr val="tx2"/>
                </a:solidFill>
                <a:sym typeface="Trebuchet MS" panose="020B0603020202020204" pitchFamily="34" charset="0"/>
              </a:rPr>
              <a:t> </a:t>
            </a:r>
            <a:r>
              <a:rPr lang="en-US" sz="1200" dirty="0">
                <a:solidFill>
                  <a:schemeClr val="tx1"/>
                </a:solidFill>
                <a:sym typeface="Trebuchet MS" panose="020B0603020202020204" pitchFamily="34" charset="0"/>
              </a:rPr>
              <a:t>Either using Python or SQL to cleanse/remediate current dataset</a:t>
            </a:r>
          </a:p>
          <a:p>
            <a:pPr marL="108000" lvl="1" defTabSz="913332">
              <a:buClr>
                <a:schemeClr val="tx2">
                  <a:lumMod val="100000"/>
                </a:schemeClr>
              </a:buClr>
              <a:buSzPct val="100000"/>
            </a:pPr>
            <a:endParaRPr lang="en-US" sz="1200" dirty="0">
              <a:solidFill>
                <a:schemeClr val="tx1"/>
              </a:solidFill>
              <a:sym typeface="Trebuchet MS" panose="020B0603020202020204" pitchFamily="34" charset="0"/>
            </a:endParaRPr>
          </a:p>
          <a:p>
            <a:pPr marL="324000" lvl="1" indent="-216000" defTabSz="913332">
              <a:buClr>
                <a:schemeClr val="tx2">
                  <a:lumMod val="100000"/>
                </a:schemeClr>
              </a:buClr>
              <a:buSzPct val="100000"/>
              <a:buFont typeface="Trebuchet MS" panose="020B0603020202020204" pitchFamily="34" charset="0"/>
              <a:buChar char="•"/>
            </a:pPr>
            <a:endParaRPr lang="en-US" sz="1200" dirty="0">
              <a:solidFill>
                <a:schemeClr val="tx1"/>
              </a:solidFill>
              <a:sym typeface="Trebuchet MS" panose="020B0603020202020204" pitchFamily="34" charset="0"/>
            </a:endParaRPr>
          </a:p>
        </p:txBody>
      </p:sp>
      <p:grpSp>
        <p:nvGrpSpPr>
          <p:cNvPr id="16" name="Group 15">
            <a:extLst>
              <a:ext uri="{FF2B5EF4-FFF2-40B4-BE49-F238E27FC236}">
                <a16:creationId xmlns:a16="http://schemas.microsoft.com/office/drawing/2014/main" id="{97381570-A870-813A-4F5B-60B8478592D6}"/>
              </a:ext>
            </a:extLst>
          </p:cNvPr>
          <p:cNvGrpSpPr/>
          <p:nvPr/>
        </p:nvGrpSpPr>
        <p:grpSpPr>
          <a:xfrm>
            <a:off x="628651" y="1724934"/>
            <a:ext cx="4525847" cy="646488"/>
            <a:chOff x="628651" y="1999254"/>
            <a:chExt cx="5126698" cy="646488"/>
          </a:xfrm>
        </p:grpSpPr>
        <p:sp>
          <p:nvSpPr>
            <p:cNvPr id="17" name="Freeform: Shape 16">
              <a:extLst>
                <a:ext uri="{FF2B5EF4-FFF2-40B4-BE49-F238E27FC236}">
                  <a16:creationId xmlns:a16="http://schemas.microsoft.com/office/drawing/2014/main" id="{22FEAA0C-553A-E6A1-281B-A1DE8C268C9E}"/>
                </a:ext>
              </a:extLst>
            </p:cNvPr>
            <p:cNvSpPr/>
            <p:nvPr/>
          </p:nvSpPr>
          <p:spPr>
            <a:xfrm>
              <a:off x="628651" y="1999254"/>
              <a:ext cx="5126698" cy="646488"/>
            </a:xfrm>
            <a:custGeom>
              <a:avLst/>
              <a:gdLst>
                <a:gd name="connsiteX0" fmla="*/ 0 w 3435424"/>
                <a:gd name="connsiteY0" fmla="*/ 0 h 411480"/>
                <a:gd name="connsiteX1" fmla="*/ 354330 w 3435424"/>
                <a:gd name="connsiteY1" fmla="*/ 0 h 411480"/>
                <a:gd name="connsiteX2" fmla="*/ 434340 w 3435424"/>
                <a:gd name="connsiteY2" fmla="*/ 0 h 411480"/>
                <a:gd name="connsiteX3" fmla="*/ 3435424 w 3435424"/>
                <a:gd name="connsiteY3" fmla="*/ 0 h 411480"/>
                <a:gd name="connsiteX4" fmla="*/ 3081094 w 3435424"/>
                <a:gd name="connsiteY4" fmla="*/ 411480 h 411480"/>
                <a:gd name="connsiteX5" fmla="*/ 434340 w 3435424"/>
                <a:gd name="connsiteY5" fmla="*/ 411480 h 411480"/>
                <a:gd name="connsiteX6" fmla="*/ 0 w 3435424"/>
                <a:gd name="connsiteY6" fmla="*/ 411480 h 411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35424" h="411480">
                  <a:moveTo>
                    <a:pt x="0" y="0"/>
                  </a:moveTo>
                  <a:lnTo>
                    <a:pt x="354330" y="0"/>
                  </a:lnTo>
                  <a:lnTo>
                    <a:pt x="434340" y="0"/>
                  </a:lnTo>
                  <a:lnTo>
                    <a:pt x="3435424" y="0"/>
                  </a:lnTo>
                  <a:lnTo>
                    <a:pt x="3081094" y="411480"/>
                  </a:lnTo>
                  <a:lnTo>
                    <a:pt x="434340" y="411480"/>
                  </a:lnTo>
                  <a:lnTo>
                    <a:pt x="0" y="411480"/>
                  </a:lnTo>
                  <a:close/>
                </a:path>
              </a:pathLst>
            </a:custGeom>
            <a:solidFill>
              <a:schemeClr val="tx2"/>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Freeform: Shape 17">
              <a:extLst>
                <a:ext uri="{FF2B5EF4-FFF2-40B4-BE49-F238E27FC236}">
                  <a16:creationId xmlns:a16="http://schemas.microsoft.com/office/drawing/2014/main" id="{A15AF271-E1DA-1D3E-72B1-E8FEEDFBF8CC}"/>
                </a:ext>
              </a:extLst>
            </p:cNvPr>
            <p:cNvSpPr/>
            <p:nvPr/>
          </p:nvSpPr>
          <p:spPr>
            <a:xfrm>
              <a:off x="628651" y="2497588"/>
              <a:ext cx="4708395" cy="148153"/>
            </a:xfrm>
            <a:custGeom>
              <a:avLst/>
              <a:gdLst>
                <a:gd name="connsiteX0" fmla="*/ 0 w 3155117"/>
                <a:gd name="connsiteY0" fmla="*/ 0 h 94297"/>
                <a:gd name="connsiteX1" fmla="*/ 81200 w 3155117"/>
                <a:gd name="connsiteY1" fmla="*/ 0 h 94297"/>
                <a:gd name="connsiteX2" fmla="*/ 126165 w 3155117"/>
                <a:gd name="connsiteY2" fmla="*/ 0 h 94297"/>
                <a:gd name="connsiteX3" fmla="*/ 3155117 w 3155117"/>
                <a:gd name="connsiteY3" fmla="*/ 0 h 94297"/>
                <a:gd name="connsiteX4" fmla="*/ 3073917 w 3155117"/>
                <a:gd name="connsiteY4" fmla="*/ 94297 h 94297"/>
                <a:gd name="connsiteX5" fmla="*/ 126165 w 3155117"/>
                <a:gd name="connsiteY5" fmla="*/ 94297 h 94297"/>
                <a:gd name="connsiteX6" fmla="*/ 0 w 3155117"/>
                <a:gd name="connsiteY6" fmla="*/ 94297 h 942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55117" h="94297">
                  <a:moveTo>
                    <a:pt x="0" y="0"/>
                  </a:moveTo>
                  <a:lnTo>
                    <a:pt x="81200" y="0"/>
                  </a:lnTo>
                  <a:lnTo>
                    <a:pt x="126165" y="0"/>
                  </a:lnTo>
                  <a:lnTo>
                    <a:pt x="3155117" y="0"/>
                  </a:lnTo>
                  <a:lnTo>
                    <a:pt x="3073917" y="94297"/>
                  </a:lnTo>
                  <a:lnTo>
                    <a:pt x="126165" y="94297"/>
                  </a:lnTo>
                  <a:lnTo>
                    <a:pt x="0" y="94297"/>
                  </a:lnTo>
                  <a:close/>
                </a:path>
              </a:pathLst>
            </a:custGeom>
            <a:solidFill>
              <a:schemeClr val="accent2"/>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9" name="Group 18">
            <a:extLst>
              <a:ext uri="{FF2B5EF4-FFF2-40B4-BE49-F238E27FC236}">
                <a16:creationId xmlns:a16="http://schemas.microsoft.com/office/drawing/2014/main" id="{827F60B1-542E-636E-565C-C9AE51A0A489}"/>
              </a:ext>
            </a:extLst>
          </p:cNvPr>
          <p:cNvGrpSpPr/>
          <p:nvPr/>
        </p:nvGrpSpPr>
        <p:grpSpPr>
          <a:xfrm>
            <a:off x="5635653" y="1724934"/>
            <a:ext cx="6062861" cy="646488"/>
            <a:chOff x="6436652" y="1999254"/>
            <a:chExt cx="5126698" cy="646488"/>
          </a:xfrm>
        </p:grpSpPr>
        <p:sp>
          <p:nvSpPr>
            <p:cNvPr id="20" name="Freeform: Shape 19">
              <a:extLst>
                <a:ext uri="{FF2B5EF4-FFF2-40B4-BE49-F238E27FC236}">
                  <a16:creationId xmlns:a16="http://schemas.microsoft.com/office/drawing/2014/main" id="{D286BEDE-CF40-A634-32F5-604740082E04}"/>
                </a:ext>
              </a:extLst>
            </p:cNvPr>
            <p:cNvSpPr/>
            <p:nvPr/>
          </p:nvSpPr>
          <p:spPr>
            <a:xfrm>
              <a:off x="6436652" y="1999254"/>
              <a:ext cx="5126698" cy="646488"/>
            </a:xfrm>
            <a:custGeom>
              <a:avLst/>
              <a:gdLst>
                <a:gd name="connsiteX0" fmla="*/ 0 w 3435424"/>
                <a:gd name="connsiteY0" fmla="*/ 0 h 411480"/>
                <a:gd name="connsiteX1" fmla="*/ 354330 w 3435424"/>
                <a:gd name="connsiteY1" fmla="*/ 0 h 411480"/>
                <a:gd name="connsiteX2" fmla="*/ 434340 w 3435424"/>
                <a:gd name="connsiteY2" fmla="*/ 0 h 411480"/>
                <a:gd name="connsiteX3" fmla="*/ 3435424 w 3435424"/>
                <a:gd name="connsiteY3" fmla="*/ 0 h 411480"/>
                <a:gd name="connsiteX4" fmla="*/ 3081094 w 3435424"/>
                <a:gd name="connsiteY4" fmla="*/ 411480 h 411480"/>
                <a:gd name="connsiteX5" fmla="*/ 434340 w 3435424"/>
                <a:gd name="connsiteY5" fmla="*/ 411480 h 411480"/>
                <a:gd name="connsiteX6" fmla="*/ 0 w 3435424"/>
                <a:gd name="connsiteY6" fmla="*/ 411480 h 411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35424" h="411480">
                  <a:moveTo>
                    <a:pt x="0" y="0"/>
                  </a:moveTo>
                  <a:lnTo>
                    <a:pt x="354330" y="0"/>
                  </a:lnTo>
                  <a:lnTo>
                    <a:pt x="434340" y="0"/>
                  </a:lnTo>
                  <a:lnTo>
                    <a:pt x="3435424" y="0"/>
                  </a:lnTo>
                  <a:lnTo>
                    <a:pt x="3081094" y="411480"/>
                  </a:lnTo>
                  <a:lnTo>
                    <a:pt x="434340" y="411480"/>
                  </a:lnTo>
                  <a:lnTo>
                    <a:pt x="0" y="411480"/>
                  </a:lnTo>
                  <a:close/>
                </a:path>
              </a:pathLst>
            </a:custGeom>
            <a:solidFill>
              <a:schemeClr val="tx2"/>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Freeform: Shape 20">
              <a:extLst>
                <a:ext uri="{FF2B5EF4-FFF2-40B4-BE49-F238E27FC236}">
                  <a16:creationId xmlns:a16="http://schemas.microsoft.com/office/drawing/2014/main" id="{E693340E-7F5B-431B-E44D-994EA28D0496}"/>
                </a:ext>
              </a:extLst>
            </p:cNvPr>
            <p:cNvSpPr/>
            <p:nvPr/>
          </p:nvSpPr>
          <p:spPr>
            <a:xfrm>
              <a:off x="6436652" y="2497588"/>
              <a:ext cx="4708395" cy="148153"/>
            </a:xfrm>
            <a:custGeom>
              <a:avLst/>
              <a:gdLst>
                <a:gd name="connsiteX0" fmla="*/ 0 w 3155117"/>
                <a:gd name="connsiteY0" fmla="*/ 0 h 94297"/>
                <a:gd name="connsiteX1" fmla="*/ 81200 w 3155117"/>
                <a:gd name="connsiteY1" fmla="*/ 0 h 94297"/>
                <a:gd name="connsiteX2" fmla="*/ 126165 w 3155117"/>
                <a:gd name="connsiteY2" fmla="*/ 0 h 94297"/>
                <a:gd name="connsiteX3" fmla="*/ 3155117 w 3155117"/>
                <a:gd name="connsiteY3" fmla="*/ 0 h 94297"/>
                <a:gd name="connsiteX4" fmla="*/ 3073917 w 3155117"/>
                <a:gd name="connsiteY4" fmla="*/ 94297 h 94297"/>
                <a:gd name="connsiteX5" fmla="*/ 126165 w 3155117"/>
                <a:gd name="connsiteY5" fmla="*/ 94297 h 94297"/>
                <a:gd name="connsiteX6" fmla="*/ 0 w 3155117"/>
                <a:gd name="connsiteY6" fmla="*/ 94297 h 942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55117" h="94297">
                  <a:moveTo>
                    <a:pt x="0" y="0"/>
                  </a:moveTo>
                  <a:lnTo>
                    <a:pt x="81200" y="0"/>
                  </a:lnTo>
                  <a:lnTo>
                    <a:pt x="126165" y="0"/>
                  </a:lnTo>
                  <a:lnTo>
                    <a:pt x="3155117" y="0"/>
                  </a:lnTo>
                  <a:lnTo>
                    <a:pt x="3073917" y="94297"/>
                  </a:lnTo>
                  <a:lnTo>
                    <a:pt x="126165" y="94297"/>
                  </a:lnTo>
                  <a:lnTo>
                    <a:pt x="0" y="94297"/>
                  </a:lnTo>
                  <a:close/>
                </a:path>
              </a:pathLst>
            </a:custGeom>
            <a:solidFill>
              <a:schemeClr val="accent2"/>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2" name="Oval 21">
            <a:extLst>
              <a:ext uri="{FF2B5EF4-FFF2-40B4-BE49-F238E27FC236}">
                <a16:creationId xmlns:a16="http://schemas.microsoft.com/office/drawing/2014/main" id="{86AF5D30-64E0-3D4C-591A-A38ADE906DAE}"/>
              </a:ext>
            </a:extLst>
          </p:cNvPr>
          <p:cNvSpPr/>
          <p:nvPr/>
        </p:nvSpPr>
        <p:spPr>
          <a:xfrm>
            <a:off x="5761355" y="1566477"/>
            <a:ext cx="963402" cy="963402"/>
          </a:xfrm>
          <a:prstGeom prst="ellipse">
            <a:avLst/>
          </a:prstGeom>
          <a:solidFill>
            <a:srgbClr val="FFFFFF"/>
          </a:solidFill>
          <a:ln w="38100">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kern="0">
              <a:solidFill>
                <a:schemeClr val="bg1">
                  <a:lumMod val="50000"/>
                </a:schemeClr>
              </a:solidFill>
            </a:endParaRPr>
          </a:p>
        </p:txBody>
      </p:sp>
      <p:sp>
        <p:nvSpPr>
          <p:cNvPr id="23" name="Oval 22">
            <a:extLst>
              <a:ext uri="{FF2B5EF4-FFF2-40B4-BE49-F238E27FC236}">
                <a16:creationId xmlns:a16="http://schemas.microsoft.com/office/drawing/2014/main" id="{56F5B269-4689-EA87-B0FB-9C111E4E0B8F}"/>
              </a:ext>
            </a:extLst>
          </p:cNvPr>
          <p:cNvSpPr/>
          <p:nvPr/>
        </p:nvSpPr>
        <p:spPr>
          <a:xfrm>
            <a:off x="802497" y="1546502"/>
            <a:ext cx="963402" cy="963402"/>
          </a:xfrm>
          <a:prstGeom prst="ellipse">
            <a:avLst/>
          </a:prstGeom>
          <a:solidFill>
            <a:srgbClr val="FFFFFF"/>
          </a:solidFill>
          <a:ln w="38100">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kern="0">
              <a:solidFill>
                <a:schemeClr val="bg1">
                  <a:lumMod val="50000"/>
                </a:schemeClr>
              </a:solidFill>
            </a:endParaRPr>
          </a:p>
        </p:txBody>
      </p:sp>
      <p:sp>
        <p:nvSpPr>
          <p:cNvPr id="33" name="TextBox 32">
            <a:extLst>
              <a:ext uri="{FF2B5EF4-FFF2-40B4-BE49-F238E27FC236}">
                <a16:creationId xmlns:a16="http://schemas.microsoft.com/office/drawing/2014/main" id="{F6200355-A8E3-046A-CD8A-657829F60AAD}"/>
              </a:ext>
            </a:extLst>
          </p:cNvPr>
          <p:cNvSpPr txBox="1"/>
          <p:nvPr/>
        </p:nvSpPr>
        <p:spPr>
          <a:xfrm>
            <a:off x="1937544" y="1940455"/>
            <a:ext cx="3007618" cy="21544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lvl="3"/>
            <a:r>
              <a:rPr lang="en-US" dirty="0">
                <a:solidFill>
                  <a:schemeClr val="accent3"/>
                </a:solidFill>
                <a:sym typeface="Trebuchet MS" panose="020B0603020202020204" pitchFamily="34" charset="0"/>
              </a:rPr>
              <a:t>Cleansing Data using Pandas</a:t>
            </a:r>
          </a:p>
        </p:txBody>
      </p:sp>
      <p:sp>
        <p:nvSpPr>
          <p:cNvPr id="34" name="TextBox 33">
            <a:extLst>
              <a:ext uri="{FF2B5EF4-FFF2-40B4-BE49-F238E27FC236}">
                <a16:creationId xmlns:a16="http://schemas.microsoft.com/office/drawing/2014/main" id="{FAD1DB8C-AAC6-F474-5001-9EC0D869FE99}"/>
              </a:ext>
            </a:extLst>
          </p:cNvPr>
          <p:cNvSpPr txBox="1"/>
          <p:nvPr/>
        </p:nvSpPr>
        <p:spPr>
          <a:xfrm>
            <a:off x="6907001" y="1940455"/>
            <a:ext cx="4029029" cy="21544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lvl="3"/>
            <a:r>
              <a:rPr lang="en-US" dirty="0">
                <a:solidFill>
                  <a:srgbClr val="FFFFFF"/>
                </a:solidFill>
                <a:sym typeface="Trebuchet MS" panose="020B0603020202020204" pitchFamily="34" charset="0"/>
              </a:rPr>
              <a:t>Solution</a:t>
            </a:r>
            <a:endParaRPr lang="en-US" dirty="0">
              <a:solidFill>
                <a:schemeClr val="accent3"/>
              </a:solidFill>
              <a:sym typeface="Trebuchet MS" panose="020B0603020202020204" pitchFamily="34" charset="0"/>
            </a:endParaRPr>
          </a:p>
        </p:txBody>
      </p:sp>
      <p:sp>
        <p:nvSpPr>
          <p:cNvPr id="38" name="Rectangle 37">
            <a:extLst>
              <a:ext uri="{FF2B5EF4-FFF2-40B4-BE49-F238E27FC236}">
                <a16:creationId xmlns:a16="http://schemas.microsoft.com/office/drawing/2014/main" id="{E935479B-9910-513F-0ED8-5B407DCC1E04}"/>
              </a:ext>
            </a:extLst>
          </p:cNvPr>
          <p:cNvSpPr/>
          <p:nvPr/>
        </p:nvSpPr>
        <p:spPr>
          <a:xfrm flipV="1">
            <a:off x="0" y="0"/>
            <a:ext cx="12192000" cy="1287597"/>
          </a:xfrm>
          <a:prstGeom prst="rect">
            <a:avLst/>
          </a:prstGeom>
          <a:gradFill flip="none" rotWithShape="1">
            <a:gsLst>
              <a:gs pos="0">
                <a:srgbClr val="008C4F"/>
              </a:gs>
              <a:gs pos="100000">
                <a:srgbClr val="00693B"/>
              </a:gs>
            </a:gsLst>
            <a:lin ang="13500000" scaled="1"/>
            <a:tileRect/>
          </a:gradFill>
          <a:ln w="10795" cap="flat" cmpd="sng" algn="ctr">
            <a:noFill/>
            <a:prstDash val="solid"/>
          </a:ln>
          <a:effectLst/>
        </p:spPr>
        <p:txBody>
          <a:bodyPr lIns="91440" tIns="91440" rIns="91440" bIns="91440" rtlCol="0" anchor="ctr"/>
          <a:lstStyle/>
          <a:p>
            <a:pPr marL="0" marR="0" lvl="0" indent="0" algn="ctr" defTabSz="914400" eaLnBrk="1" fontAlgn="auto" latinLnBrk="0" hangingPunct="1">
              <a:lnSpc>
                <a:spcPct val="95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40" name="Title 1">
            <a:extLst>
              <a:ext uri="{FF2B5EF4-FFF2-40B4-BE49-F238E27FC236}">
                <a16:creationId xmlns:a16="http://schemas.microsoft.com/office/drawing/2014/main" id="{8E7AACCA-A87D-DE89-47FB-2D8621449F16}"/>
              </a:ext>
            </a:extLst>
          </p:cNvPr>
          <p:cNvSpPr txBox="1">
            <a:spLocks/>
          </p:cNvSpPr>
          <p:nvPr/>
        </p:nvSpPr>
        <p:spPr>
          <a:xfrm>
            <a:off x="482082" y="332033"/>
            <a:ext cx="10933200" cy="701690"/>
          </a:xfrm>
          <a:prstGeom prst="rect">
            <a:avLst/>
          </a:prstGeom>
          <a:noFill/>
          <a:ln>
            <a:noFill/>
          </a:ln>
        </p:spPr>
        <p:txBody>
          <a:bodyPr spcFirstLastPara="1" vert="horz" wrap="square" lIns="91425" tIns="45700" rIns="91425" bIns="45700" anchor="ctr" anchorCtr="0">
            <a:spAutoFit/>
          </a:bodyPr>
          <a:lstStyle>
            <a:defPPr marR="0" lvl="0" algn="l" rtl="0">
              <a:lnSpc>
                <a:spcPct val="100000"/>
              </a:lnSpc>
              <a:spcBef>
                <a:spcPts val="0"/>
              </a:spcBef>
              <a:spcAft>
                <a:spcPts val="0"/>
              </a:spcAft>
            </a:defPPr>
            <a:lvl1pPr marR="0" lvl="0" algn="l" rtl="0">
              <a:lnSpc>
                <a:spcPct val="90000"/>
              </a:lnSpc>
              <a:spcBef>
                <a:spcPts val="0"/>
              </a:spcBef>
              <a:spcAft>
                <a:spcPts val="0"/>
              </a:spcAft>
              <a:buClr>
                <a:schemeClr val="dk1"/>
              </a:buClr>
              <a:buSzPts val="1800"/>
              <a:buFont typeface="Calibri"/>
              <a:buNone/>
              <a:defRPr sz="44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r>
              <a:rPr lang="en-US" dirty="0">
                <a:solidFill>
                  <a:srgbClr val="D4DF33"/>
                </a:solidFill>
                <a:latin typeface="Calibri" panose="020F0502020204030204" pitchFamily="34" charset="0"/>
              </a:rPr>
              <a:t>3 – Second step: </a:t>
            </a:r>
            <a:r>
              <a:rPr lang="en-US" dirty="0">
                <a:solidFill>
                  <a:srgbClr val="FFFFFF"/>
                </a:solidFill>
                <a:latin typeface="Calibri" panose="020F0502020204030204" pitchFamily="34" charset="0"/>
              </a:rPr>
              <a:t>Prepare</a:t>
            </a:r>
          </a:p>
        </p:txBody>
      </p:sp>
      <p:pic>
        <p:nvPicPr>
          <p:cNvPr id="2" name="Picture 1">
            <a:extLst>
              <a:ext uri="{FF2B5EF4-FFF2-40B4-BE49-F238E27FC236}">
                <a16:creationId xmlns:a16="http://schemas.microsoft.com/office/drawing/2014/main" id="{E604CF2C-31C4-7162-8DCA-5FA2287F9DA9}"/>
              </a:ext>
            </a:extLst>
          </p:cNvPr>
          <p:cNvPicPr>
            <a:picLocks noChangeAspect="1"/>
          </p:cNvPicPr>
          <p:nvPr/>
        </p:nvPicPr>
        <p:blipFill>
          <a:blip r:embed="rId2"/>
          <a:stretch>
            <a:fillRect/>
          </a:stretch>
        </p:blipFill>
        <p:spPr>
          <a:xfrm>
            <a:off x="1084347" y="3513938"/>
            <a:ext cx="3701648" cy="2390538"/>
          </a:xfrm>
          <a:prstGeom prst="rect">
            <a:avLst/>
          </a:prstGeom>
        </p:spPr>
      </p:pic>
      <p:pic>
        <p:nvPicPr>
          <p:cNvPr id="8" name="Picture 7">
            <a:extLst>
              <a:ext uri="{FF2B5EF4-FFF2-40B4-BE49-F238E27FC236}">
                <a16:creationId xmlns:a16="http://schemas.microsoft.com/office/drawing/2014/main" id="{895AFD5C-A860-2123-7D8B-915C34697212}"/>
              </a:ext>
            </a:extLst>
          </p:cNvPr>
          <p:cNvPicPr>
            <a:picLocks noChangeAspect="1"/>
          </p:cNvPicPr>
          <p:nvPr/>
        </p:nvPicPr>
        <p:blipFill>
          <a:blip r:embed="rId3"/>
          <a:stretch>
            <a:fillRect/>
          </a:stretch>
        </p:blipFill>
        <p:spPr>
          <a:xfrm>
            <a:off x="6069591" y="3691358"/>
            <a:ext cx="4751900" cy="1423701"/>
          </a:xfrm>
          <a:prstGeom prst="rect">
            <a:avLst/>
          </a:prstGeom>
        </p:spPr>
      </p:pic>
      <p:grpSp>
        <p:nvGrpSpPr>
          <p:cNvPr id="24" name="Group 23">
            <a:extLst>
              <a:ext uri="{FF2B5EF4-FFF2-40B4-BE49-F238E27FC236}">
                <a16:creationId xmlns:a16="http://schemas.microsoft.com/office/drawing/2014/main" id="{DD422EFD-FB91-9044-C697-1949D35EAFAB}"/>
              </a:ext>
            </a:extLst>
          </p:cNvPr>
          <p:cNvGrpSpPr>
            <a:grpSpLocks noChangeAspect="1"/>
          </p:cNvGrpSpPr>
          <p:nvPr/>
        </p:nvGrpSpPr>
        <p:grpSpPr>
          <a:xfrm>
            <a:off x="953507" y="1704764"/>
            <a:ext cx="667897" cy="667897"/>
            <a:chOff x="1109933" y="1822724"/>
            <a:chExt cx="1649421" cy="1649421"/>
          </a:xfrm>
        </p:grpSpPr>
        <p:sp>
          <p:nvSpPr>
            <p:cNvPr id="25" name="AutoShape 68">
              <a:extLst>
                <a:ext uri="{FF2B5EF4-FFF2-40B4-BE49-F238E27FC236}">
                  <a16:creationId xmlns:a16="http://schemas.microsoft.com/office/drawing/2014/main" id="{E00CE451-CD66-EC97-A4B1-835784CB2780}"/>
                </a:ext>
              </a:extLst>
            </p:cNvPr>
            <p:cNvSpPr>
              <a:spLocks noChangeAspect="1" noChangeArrowheads="1" noTextEdit="1"/>
            </p:cNvSpPr>
            <p:nvPr/>
          </p:nvSpPr>
          <p:spPr bwMode="auto">
            <a:xfrm>
              <a:off x="1109933" y="1822724"/>
              <a:ext cx="1649421" cy="16494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26" name="Group 25">
              <a:extLst>
                <a:ext uri="{FF2B5EF4-FFF2-40B4-BE49-F238E27FC236}">
                  <a16:creationId xmlns:a16="http://schemas.microsoft.com/office/drawing/2014/main" id="{1CFA29A3-33C2-AEAF-C236-04117C29D92F}"/>
                </a:ext>
              </a:extLst>
            </p:cNvPr>
            <p:cNvGrpSpPr/>
            <p:nvPr/>
          </p:nvGrpSpPr>
          <p:grpSpPr>
            <a:xfrm>
              <a:off x="1323199" y="2204914"/>
              <a:ext cx="1221983" cy="879309"/>
              <a:chOff x="1323199" y="2204914"/>
              <a:chExt cx="1221983" cy="879309"/>
            </a:xfrm>
          </p:grpSpPr>
          <p:sp>
            <p:nvSpPr>
              <p:cNvPr id="27" name="Freeform 70">
                <a:extLst>
                  <a:ext uri="{FF2B5EF4-FFF2-40B4-BE49-F238E27FC236}">
                    <a16:creationId xmlns:a16="http://schemas.microsoft.com/office/drawing/2014/main" id="{9C36226C-76DB-2B31-C163-972941911C99}"/>
                  </a:ext>
                </a:extLst>
              </p:cNvPr>
              <p:cNvSpPr>
                <a:spLocks noEditPoints="1"/>
              </p:cNvSpPr>
              <p:nvPr/>
            </p:nvSpPr>
            <p:spPr bwMode="auto">
              <a:xfrm>
                <a:off x="1323199" y="2204914"/>
                <a:ext cx="1221983" cy="879309"/>
              </a:xfrm>
              <a:custGeom>
                <a:avLst/>
                <a:gdLst>
                  <a:gd name="T0" fmla="*/ 503 w 1707"/>
                  <a:gd name="T1" fmla="*/ 599 h 1228"/>
                  <a:gd name="T2" fmla="*/ 449 w 1707"/>
                  <a:gd name="T3" fmla="*/ 585 h 1228"/>
                  <a:gd name="T4" fmla="*/ 471 w 1707"/>
                  <a:gd name="T5" fmla="*/ 660 h 1228"/>
                  <a:gd name="T6" fmla="*/ 360 w 1707"/>
                  <a:gd name="T7" fmla="*/ 428 h 1228"/>
                  <a:gd name="T8" fmla="*/ 387 w 1707"/>
                  <a:gd name="T9" fmla="*/ 394 h 1228"/>
                  <a:gd name="T10" fmla="*/ 395 w 1707"/>
                  <a:gd name="T11" fmla="*/ 344 h 1228"/>
                  <a:gd name="T12" fmla="*/ 1445 w 1707"/>
                  <a:gd name="T13" fmla="*/ 0 h 1228"/>
                  <a:gd name="T14" fmla="*/ 429 w 1707"/>
                  <a:gd name="T15" fmla="*/ 161 h 1228"/>
                  <a:gd name="T16" fmla="*/ 440 w 1707"/>
                  <a:gd name="T17" fmla="*/ 196 h 1228"/>
                  <a:gd name="T18" fmla="*/ 449 w 1707"/>
                  <a:gd name="T19" fmla="*/ 174 h 1228"/>
                  <a:gd name="T20" fmla="*/ 457 w 1707"/>
                  <a:gd name="T21" fmla="*/ 158 h 1228"/>
                  <a:gd name="T22" fmla="*/ 465 w 1707"/>
                  <a:gd name="T23" fmla="*/ 143 h 1228"/>
                  <a:gd name="T24" fmla="*/ 473 w 1707"/>
                  <a:gd name="T25" fmla="*/ 129 h 1228"/>
                  <a:gd name="T26" fmla="*/ 575 w 1707"/>
                  <a:gd name="T27" fmla="*/ 37 h 1228"/>
                  <a:gd name="T28" fmla="*/ 589 w 1707"/>
                  <a:gd name="T29" fmla="*/ 34 h 1228"/>
                  <a:gd name="T30" fmla="*/ 1454 w 1707"/>
                  <a:gd name="T31" fmla="*/ 35 h 1228"/>
                  <a:gd name="T32" fmla="*/ 1466 w 1707"/>
                  <a:gd name="T33" fmla="*/ 37 h 1228"/>
                  <a:gd name="T34" fmla="*/ 1478 w 1707"/>
                  <a:gd name="T35" fmla="*/ 40 h 1228"/>
                  <a:gd name="T36" fmla="*/ 1488 w 1707"/>
                  <a:gd name="T37" fmla="*/ 46 h 1228"/>
                  <a:gd name="T38" fmla="*/ 1499 w 1707"/>
                  <a:gd name="T39" fmla="*/ 52 h 1228"/>
                  <a:gd name="T40" fmla="*/ 1513 w 1707"/>
                  <a:gd name="T41" fmla="*/ 62 h 1228"/>
                  <a:gd name="T42" fmla="*/ 1596 w 1707"/>
                  <a:gd name="T43" fmla="*/ 187 h 1228"/>
                  <a:gd name="T44" fmla="*/ 1607 w 1707"/>
                  <a:gd name="T45" fmla="*/ 216 h 1228"/>
                  <a:gd name="T46" fmla="*/ 1608 w 1707"/>
                  <a:gd name="T47" fmla="*/ 1011 h 1228"/>
                  <a:gd name="T48" fmla="*/ 1600 w 1707"/>
                  <a:gd name="T49" fmla="*/ 1031 h 1228"/>
                  <a:gd name="T50" fmla="*/ 1514 w 1707"/>
                  <a:gd name="T51" fmla="*/ 1164 h 1228"/>
                  <a:gd name="T52" fmla="*/ 1504 w 1707"/>
                  <a:gd name="T53" fmla="*/ 1173 h 1228"/>
                  <a:gd name="T54" fmla="*/ 1491 w 1707"/>
                  <a:gd name="T55" fmla="*/ 1181 h 1228"/>
                  <a:gd name="T56" fmla="*/ 1479 w 1707"/>
                  <a:gd name="T57" fmla="*/ 1187 h 1228"/>
                  <a:gd name="T58" fmla="*/ 1468 w 1707"/>
                  <a:gd name="T59" fmla="*/ 1190 h 1228"/>
                  <a:gd name="T60" fmla="*/ 1456 w 1707"/>
                  <a:gd name="T61" fmla="*/ 1193 h 1228"/>
                  <a:gd name="T62" fmla="*/ 1443 w 1707"/>
                  <a:gd name="T63" fmla="*/ 1194 h 1228"/>
                  <a:gd name="T64" fmla="*/ 1434 w 1707"/>
                  <a:gd name="T65" fmla="*/ 1193 h 1228"/>
                  <a:gd name="T66" fmla="*/ 599 w 1707"/>
                  <a:gd name="T67" fmla="*/ 1194 h 1228"/>
                  <a:gd name="T68" fmla="*/ 587 w 1707"/>
                  <a:gd name="T69" fmla="*/ 1193 h 1228"/>
                  <a:gd name="T70" fmla="*/ 574 w 1707"/>
                  <a:gd name="T71" fmla="*/ 1191 h 1228"/>
                  <a:gd name="T72" fmla="*/ 563 w 1707"/>
                  <a:gd name="T73" fmla="*/ 1188 h 1228"/>
                  <a:gd name="T74" fmla="*/ 552 w 1707"/>
                  <a:gd name="T75" fmla="*/ 1182 h 1228"/>
                  <a:gd name="T76" fmla="*/ 541 w 1707"/>
                  <a:gd name="T77" fmla="*/ 1176 h 1228"/>
                  <a:gd name="T78" fmla="*/ 528 w 1707"/>
                  <a:gd name="T79" fmla="*/ 1166 h 1228"/>
                  <a:gd name="T80" fmla="*/ 596 w 1707"/>
                  <a:gd name="T81" fmla="*/ 1228 h 1228"/>
                  <a:gd name="T82" fmla="*/ 1707 w 1707"/>
                  <a:gd name="T83" fmla="*/ 614 h 1228"/>
                  <a:gd name="T84" fmla="*/ 451 w 1707"/>
                  <a:gd name="T85" fmla="*/ 423 h 1228"/>
                  <a:gd name="T86" fmla="*/ 535 w 1707"/>
                  <a:gd name="T87" fmla="*/ 409 h 1228"/>
                  <a:gd name="T88" fmla="*/ 639 w 1707"/>
                  <a:gd name="T89" fmla="*/ 522 h 1228"/>
                  <a:gd name="T90" fmla="*/ 684 w 1707"/>
                  <a:gd name="T91" fmla="*/ 664 h 1228"/>
                  <a:gd name="T92" fmla="*/ 631 w 1707"/>
                  <a:gd name="T93" fmla="*/ 772 h 1228"/>
                  <a:gd name="T94" fmla="*/ 577 w 1707"/>
                  <a:gd name="T95" fmla="*/ 813 h 1228"/>
                  <a:gd name="T96" fmla="*/ 471 w 1707"/>
                  <a:gd name="T97" fmla="*/ 817 h 1228"/>
                  <a:gd name="T98" fmla="*/ 488 w 1707"/>
                  <a:gd name="T99" fmla="*/ 1013 h 1228"/>
                  <a:gd name="T100" fmla="*/ 808 w 1707"/>
                  <a:gd name="T101" fmla="*/ 614 h 1228"/>
                  <a:gd name="T102" fmla="*/ 362 w 1707"/>
                  <a:gd name="T103" fmla="*/ 894 h 1228"/>
                  <a:gd name="T104" fmla="*/ 345 w 1707"/>
                  <a:gd name="T105" fmla="*/ 800 h 1228"/>
                  <a:gd name="T106" fmla="*/ 226 w 1707"/>
                  <a:gd name="T107" fmla="*/ 1169 h 1228"/>
                  <a:gd name="T108" fmla="*/ 79 w 1707"/>
                  <a:gd name="T109" fmla="*/ 793 h 1228"/>
                  <a:gd name="T110" fmla="*/ 98 w 1707"/>
                  <a:gd name="T111" fmla="*/ 926 h 1228"/>
                  <a:gd name="T112" fmla="*/ 0 w 1707"/>
                  <a:gd name="T113" fmla="*/ 370 h 1228"/>
                  <a:gd name="T114" fmla="*/ 79 w 1707"/>
                  <a:gd name="T115" fmla="*/ 410 h 1228"/>
                  <a:gd name="T116" fmla="*/ 79 w 1707"/>
                  <a:gd name="T117" fmla="*/ 410 h 1228"/>
                  <a:gd name="T118" fmla="*/ 305 w 1707"/>
                  <a:gd name="T119" fmla="*/ 146 h 1228"/>
                  <a:gd name="T120" fmla="*/ 226 w 1707"/>
                  <a:gd name="T121" fmla="*/ 107 h 1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707" h="1228">
                    <a:moveTo>
                      <a:pt x="471" y="660"/>
                    </a:moveTo>
                    <a:cubicBezTo>
                      <a:pt x="477" y="660"/>
                      <a:pt x="483" y="658"/>
                      <a:pt x="489" y="655"/>
                    </a:cubicBezTo>
                    <a:cubicBezTo>
                      <a:pt x="489" y="655"/>
                      <a:pt x="489" y="655"/>
                      <a:pt x="489" y="655"/>
                    </a:cubicBezTo>
                    <a:cubicBezTo>
                      <a:pt x="508" y="644"/>
                      <a:pt x="514" y="619"/>
                      <a:pt x="503" y="599"/>
                    </a:cubicBezTo>
                    <a:cubicBezTo>
                      <a:pt x="496" y="587"/>
                      <a:pt x="483" y="580"/>
                      <a:pt x="469" y="580"/>
                    </a:cubicBezTo>
                    <a:cubicBezTo>
                      <a:pt x="467" y="580"/>
                      <a:pt x="466" y="580"/>
                      <a:pt x="464" y="580"/>
                    </a:cubicBezTo>
                    <a:cubicBezTo>
                      <a:pt x="463" y="580"/>
                      <a:pt x="463" y="580"/>
                      <a:pt x="463" y="580"/>
                    </a:cubicBezTo>
                    <a:cubicBezTo>
                      <a:pt x="461" y="580"/>
                      <a:pt x="456" y="581"/>
                      <a:pt x="449" y="585"/>
                    </a:cubicBezTo>
                    <a:cubicBezTo>
                      <a:pt x="441" y="590"/>
                      <a:pt x="435" y="598"/>
                      <a:pt x="432" y="608"/>
                    </a:cubicBezTo>
                    <a:cubicBezTo>
                      <a:pt x="429" y="619"/>
                      <a:pt x="431" y="630"/>
                      <a:pt x="436" y="639"/>
                    </a:cubicBezTo>
                    <a:cubicBezTo>
                      <a:pt x="437" y="640"/>
                      <a:pt x="437" y="640"/>
                      <a:pt x="437" y="640"/>
                    </a:cubicBezTo>
                    <a:cubicBezTo>
                      <a:pt x="444" y="652"/>
                      <a:pt x="457" y="660"/>
                      <a:pt x="471" y="660"/>
                    </a:cubicBezTo>
                    <a:close/>
                    <a:moveTo>
                      <a:pt x="362" y="333"/>
                    </a:moveTo>
                    <a:cubicBezTo>
                      <a:pt x="355" y="367"/>
                      <a:pt x="349" y="403"/>
                      <a:pt x="344" y="439"/>
                    </a:cubicBezTo>
                    <a:cubicBezTo>
                      <a:pt x="349" y="435"/>
                      <a:pt x="354" y="432"/>
                      <a:pt x="359" y="429"/>
                    </a:cubicBezTo>
                    <a:cubicBezTo>
                      <a:pt x="360" y="428"/>
                      <a:pt x="360" y="428"/>
                      <a:pt x="360" y="428"/>
                    </a:cubicBezTo>
                    <a:cubicBezTo>
                      <a:pt x="362" y="427"/>
                      <a:pt x="362" y="427"/>
                      <a:pt x="362" y="427"/>
                    </a:cubicBezTo>
                    <a:cubicBezTo>
                      <a:pt x="369" y="423"/>
                      <a:pt x="376" y="420"/>
                      <a:pt x="383" y="417"/>
                    </a:cubicBezTo>
                    <a:cubicBezTo>
                      <a:pt x="384" y="410"/>
                      <a:pt x="385" y="403"/>
                      <a:pt x="387" y="397"/>
                    </a:cubicBezTo>
                    <a:cubicBezTo>
                      <a:pt x="387" y="394"/>
                      <a:pt x="387" y="394"/>
                      <a:pt x="387" y="394"/>
                    </a:cubicBezTo>
                    <a:cubicBezTo>
                      <a:pt x="387" y="386"/>
                      <a:pt x="389" y="379"/>
                      <a:pt x="391" y="371"/>
                    </a:cubicBezTo>
                    <a:cubicBezTo>
                      <a:pt x="391" y="370"/>
                      <a:pt x="391" y="370"/>
                      <a:pt x="391" y="369"/>
                    </a:cubicBezTo>
                    <a:cubicBezTo>
                      <a:pt x="393" y="361"/>
                      <a:pt x="394" y="354"/>
                      <a:pt x="395" y="345"/>
                    </a:cubicBezTo>
                    <a:cubicBezTo>
                      <a:pt x="395" y="345"/>
                      <a:pt x="395" y="345"/>
                      <a:pt x="395" y="344"/>
                    </a:cubicBezTo>
                    <a:cubicBezTo>
                      <a:pt x="397" y="338"/>
                      <a:pt x="398" y="331"/>
                      <a:pt x="400" y="325"/>
                    </a:cubicBezTo>
                    <a:cubicBezTo>
                      <a:pt x="391" y="330"/>
                      <a:pt x="381" y="334"/>
                      <a:pt x="370" y="334"/>
                    </a:cubicBezTo>
                    <a:cubicBezTo>
                      <a:pt x="367" y="334"/>
                      <a:pt x="364" y="333"/>
                      <a:pt x="362" y="333"/>
                    </a:cubicBezTo>
                    <a:close/>
                    <a:moveTo>
                      <a:pt x="1445" y="0"/>
                    </a:moveTo>
                    <a:cubicBezTo>
                      <a:pt x="583" y="0"/>
                      <a:pt x="583" y="0"/>
                      <a:pt x="583" y="0"/>
                    </a:cubicBezTo>
                    <a:cubicBezTo>
                      <a:pt x="580" y="0"/>
                      <a:pt x="577" y="1"/>
                      <a:pt x="575" y="2"/>
                    </a:cubicBezTo>
                    <a:cubicBezTo>
                      <a:pt x="519" y="11"/>
                      <a:pt x="468" y="61"/>
                      <a:pt x="426" y="143"/>
                    </a:cubicBezTo>
                    <a:cubicBezTo>
                      <a:pt x="428" y="149"/>
                      <a:pt x="429" y="155"/>
                      <a:pt x="429" y="161"/>
                    </a:cubicBezTo>
                    <a:cubicBezTo>
                      <a:pt x="429" y="226"/>
                      <a:pt x="429" y="226"/>
                      <a:pt x="429" y="226"/>
                    </a:cubicBezTo>
                    <a:cubicBezTo>
                      <a:pt x="431" y="220"/>
                      <a:pt x="433" y="214"/>
                      <a:pt x="435" y="208"/>
                    </a:cubicBezTo>
                    <a:cubicBezTo>
                      <a:pt x="437" y="204"/>
                      <a:pt x="438" y="202"/>
                      <a:pt x="439" y="198"/>
                    </a:cubicBezTo>
                    <a:cubicBezTo>
                      <a:pt x="439" y="197"/>
                      <a:pt x="439" y="197"/>
                      <a:pt x="440" y="196"/>
                    </a:cubicBezTo>
                    <a:cubicBezTo>
                      <a:pt x="441" y="194"/>
                      <a:pt x="442" y="191"/>
                      <a:pt x="443" y="189"/>
                    </a:cubicBezTo>
                    <a:cubicBezTo>
                      <a:pt x="444" y="187"/>
                      <a:pt x="445" y="186"/>
                      <a:pt x="445" y="185"/>
                    </a:cubicBezTo>
                    <a:cubicBezTo>
                      <a:pt x="446" y="183"/>
                      <a:pt x="446" y="181"/>
                      <a:pt x="447" y="180"/>
                    </a:cubicBezTo>
                    <a:cubicBezTo>
                      <a:pt x="447" y="178"/>
                      <a:pt x="448" y="177"/>
                      <a:pt x="449" y="174"/>
                    </a:cubicBezTo>
                    <a:cubicBezTo>
                      <a:pt x="450" y="173"/>
                      <a:pt x="451" y="172"/>
                      <a:pt x="451" y="171"/>
                    </a:cubicBezTo>
                    <a:cubicBezTo>
                      <a:pt x="452" y="169"/>
                      <a:pt x="453" y="168"/>
                      <a:pt x="454" y="166"/>
                    </a:cubicBezTo>
                    <a:cubicBezTo>
                      <a:pt x="455" y="165"/>
                      <a:pt x="455" y="164"/>
                      <a:pt x="455" y="162"/>
                    </a:cubicBezTo>
                    <a:cubicBezTo>
                      <a:pt x="456" y="161"/>
                      <a:pt x="457" y="160"/>
                      <a:pt x="457" y="158"/>
                    </a:cubicBezTo>
                    <a:cubicBezTo>
                      <a:pt x="458" y="157"/>
                      <a:pt x="459" y="155"/>
                      <a:pt x="459" y="154"/>
                    </a:cubicBezTo>
                    <a:cubicBezTo>
                      <a:pt x="460" y="152"/>
                      <a:pt x="461" y="151"/>
                      <a:pt x="462" y="150"/>
                    </a:cubicBezTo>
                    <a:cubicBezTo>
                      <a:pt x="463" y="149"/>
                      <a:pt x="463" y="147"/>
                      <a:pt x="463" y="146"/>
                    </a:cubicBezTo>
                    <a:cubicBezTo>
                      <a:pt x="464" y="145"/>
                      <a:pt x="465" y="143"/>
                      <a:pt x="465" y="143"/>
                    </a:cubicBezTo>
                    <a:cubicBezTo>
                      <a:pt x="466" y="141"/>
                      <a:pt x="467" y="140"/>
                      <a:pt x="468" y="138"/>
                    </a:cubicBezTo>
                    <a:cubicBezTo>
                      <a:pt x="469" y="137"/>
                      <a:pt x="469" y="136"/>
                      <a:pt x="470" y="135"/>
                    </a:cubicBezTo>
                    <a:cubicBezTo>
                      <a:pt x="471" y="134"/>
                      <a:pt x="472" y="133"/>
                      <a:pt x="472" y="131"/>
                    </a:cubicBezTo>
                    <a:cubicBezTo>
                      <a:pt x="472" y="130"/>
                      <a:pt x="473" y="129"/>
                      <a:pt x="473" y="129"/>
                    </a:cubicBezTo>
                    <a:cubicBezTo>
                      <a:pt x="474" y="127"/>
                      <a:pt x="476" y="125"/>
                      <a:pt x="477" y="124"/>
                    </a:cubicBezTo>
                    <a:cubicBezTo>
                      <a:pt x="477" y="123"/>
                      <a:pt x="477" y="123"/>
                      <a:pt x="478" y="122"/>
                    </a:cubicBezTo>
                    <a:cubicBezTo>
                      <a:pt x="479" y="120"/>
                      <a:pt x="480" y="118"/>
                      <a:pt x="481" y="116"/>
                    </a:cubicBezTo>
                    <a:cubicBezTo>
                      <a:pt x="510" y="72"/>
                      <a:pt x="542" y="45"/>
                      <a:pt x="575" y="37"/>
                    </a:cubicBezTo>
                    <a:cubicBezTo>
                      <a:pt x="576" y="37"/>
                      <a:pt x="578" y="37"/>
                      <a:pt x="579" y="36"/>
                    </a:cubicBezTo>
                    <a:cubicBezTo>
                      <a:pt x="580" y="36"/>
                      <a:pt x="580" y="36"/>
                      <a:pt x="581" y="36"/>
                    </a:cubicBezTo>
                    <a:cubicBezTo>
                      <a:pt x="582" y="36"/>
                      <a:pt x="583" y="35"/>
                      <a:pt x="585" y="35"/>
                    </a:cubicBezTo>
                    <a:cubicBezTo>
                      <a:pt x="586" y="34"/>
                      <a:pt x="587" y="34"/>
                      <a:pt x="589" y="34"/>
                    </a:cubicBezTo>
                    <a:cubicBezTo>
                      <a:pt x="595" y="34"/>
                      <a:pt x="595" y="34"/>
                      <a:pt x="595" y="34"/>
                    </a:cubicBezTo>
                    <a:cubicBezTo>
                      <a:pt x="1437" y="34"/>
                      <a:pt x="1445" y="34"/>
                      <a:pt x="1445" y="34"/>
                    </a:cubicBezTo>
                    <a:cubicBezTo>
                      <a:pt x="1451" y="34"/>
                      <a:pt x="1451" y="34"/>
                      <a:pt x="1451" y="34"/>
                    </a:cubicBezTo>
                    <a:cubicBezTo>
                      <a:pt x="1452" y="35"/>
                      <a:pt x="1453" y="35"/>
                      <a:pt x="1454" y="35"/>
                    </a:cubicBezTo>
                    <a:cubicBezTo>
                      <a:pt x="1456" y="35"/>
                      <a:pt x="1456" y="35"/>
                      <a:pt x="1456" y="35"/>
                    </a:cubicBezTo>
                    <a:cubicBezTo>
                      <a:pt x="1457" y="35"/>
                      <a:pt x="1459" y="36"/>
                      <a:pt x="1460" y="36"/>
                    </a:cubicBezTo>
                    <a:cubicBezTo>
                      <a:pt x="1461" y="36"/>
                      <a:pt x="1462" y="36"/>
                      <a:pt x="1462" y="36"/>
                    </a:cubicBezTo>
                    <a:cubicBezTo>
                      <a:pt x="1463" y="37"/>
                      <a:pt x="1464" y="37"/>
                      <a:pt x="1466" y="37"/>
                    </a:cubicBezTo>
                    <a:cubicBezTo>
                      <a:pt x="1467" y="37"/>
                      <a:pt x="1467" y="37"/>
                      <a:pt x="1468" y="37"/>
                    </a:cubicBezTo>
                    <a:cubicBezTo>
                      <a:pt x="1469" y="37"/>
                      <a:pt x="1471" y="38"/>
                      <a:pt x="1471" y="38"/>
                    </a:cubicBezTo>
                    <a:cubicBezTo>
                      <a:pt x="1472" y="38"/>
                      <a:pt x="1473" y="39"/>
                      <a:pt x="1473" y="39"/>
                    </a:cubicBezTo>
                    <a:cubicBezTo>
                      <a:pt x="1475" y="39"/>
                      <a:pt x="1476" y="40"/>
                      <a:pt x="1478" y="40"/>
                    </a:cubicBezTo>
                    <a:cubicBezTo>
                      <a:pt x="1478" y="41"/>
                      <a:pt x="1479" y="41"/>
                      <a:pt x="1479" y="41"/>
                    </a:cubicBezTo>
                    <a:cubicBezTo>
                      <a:pt x="1480" y="42"/>
                      <a:pt x="1481" y="42"/>
                      <a:pt x="1483" y="43"/>
                    </a:cubicBezTo>
                    <a:cubicBezTo>
                      <a:pt x="1484" y="43"/>
                      <a:pt x="1484" y="44"/>
                      <a:pt x="1485" y="44"/>
                    </a:cubicBezTo>
                    <a:cubicBezTo>
                      <a:pt x="1486" y="45"/>
                      <a:pt x="1488" y="45"/>
                      <a:pt x="1488" y="46"/>
                    </a:cubicBezTo>
                    <a:cubicBezTo>
                      <a:pt x="1489" y="46"/>
                      <a:pt x="1490" y="46"/>
                      <a:pt x="1491" y="46"/>
                    </a:cubicBezTo>
                    <a:cubicBezTo>
                      <a:pt x="1492" y="47"/>
                      <a:pt x="1493" y="48"/>
                      <a:pt x="1494" y="48"/>
                    </a:cubicBezTo>
                    <a:cubicBezTo>
                      <a:pt x="1495" y="49"/>
                      <a:pt x="1496" y="50"/>
                      <a:pt x="1496" y="50"/>
                    </a:cubicBezTo>
                    <a:cubicBezTo>
                      <a:pt x="1497" y="51"/>
                      <a:pt x="1498" y="51"/>
                      <a:pt x="1499" y="52"/>
                    </a:cubicBezTo>
                    <a:cubicBezTo>
                      <a:pt x="1500" y="53"/>
                      <a:pt x="1502" y="54"/>
                      <a:pt x="1504" y="55"/>
                    </a:cubicBezTo>
                    <a:cubicBezTo>
                      <a:pt x="1504" y="55"/>
                      <a:pt x="1504" y="55"/>
                      <a:pt x="1504" y="55"/>
                    </a:cubicBezTo>
                    <a:cubicBezTo>
                      <a:pt x="1506" y="56"/>
                      <a:pt x="1508" y="58"/>
                      <a:pt x="1510" y="60"/>
                    </a:cubicBezTo>
                    <a:cubicBezTo>
                      <a:pt x="1511" y="60"/>
                      <a:pt x="1512" y="61"/>
                      <a:pt x="1513" y="62"/>
                    </a:cubicBezTo>
                    <a:cubicBezTo>
                      <a:pt x="1513" y="63"/>
                      <a:pt x="1513" y="63"/>
                      <a:pt x="1514" y="63"/>
                    </a:cubicBezTo>
                    <a:cubicBezTo>
                      <a:pt x="1543" y="89"/>
                      <a:pt x="1570" y="128"/>
                      <a:pt x="1592" y="179"/>
                    </a:cubicBezTo>
                    <a:cubicBezTo>
                      <a:pt x="1593" y="180"/>
                      <a:pt x="1593" y="181"/>
                      <a:pt x="1594" y="182"/>
                    </a:cubicBezTo>
                    <a:cubicBezTo>
                      <a:pt x="1595" y="184"/>
                      <a:pt x="1596" y="186"/>
                      <a:pt x="1596" y="187"/>
                    </a:cubicBezTo>
                    <a:cubicBezTo>
                      <a:pt x="1598" y="190"/>
                      <a:pt x="1599" y="194"/>
                      <a:pt x="1600" y="197"/>
                    </a:cubicBezTo>
                    <a:cubicBezTo>
                      <a:pt x="1601" y="200"/>
                      <a:pt x="1602" y="203"/>
                      <a:pt x="1604" y="205"/>
                    </a:cubicBezTo>
                    <a:cubicBezTo>
                      <a:pt x="1604" y="206"/>
                      <a:pt x="1604" y="206"/>
                      <a:pt x="1604" y="206"/>
                    </a:cubicBezTo>
                    <a:cubicBezTo>
                      <a:pt x="1606" y="210"/>
                      <a:pt x="1607" y="213"/>
                      <a:pt x="1607" y="216"/>
                    </a:cubicBezTo>
                    <a:cubicBezTo>
                      <a:pt x="1608" y="217"/>
                      <a:pt x="1608" y="217"/>
                      <a:pt x="1608" y="217"/>
                    </a:cubicBezTo>
                    <a:cubicBezTo>
                      <a:pt x="1646" y="318"/>
                      <a:pt x="1669" y="453"/>
                      <a:pt x="1671" y="600"/>
                    </a:cubicBezTo>
                    <a:cubicBezTo>
                      <a:pt x="1671" y="628"/>
                      <a:pt x="1671" y="628"/>
                      <a:pt x="1671" y="628"/>
                    </a:cubicBezTo>
                    <a:cubicBezTo>
                      <a:pt x="1669" y="775"/>
                      <a:pt x="1646" y="909"/>
                      <a:pt x="1608" y="1011"/>
                    </a:cubicBezTo>
                    <a:cubicBezTo>
                      <a:pt x="1608" y="1011"/>
                      <a:pt x="1608" y="1011"/>
                      <a:pt x="1607" y="1012"/>
                    </a:cubicBezTo>
                    <a:cubicBezTo>
                      <a:pt x="1607" y="1014"/>
                      <a:pt x="1606" y="1018"/>
                      <a:pt x="1604" y="1022"/>
                    </a:cubicBezTo>
                    <a:cubicBezTo>
                      <a:pt x="1604" y="1022"/>
                      <a:pt x="1604" y="1022"/>
                      <a:pt x="1603" y="1023"/>
                    </a:cubicBezTo>
                    <a:cubicBezTo>
                      <a:pt x="1602" y="1026"/>
                      <a:pt x="1601" y="1028"/>
                      <a:pt x="1600" y="1031"/>
                    </a:cubicBezTo>
                    <a:cubicBezTo>
                      <a:pt x="1599" y="1034"/>
                      <a:pt x="1598" y="1038"/>
                      <a:pt x="1596" y="1040"/>
                    </a:cubicBezTo>
                    <a:cubicBezTo>
                      <a:pt x="1596" y="1042"/>
                      <a:pt x="1595" y="1044"/>
                      <a:pt x="1594" y="1046"/>
                    </a:cubicBezTo>
                    <a:cubicBezTo>
                      <a:pt x="1593" y="1047"/>
                      <a:pt x="1593" y="1048"/>
                      <a:pt x="1592" y="1049"/>
                    </a:cubicBezTo>
                    <a:cubicBezTo>
                      <a:pt x="1570" y="1100"/>
                      <a:pt x="1543" y="1139"/>
                      <a:pt x="1514" y="1164"/>
                    </a:cubicBezTo>
                    <a:cubicBezTo>
                      <a:pt x="1513" y="1165"/>
                      <a:pt x="1513" y="1165"/>
                      <a:pt x="1513" y="1166"/>
                    </a:cubicBezTo>
                    <a:cubicBezTo>
                      <a:pt x="1512" y="1167"/>
                      <a:pt x="1511" y="1168"/>
                      <a:pt x="1510" y="1168"/>
                    </a:cubicBezTo>
                    <a:cubicBezTo>
                      <a:pt x="1508" y="1170"/>
                      <a:pt x="1506" y="1172"/>
                      <a:pt x="1504" y="1172"/>
                    </a:cubicBezTo>
                    <a:cubicBezTo>
                      <a:pt x="1504" y="1173"/>
                      <a:pt x="1504" y="1173"/>
                      <a:pt x="1504" y="1173"/>
                    </a:cubicBezTo>
                    <a:cubicBezTo>
                      <a:pt x="1502" y="1174"/>
                      <a:pt x="1500" y="1175"/>
                      <a:pt x="1499" y="1176"/>
                    </a:cubicBezTo>
                    <a:cubicBezTo>
                      <a:pt x="1498" y="1177"/>
                      <a:pt x="1497" y="1177"/>
                      <a:pt x="1496" y="1178"/>
                    </a:cubicBezTo>
                    <a:cubicBezTo>
                      <a:pt x="1496" y="1178"/>
                      <a:pt x="1495" y="1179"/>
                      <a:pt x="1494" y="1180"/>
                    </a:cubicBezTo>
                    <a:cubicBezTo>
                      <a:pt x="1493" y="1180"/>
                      <a:pt x="1492" y="1181"/>
                      <a:pt x="1491" y="1181"/>
                    </a:cubicBezTo>
                    <a:cubicBezTo>
                      <a:pt x="1490" y="1181"/>
                      <a:pt x="1489" y="1182"/>
                      <a:pt x="1488" y="1182"/>
                    </a:cubicBezTo>
                    <a:cubicBezTo>
                      <a:pt x="1488" y="1183"/>
                      <a:pt x="1486" y="1183"/>
                      <a:pt x="1485" y="1184"/>
                    </a:cubicBezTo>
                    <a:cubicBezTo>
                      <a:pt x="1484" y="1184"/>
                      <a:pt x="1484" y="1185"/>
                      <a:pt x="1483" y="1185"/>
                    </a:cubicBezTo>
                    <a:cubicBezTo>
                      <a:pt x="1481" y="1186"/>
                      <a:pt x="1480" y="1186"/>
                      <a:pt x="1479" y="1187"/>
                    </a:cubicBezTo>
                    <a:cubicBezTo>
                      <a:pt x="1479" y="1187"/>
                      <a:pt x="1478" y="1187"/>
                      <a:pt x="1478" y="1188"/>
                    </a:cubicBezTo>
                    <a:cubicBezTo>
                      <a:pt x="1476" y="1188"/>
                      <a:pt x="1475" y="1189"/>
                      <a:pt x="1473" y="1189"/>
                    </a:cubicBezTo>
                    <a:cubicBezTo>
                      <a:pt x="1473" y="1189"/>
                      <a:pt x="1472" y="1190"/>
                      <a:pt x="1471" y="1190"/>
                    </a:cubicBezTo>
                    <a:cubicBezTo>
                      <a:pt x="1471" y="1190"/>
                      <a:pt x="1469" y="1190"/>
                      <a:pt x="1468" y="1190"/>
                    </a:cubicBezTo>
                    <a:cubicBezTo>
                      <a:pt x="1467" y="1190"/>
                      <a:pt x="1467" y="1191"/>
                      <a:pt x="1466" y="1191"/>
                    </a:cubicBezTo>
                    <a:cubicBezTo>
                      <a:pt x="1464" y="1191"/>
                      <a:pt x="1463" y="1191"/>
                      <a:pt x="1462" y="1192"/>
                    </a:cubicBezTo>
                    <a:cubicBezTo>
                      <a:pt x="1462" y="1192"/>
                      <a:pt x="1461" y="1192"/>
                      <a:pt x="1460" y="1192"/>
                    </a:cubicBezTo>
                    <a:cubicBezTo>
                      <a:pt x="1459" y="1192"/>
                      <a:pt x="1457" y="1193"/>
                      <a:pt x="1456" y="1193"/>
                    </a:cubicBezTo>
                    <a:cubicBezTo>
                      <a:pt x="1454" y="1193"/>
                      <a:pt x="1454" y="1193"/>
                      <a:pt x="1454" y="1193"/>
                    </a:cubicBezTo>
                    <a:cubicBezTo>
                      <a:pt x="1453" y="1193"/>
                      <a:pt x="1452" y="1193"/>
                      <a:pt x="1451" y="1194"/>
                    </a:cubicBezTo>
                    <a:cubicBezTo>
                      <a:pt x="1445" y="1194"/>
                      <a:pt x="1445" y="1194"/>
                      <a:pt x="1445" y="1194"/>
                    </a:cubicBezTo>
                    <a:cubicBezTo>
                      <a:pt x="1444" y="1194"/>
                      <a:pt x="1444" y="1194"/>
                      <a:pt x="1443" y="1194"/>
                    </a:cubicBezTo>
                    <a:cubicBezTo>
                      <a:pt x="1442" y="1194"/>
                      <a:pt x="1442" y="1194"/>
                      <a:pt x="1442" y="1194"/>
                    </a:cubicBezTo>
                    <a:cubicBezTo>
                      <a:pt x="1441" y="1194"/>
                      <a:pt x="1441" y="1194"/>
                      <a:pt x="1441" y="1194"/>
                    </a:cubicBezTo>
                    <a:cubicBezTo>
                      <a:pt x="1437" y="1194"/>
                      <a:pt x="1437" y="1194"/>
                      <a:pt x="1437" y="1194"/>
                    </a:cubicBezTo>
                    <a:cubicBezTo>
                      <a:pt x="1434" y="1193"/>
                      <a:pt x="1434" y="1193"/>
                      <a:pt x="1434" y="1193"/>
                    </a:cubicBezTo>
                    <a:cubicBezTo>
                      <a:pt x="607" y="1193"/>
                      <a:pt x="607" y="1193"/>
                      <a:pt x="607" y="1193"/>
                    </a:cubicBezTo>
                    <a:cubicBezTo>
                      <a:pt x="604" y="1194"/>
                      <a:pt x="604" y="1194"/>
                      <a:pt x="604" y="1194"/>
                    </a:cubicBezTo>
                    <a:cubicBezTo>
                      <a:pt x="600" y="1194"/>
                      <a:pt x="600" y="1194"/>
                      <a:pt x="600" y="1194"/>
                    </a:cubicBezTo>
                    <a:cubicBezTo>
                      <a:pt x="599" y="1194"/>
                      <a:pt x="599" y="1194"/>
                      <a:pt x="599" y="1194"/>
                    </a:cubicBezTo>
                    <a:cubicBezTo>
                      <a:pt x="599" y="1194"/>
                      <a:pt x="599" y="1194"/>
                      <a:pt x="598" y="1194"/>
                    </a:cubicBezTo>
                    <a:cubicBezTo>
                      <a:pt x="597" y="1194"/>
                      <a:pt x="597" y="1194"/>
                      <a:pt x="596" y="1194"/>
                    </a:cubicBezTo>
                    <a:cubicBezTo>
                      <a:pt x="590" y="1194"/>
                      <a:pt x="590" y="1194"/>
                      <a:pt x="590" y="1194"/>
                    </a:cubicBezTo>
                    <a:cubicBezTo>
                      <a:pt x="589" y="1193"/>
                      <a:pt x="588" y="1193"/>
                      <a:pt x="587" y="1193"/>
                    </a:cubicBezTo>
                    <a:cubicBezTo>
                      <a:pt x="584" y="1193"/>
                      <a:pt x="584" y="1193"/>
                      <a:pt x="584" y="1193"/>
                    </a:cubicBezTo>
                    <a:cubicBezTo>
                      <a:pt x="583" y="1193"/>
                      <a:pt x="582" y="1192"/>
                      <a:pt x="581" y="1192"/>
                    </a:cubicBezTo>
                    <a:cubicBezTo>
                      <a:pt x="580" y="1192"/>
                      <a:pt x="579" y="1192"/>
                      <a:pt x="579" y="1192"/>
                    </a:cubicBezTo>
                    <a:cubicBezTo>
                      <a:pt x="577" y="1191"/>
                      <a:pt x="576" y="1191"/>
                      <a:pt x="574" y="1191"/>
                    </a:cubicBezTo>
                    <a:cubicBezTo>
                      <a:pt x="574" y="1191"/>
                      <a:pt x="574" y="1190"/>
                      <a:pt x="573" y="1190"/>
                    </a:cubicBezTo>
                    <a:cubicBezTo>
                      <a:pt x="572" y="1190"/>
                      <a:pt x="570" y="1190"/>
                      <a:pt x="569" y="1190"/>
                    </a:cubicBezTo>
                    <a:cubicBezTo>
                      <a:pt x="568" y="1190"/>
                      <a:pt x="567" y="1189"/>
                      <a:pt x="567" y="1189"/>
                    </a:cubicBezTo>
                    <a:cubicBezTo>
                      <a:pt x="566" y="1189"/>
                      <a:pt x="565" y="1188"/>
                      <a:pt x="563" y="1188"/>
                    </a:cubicBezTo>
                    <a:cubicBezTo>
                      <a:pt x="563" y="1187"/>
                      <a:pt x="562" y="1187"/>
                      <a:pt x="561" y="1187"/>
                    </a:cubicBezTo>
                    <a:cubicBezTo>
                      <a:pt x="560" y="1186"/>
                      <a:pt x="559" y="1186"/>
                      <a:pt x="557" y="1185"/>
                    </a:cubicBezTo>
                    <a:cubicBezTo>
                      <a:pt x="557" y="1185"/>
                      <a:pt x="557" y="1184"/>
                      <a:pt x="556" y="1184"/>
                    </a:cubicBezTo>
                    <a:cubicBezTo>
                      <a:pt x="555" y="1183"/>
                      <a:pt x="553" y="1183"/>
                      <a:pt x="552" y="1182"/>
                    </a:cubicBezTo>
                    <a:cubicBezTo>
                      <a:pt x="551" y="1182"/>
                      <a:pt x="550" y="1181"/>
                      <a:pt x="549" y="1181"/>
                    </a:cubicBezTo>
                    <a:cubicBezTo>
                      <a:pt x="549" y="1181"/>
                      <a:pt x="548" y="1180"/>
                      <a:pt x="547" y="1180"/>
                    </a:cubicBezTo>
                    <a:cubicBezTo>
                      <a:pt x="546" y="1179"/>
                      <a:pt x="545" y="1178"/>
                      <a:pt x="544" y="1178"/>
                    </a:cubicBezTo>
                    <a:cubicBezTo>
                      <a:pt x="543" y="1177"/>
                      <a:pt x="542" y="1177"/>
                      <a:pt x="541" y="1176"/>
                    </a:cubicBezTo>
                    <a:cubicBezTo>
                      <a:pt x="540" y="1175"/>
                      <a:pt x="539" y="1174"/>
                      <a:pt x="537" y="1173"/>
                    </a:cubicBezTo>
                    <a:cubicBezTo>
                      <a:pt x="537" y="1173"/>
                      <a:pt x="537" y="1172"/>
                      <a:pt x="536" y="1172"/>
                    </a:cubicBezTo>
                    <a:cubicBezTo>
                      <a:pt x="534" y="1172"/>
                      <a:pt x="532" y="1170"/>
                      <a:pt x="531" y="1168"/>
                    </a:cubicBezTo>
                    <a:cubicBezTo>
                      <a:pt x="530" y="1168"/>
                      <a:pt x="529" y="1167"/>
                      <a:pt x="528" y="1166"/>
                    </a:cubicBezTo>
                    <a:cubicBezTo>
                      <a:pt x="528" y="1165"/>
                      <a:pt x="527" y="1165"/>
                      <a:pt x="526" y="1164"/>
                    </a:cubicBezTo>
                    <a:cubicBezTo>
                      <a:pt x="504" y="1145"/>
                      <a:pt x="483" y="1118"/>
                      <a:pt x="465" y="1083"/>
                    </a:cubicBezTo>
                    <a:cubicBezTo>
                      <a:pt x="458" y="1093"/>
                      <a:pt x="449" y="1102"/>
                      <a:pt x="439" y="1109"/>
                    </a:cubicBezTo>
                    <a:cubicBezTo>
                      <a:pt x="482" y="1184"/>
                      <a:pt x="537" y="1228"/>
                      <a:pt x="596" y="1228"/>
                    </a:cubicBezTo>
                    <a:cubicBezTo>
                      <a:pt x="600" y="1228"/>
                      <a:pt x="606" y="1228"/>
                      <a:pt x="610" y="1227"/>
                    </a:cubicBezTo>
                    <a:cubicBezTo>
                      <a:pt x="1430" y="1227"/>
                      <a:pt x="1430" y="1227"/>
                      <a:pt x="1430" y="1227"/>
                    </a:cubicBezTo>
                    <a:cubicBezTo>
                      <a:pt x="1435" y="1228"/>
                      <a:pt x="1440" y="1228"/>
                      <a:pt x="1445" y="1228"/>
                    </a:cubicBezTo>
                    <a:cubicBezTo>
                      <a:pt x="1591" y="1228"/>
                      <a:pt x="1707" y="959"/>
                      <a:pt x="1707" y="614"/>
                    </a:cubicBezTo>
                    <a:cubicBezTo>
                      <a:pt x="1707" y="269"/>
                      <a:pt x="1591" y="0"/>
                      <a:pt x="1445" y="0"/>
                    </a:cubicBezTo>
                    <a:close/>
                    <a:moveTo>
                      <a:pt x="444" y="319"/>
                    </a:moveTo>
                    <a:cubicBezTo>
                      <a:pt x="437" y="346"/>
                      <a:pt x="432" y="375"/>
                      <a:pt x="427" y="405"/>
                    </a:cubicBezTo>
                    <a:cubicBezTo>
                      <a:pt x="451" y="423"/>
                      <a:pt x="451" y="423"/>
                      <a:pt x="451" y="423"/>
                    </a:cubicBezTo>
                    <a:cubicBezTo>
                      <a:pt x="458" y="422"/>
                      <a:pt x="465" y="422"/>
                      <a:pt x="471" y="422"/>
                    </a:cubicBezTo>
                    <a:cubicBezTo>
                      <a:pt x="477" y="422"/>
                      <a:pt x="483" y="422"/>
                      <a:pt x="489" y="423"/>
                    </a:cubicBezTo>
                    <a:cubicBezTo>
                      <a:pt x="516" y="403"/>
                      <a:pt x="516" y="403"/>
                      <a:pt x="516" y="403"/>
                    </a:cubicBezTo>
                    <a:cubicBezTo>
                      <a:pt x="535" y="409"/>
                      <a:pt x="535" y="409"/>
                      <a:pt x="535" y="409"/>
                    </a:cubicBezTo>
                    <a:cubicBezTo>
                      <a:pt x="564" y="418"/>
                      <a:pt x="593" y="435"/>
                      <a:pt x="616" y="456"/>
                    </a:cubicBezTo>
                    <a:cubicBezTo>
                      <a:pt x="630" y="470"/>
                      <a:pt x="630" y="470"/>
                      <a:pt x="630" y="470"/>
                    </a:cubicBezTo>
                    <a:cubicBezTo>
                      <a:pt x="627" y="502"/>
                      <a:pt x="627" y="502"/>
                      <a:pt x="627" y="502"/>
                    </a:cubicBezTo>
                    <a:cubicBezTo>
                      <a:pt x="631" y="509"/>
                      <a:pt x="635" y="515"/>
                      <a:pt x="639" y="522"/>
                    </a:cubicBezTo>
                    <a:cubicBezTo>
                      <a:pt x="643" y="528"/>
                      <a:pt x="646" y="534"/>
                      <a:pt x="648" y="540"/>
                    </a:cubicBezTo>
                    <a:cubicBezTo>
                      <a:pt x="679" y="555"/>
                      <a:pt x="679" y="555"/>
                      <a:pt x="679" y="555"/>
                    </a:cubicBezTo>
                    <a:cubicBezTo>
                      <a:pt x="683" y="573"/>
                      <a:pt x="683" y="573"/>
                      <a:pt x="683" y="573"/>
                    </a:cubicBezTo>
                    <a:cubicBezTo>
                      <a:pt x="689" y="602"/>
                      <a:pt x="690" y="633"/>
                      <a:pt x="684" y="664"/>
                    </a:cubicBezTo>
                    <a:cubicBezTo>
                      <a:pt x="680" y="684"/>
                      <a:pt x="680" y="684"/>
                      <a:pt x="680" y="684"/>
                    </a:cubicBezTo>
                    <a:cubicBezTo>
                      <a:pt x="649" y="698"/>
                      <a:pt x="649" y="698"/>
                      <a:pt x="649" y="698"/>
                    </a:cubicBezTo>
                    <a:cubicBezTo>
                      <a:pt x="643" y="712"/>
                      <a:pt x="636" y="725"/>
                      <a:pt x="627" y="737"/>
                    </a:cubicBezTo>
                    <a:cubicBezTo>
                      <a:pt x="631" y="772"/>
                      <a:pt x="631" y="772"/>
                      <a:pt x="631" y="772"/>
                    </a:cubicBezTo>
                    <a:cubicBezTo>
                      <a:pt x="615" y="786"/>
                      <a:pt x="615" y="786"/>
                      <a:pt x="615" y="786"/>
                    </a:cubicBezTo>
                    <a:cubicBezTo>
                      <a:pt x="604" y="794"/>
                      <a:pt x="593" y="804"/>
                      <a:pt x="579" y="812"/>
                    </a:cubicBezTo>
                    <a:cubicBezTo>
                      <a:pt x="578" y="812"/>
                      <a:pt x="578" y="812"/>
                      <a:pt x="578" y="812"/>
                    </a:cubicBezTo>
                    <a:cubicBezTo>
                      <a:pt x="577" y="813"/>
                      <a:pt x="577" y="813"/>
                      <a:pt x="577" y="813"/>
                    </a:cubicBezTo>
                    <a:cubicBezTo>
                      <a:pt x="563" y="820"/>
                      <a:pt x="551" y="826"/>
                      <a:pt x="540" y="829"/>
                    </a:cubicBezTo>
                    <a:cubicBezTo>
                      <a:pt x="521" y="836"/>
                      <a:pt x="521" y="836"/>
                      <a:pt x="521" y="836"/>
                    </a:cubicBezTo>
                    <a:cubicBezTo>
                      <a:pt x="492" y="816"/>
                      <a:pt x="492" y="816"/>
                      <a:pt x="492" y="816"/>
                    </a:cubicBezTo>
                    <a:cubicBezTo>
                      <a:pt x="485" y="817"/>
                      <a:pt x="478" y="817"/>
                      <a:pt x="471" y="817"/>
                    </a:cubicBezTo>
                    <a:cubicBezTo>
                      <a:pt x="463" y="817"/>
                      <a:pt x="455" y="817"/>
                      <a:pt x="447" y="816"/>
                    </a:cubicBezTo>
                    <a:cubicBezTo>
                      <a:pt x="428" y="829"/>
                      <a:pt x="428" y="829"/>
                      <a:pt x="428" y="829"/>
                    </a:cubicBezTo>
                    <a:cubicBezTo>
                      <a:pt x="433" y="862"/>
                      <a:pt x="439" y="894"/>
                      <a:pt x="447" y="923"/>
                    </a:cubicBezTo>
                    <a:cubicBezTo>
                      <a:pt x="472" y="945"/>
                      <a:pt x="488" y="977"/>
                      <a:pt x="488" y="1013"/>
                    </a:cubicBezTo>
                    <a:cubicBezTo>
                      <a:pt x="488" y="1021"/>
                      <a:pt x="487" y="1029"/>
                      <a:pt x="486" y="1036"/>
                    </a:cubicBezTo>
                    <a:cubicBezTo>
                      <a:pt x="518" y="1107"/>
                      <a:pt x="559" y="1151"/>
                      <a:pt x="604" y="1154"/>
                    </a:cubicBezTo>
                    <a:cubicBezTo>
                      <a:pt x="615" y="1154"/>
                      <a:pt x="615" y="1154"/>
                      <a:pt x="615" y="1154"/>
                    </a:cubicBezTo>
                    <a:cubicBezTo>
                      <a:pt x="721" y="1146"/>
                      <a:pt x="808" y="907"/>
                      <a:pt x="808" y="614"/>
                    </a:cubicBezTo>
                    <a:cubicBezTo>
                      <a:pt x="808" y="317"/>
                      <a:pt x="718" y="76"/>
                      <a:pt x="609" y="76"/>
                    </a:cubicBezTo>
                    <a:cubicBezTo>
                      <a:pt x="562" y="76"/>
                      <a:pt x="519" y="121"/>
                      <a:pt x="485" y="196"/>
                    </a:cubicBezTo>
                    <a:moveTo>
                      <a:pt x="345" y="800"/>
                    </a:moveTo>
                    <a:cubicBezTo>
                      <a:pt x="350" y="833"/>
                      <a:pt x="355" y="864"/>
                      <a:pt x="362" y="894"/>
                    </a:cubicBezTo>
                    <a:cubicBezTo>
                      <a:pt x="364" y="894"/>
                      <a:pt x="367" y="894"/>
                      <a:pt x="370" y="894"/>
                    </a:cubicBezTo>
                    <a:cubicBezTo>
                      <a:pt x="380" y="894"/>
                      <a:pt x="390" y="896"/>
                      <a:pt x="400" y="898"/>
                    </a:cubicBezTo>
                    <a:cubicBezTo>
                      <a:pt x="394" y="874"/>
                      <a:pt x="389" y="849"/>
                      <a:pt x="385" y="823"/>
                    </a:cubicBezTo>
                    <a:cubicBezTo>
                      <a:pt x="371" y="816"/>
                      <a:pt x="358" y="809"/>
                      <a:pt x="345" y="800"/>
                    </a:cubicBezTo>
                    <a:close/>
                    <a:moveTo>
                      <a:pt x="226" y="1016"/>
                    </a:moveTo>
                    <a:cubicBezTo>
                      <a:pt x="215" y="1016"/>
                      <a:pt x="206" y="1025"/>
                      <a:pt x="206" y="1036"/>
                    </a:cubicBezTo>
                    <a:cubicBezTo>
                      <a:pt x="206" y="1149"/>
                      <a:pt x="206" y="1149"/>
                      <a:pt x="206" y="1149"/>
                    </a:cubicBezTo>
                    <a:cubicBezTo>
                      <a:pt x="206" y="1160"/>
                      <a:pt x="215" y="1169"/>
                      <a:pt x="226" y="1169"/>
                    </a:cubicBezTo>
                    <a:cubicBezTo>
                      <a:pt x="237" y="1169"/>
                      <a:pt x="245" y="1160"/>
                      <a:pt x="245" y="1149"/>
                    </a:cubicBezTo>
                    <a:cubicBezTo>
                      <a:pt x="245" y="1036"/>
                      <a:pt x="245" y="1036"/>
                      <a:pt x="245" y="1036"/>
                    </a:cubicBezTo>
                    <a:cubicBezTo>
                      <a:pt x="245" y="1025"/>
                      <a:pt x="237" y="1016"/>
                      <a:pt x="226" y="1016"/>
                    </a:cubicBezTo>
                    <a:close/>
                    <a:moveTo>
                      <a:pt x="79" y="793"/>
                    </a:moveTo>
                    <a:cubicBezTo>
                      <a:pt x="68" y="793"/>
                      <a:pt x="59" y="801"/>
                      <a:pt x="59" y="812"/>
                    </a:cubicBezTo>
                    <a:cubicBezTo>
                      <a:pt x="59" y="926"/>
                      <a:pt x="59" y="926"/>
                      <a:pt x="59" y="926"/>
                    </a:cubicBezTo>
                    <a:cubicBezTo>
                      <a:pt x="59" y="936"/>
                      <a:pt x="68" y="945"/>
                      <a:pt x="79" y="945"/>
                    </a:cubicBezTo>
                    <a:cubicBezTo>
                      <a:pt x="90" y="945"/>
                      <a:pt x="98" y="936"/>
                      <a:pt x="98" y="926"/>
                    </a:cubicBezTo>
                    <a:cubicBezTo>
                      <a:pt x="98" y="812"/>
                      <a:pt x="98" y="812"/>
                      <a:pt x="98" y="812"/>
                    </a:cubicBezTo>
                    <a:cubicBezTo>
                      <a:pt x="98" y="801"/>
                      <a:pt x="90" y="793"/>
                      <a:pt x="79" y="793"/>
                    </a:cubicBezTo>
                    <a:close/>
                    <a:moveTo>
                      <a:pt x="79" y="291"/>
                    </a:moveTo>
                    <a:cubicBezTo>
                      <a:pt x="35" y="291"/>
                      <a:pt x="0" y="327"/>
                      <a:pt x="0" y="370"/>
                    </a:cubicBezTo>
                    <a:cubicBezTo>
                      <a:pt x="0" y="414"/>
                      <a:pt x="35" y="449"/>
                      <a:pt x="79" y="449"/>
                    </a:cubicBezTo>
                    <a:cubicBezTo>
                      <a:pt x="122" y="449"/>
                      <a:pt x="158" y="414"/>
                      <a:pt x="158" y="370"/>
                    </a:cubicBezTo>
                    <a:cubicBezTo>
                      <a:pt x="158" y="327"/>
                      <a:pt x="122" y="291"/>
                      <a:pt x="79" y="291"/>
                    </a:cubicBezTo>
                    <a:close/>
                    <a:moveTo>
                      <a:pt x="79" y="410"/>
                    </a:moveTo>
                    <a:cubicBezTo>
                      <a:pt x="57" y="410"/>
                      <a:pt x="39" y="392"/>
                      <a:pt x="39" y="370"/>
                    </a:cubicBezTo>
                    <a:cubicBezTo>
                      <a:pt x="39" y="349"/>
                      <a:pt x="57" y="331"/>
                      <a:pt x="79" y="331"/>
                    </a:cubicBezTo>
                    <a:cubicBezTo>
                      <a:pt x="101" y="331"/>
                      <a:pt x="118" y="349"/>
                      <a:pt x="118" y="370"/>
                    </a:cubicBezTo>
                    <a:cubicBezTo>
                      <a:pt x="118" y="392"/>
                      <a:pt x="101" y="410"/>
                      <a:pt x="79" y="410"/>
                    </a:cubicBezTo>
                    <a:close/>
                    <a:moveTo>
                      <a:pt x="226" y="67"/>
                    </a:moveTo>
                    <a:cubicBezTo>
                      <a:pt x="182" y="67"/>
                      <a:pt x="147" y="103"/>
                      <a:pt x="147" y="146"/>
                    </a:cubicBezTo>
                    <a:cubicBezTo>
                      <a:pt x="147" y="190"/>
                      <a:pt x="182" y="225"/>
                      <a:pt x="226" y="225"/>
                    </a:cubicBezTo>
                    <a:cubicBezTo>
                      <a:pt x="269" y="225"/>
                      <a:pt x="305" y="190"/>
                      <a:pt x="305" y="146"/>
                    </a:cubicBezTo>
                    <a:cubicBezTo>
                      <a:pt x="305" y="103"/>
                      <a:pt x="269" y="67"/>
                      <a:pt x="226" y="67"/>
                    </a:cubicBezTo>
                    <a:close/>
                    <a:moveTo>
                      <a:pt x="226" y="186"/>
                    </a:moveTo>
                    <a:cubicBezTo>
                      <a:pt x="204" y="186"/>
                      <a:pt x="186" y="168"/>
                      <a:pt x="186" y="146"/>
                    </a:cubicBezTo>
                    <a:cubicBezTo>
                      <a:pt x="186" y="125"/>
                      <a:pt x="204" y="107"/>
                      <a:pt x="226" y="107"/>
                    </a:cubicBezTo>
                    <a:cubicBezTo>
                      <a:pt x="248" y="107"/>
                      <a:pt x="265" y="125"/>
                      <a:pt x="265" y="146"/>
                    </a:cubicBezTo>
                    <a:cubicBezTo>
                      <a:pt x="265" y="168"/>
                      <a:pt x="248" y="186"/>
                      <a:pt x="226" y="186"/>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sp>
            <p:nvSpPr>
              <p:cNvPr id="28" name="Freeform 71">
                <a:extLst>
                  <a:ext uri="{FF2B5EF4-FFF2-40B4-BE49-F238E27FC236}">
                    <a16:creationId xmlns:a16="http://schemas.microsoft.com/office/drawing/2014/main" id="{754B8C51-B9BA-E7B1-2F4E-C1221A14D863}"/>
                  </a:ext>
                </a:extLst>
              </p:cNvPr>
              <p:cNvSpPr>
                <a:spLocks noEditPoints="1"/>
              </p:cNvSpPr>
              <p:nvPr/>
            </p:nvSpPr>
            <p:spPr bwMode="auto">
              <a:xfrm>
                <a:off x="1323199" y="2218790"/>
                <a:ext cx="1161955" cy="862417"/>
              </a:xfrm>
              <a:custGeom>
                <a:avLst/>
                <a:gdLst>
                  <a:gd name="T0" fmla="*/ 983 w 1623"/>
                  <a:gd name="T1" fmla="*/ 54 h 1205"/>
                  <a:gd name="T2" fmla="*/ 985 w 1623"/>
                  <a:gd name="T3" fmla="*/ 1134 h 1205"/>
                  <a:gd name="T4" fmla="*/ 1356 w 1623"/>
                  <a:gd name="T5" fmla="*/ 594 h 1205"/>
                  <a:gd name="T6" fmla="*/ 922 w 1623"/>
                  <a:gd name="T7" fmla="*/ 54 h 1205"/>
                  <a:gd name="T8" fmla="*/ 868 w 1623"/>
                  <a:gd name="T9" fmla="*/ 594 h 1205"/>
                  <a:gd name="T10" fmla="*/ 924 w 1623"/>
                  <a:gd name="T11" fmla="*/ 1134 h 1205"/>
                  <a:gd name="T12" fmla="*/ 922 w 1623"/>
                  <a:gd name="T13" fmla="*/ 54 h 1205"/>
                  <a:gd name="T14" fmla="*/ 1567 w 1623"/>
                  <a:gd name="T15" fmla="*/ 201 h 1205"/>
                  <a:gd name="T16" fmla="*/ 1260 w 1623"/>
                  <a:gd name="T17" fmla="*/ 54 h 1205"/>
                  <a:gd name="T18" fmla="*/ 1262 w 1623"/>
                  <a:gd name="T19" fmla="*/ 1133 h 1205"/>
                  <a:gd name="T20" fmla="*/ 1442 w 1623"/>
                  <a:gd name="T21" fmla="*/ 1134 h 1205"/>
                  <a:gd name="T22" fmla="*/ 1567 w 1623"/>
                  <a:gd name="T23" fmla="*/ 987 h 1205"/>
                  <a:gd name="T24" fmla="*/ 1623 w 1623"/>
                  <a:gd name="T25" fmla="*/ 593 h 1205"/>
                  <a:gd name="T26" fmla="*/ 226 w 1623"/>
                  <a:gd name="T27" fmla="*/ 491 h 1205"/>
                  <a:gd name="T28" fmla="*/ 245 w 1623"/>
                  <a:gd name="T29" fmla="*/ 358 h 1205"/>
                  <a:gd name="T30" fmla="*/ 206 w 1623"/>
                  <a:gd name="T31" fmla="*/ 358 h 1205"/>
                  <a:gd name="T32" fmla="*/ 226 w 1623"/>
                  <a:gd name="T33" fmla="*/ 491 h 1205"/>
                  <a:gd name="T34" fmla="*/ 389 w 1623"/>
                  <a:gd name="T35" fmla="*/ 255 h 1205"/>
                  <a:gd name="T36" fmla="*/ 370 w 1623"/>
                  <a:gd name="T37" fmla="*/ 123 h 1205"/>
                  <a:gd name="T38" fmla="*/ 350 w 1623"/>
                  <a:gd name="T39" fmla="*/ 255 h 1205"/>
                  <a:gd name="T40" fmla="*/ 79 w 1623"/>
                  <a:gd name="T41" fmla="*/ 153 h 1205"/>
                  <a:gd name="T42" fmla="*/ 98 w 1623"/>
                  <a:gd name="T43" fmla="*/ 20 h 1205"/>
                  <a:gd name="T44" fmla="*/ 59 w 1623"/>
                  <a:gd name="T45" fmla="*/ 20 h 1205"/>
                  <a:gd name="T46" fmla="*/ 79 w 1623"/>
                  <a:gd name="T47" fmla="*/ 153 h 1205"/>
                  <a:gd name="T48" fmla="*/ 147 w 1623"/>
                  <a:gd name="T49" fmla="*/ 787 h 1205"/>
                  <a:gd name="T50" fmla="*/ 305 w 1623"/>
                  <a:gd name="T51" fmla="*/ 787 h 1205"/>
                  <a:gd name="T52" fmla="*/ 226 w 1623"/>
                  <a:gd name="T53" fmla="*/ 827 h 1205"/>
                  <a:gd name="T54" fmla="*/ 226 w 1623"/>
                  <a:gd name="T55" fmla="*/ 748 h 1205"/>
                  <a:gd name="T56" fmla="*/ 226 w 1623"/>
                  <a:gd name="T57" fmla="*/ 827 h 1205"/>
                  <a:gd name="T58" fmla="*/ 291 w 1623"/>
                  <a:gd name="T59" fmla="*/ 994 h 1205"/>
                  <a:gd name="T60" fmla="*/ 449 w 1623"/>
                  <a:gd name="T61" fmla="*/ 994 h 1205"/>
                  <a:gd name="T62" fmla="*/ 370 w 1623"/>
                  <a:gd name="T63" fmla="*/ 1033 h 1205"/>
                  <a:gd name="T64" fmla="*/ 370 w 1623"/>
                  <a:gd name="T65" fmla="*/ 954 h 1205"/>
                  <a:gd name="T66" fmla="*/ 370 w 1623"/>
                  <a:gd name="T67" fmla="*/ 1033 h 1205"/>
                  <a:gd name="T68" fmla="*/ 0 w 1623"/>
                  <a:gd name="T69" fmla="*/ 1126 h 1205"/>
                  <a:gd name="T70" fmla="*/ 158 w 1623"/>
                  <a:gd name="T71" fmla="*/ 1126 h 1205"/>
                  <a:gd name="T72" fmla="*/ 79 w 1623"/>
                  <a:gd name="T73" fmla="*/ 1165 h 1205"/>
                  <a:gd name="T74" fmla="*/ 79 w 1623"/>
                  <a:gd name="T75" fmla="*/ 1086 h 1205"/>
                  <a:gd name="T76" fmla="*/ 79 w 1623"/>
                  <a:gd name="T77" fmla="*/ 1165 h 1205"/>
                  <a:gd name="T78" fmla="*/ 605 w 1623"/>
                  <a:gd name="T79" fmla="*/ 523 h 1205"/>
                  <a:gd name="T80" fmla="*/ 589 w 1623"/>
                  <a:gd name="T81" fmla="*/ 466 h 1205"/>
                  <a:gd name="T82" fmla="*/ 499 w 1623"/>
                  <a:gd name="T83" fmla="*/ 445 h 1205"/>
                  <a:gd name="T84" fmla="*/ 417 w 1623"/>
                  <a:gd name="T85" fmla="*/ 427 h 1205"/>
                  <a:gd name="T86" fmla="*/ 351 w 1623"/>
                  <a:gd name="T87" fmla="*/ 466 h 1205"/>
                  <a:gd name="T88" fmla="*/ 324 w 1623"/>
                  <a:gd name="T89" fmla="*/ 548 h 1205"/>
                  <a:gd name="T90" fmla="*/ 297 w 1623"/>
                  <a:gd name="T91" fmla="*/ 638 h 1205"/>
                  <a:gd name="T92" fmla="*/ 337 w 1623"/>
                  <a:gd name="T93" fmla="*/ 679 h 1205"/>
                  <a:gd name="T94" fmla="*/ 350 w 1623"/>
                  <a:gd name="T95" fmla="*/ 734 h 1205"/>
                  <a:gd name="T96" fmla="*/ 437 w 1623"/>
                  <a:gd name="T97" fmla="*/ 755 h 1205"/>
                  <a:gd name="T98" fmla="*/ 527 w 1623"/>
                  <a:gd name="T99" fmla="*/ 773 h 1205"/>
                  <a:gd name="T100" fmla="*/ 590 w 1623"/>
                  <a:gd name="T101" fmla="*/ 736 h 1205"/>
                  <a:gd name="T102" fmla="*/ 618 w 1623"/>
                  <a:gd name="T103" fmla="*/ 649 h 1205"/>
                  <a:gd name="T104" fmla="*/ 644 w 1623"/>
                  <a:gd name="T105" fmla="*/ 563 h 1205"/>
                  <a:gd name="T106" fmla="*/ 509 w 1623"/>
                  <a:gd name="T107" fmla="*/ 670 h 1205"/>
                  <a:gd name="T108" fmla="*/ 430 w 1623"/>
                  <a:gd name="T109" fmla="*/ 532 h 1205"/>
                  <a:gd name="T110" fmla="*/ 538 w 1623"/>
                  <a:gd name="T111" fmla="*/ 561 h 1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623" h="1205">
                    <a:moveTo>
                      <a:pt x="1197" y="54"/>
                    </a:moveTo>
                    <a:cubicBezTo>
                      <a:pt x="983" y="54"/>
                      <a:pt x="983" y="54"/>
                      <a:pt x="983" y="54"/>
                    </a:cubicBezTo>
                    <a:cubicBezTo>
                      <a:pt x="1078" y="93"/>
                      <a:pt x="1141" y="320"/>
                      <a:pt x="1141" y="594"/>
                    </a:cubicBezTo>
                    <a:cubicBezTo>
                      <a:pt x="1141" y="867"/>
                      <a:pt x="1079" y="1093"/>
                      <a:pt x="985" y="1134"/>
                    </a:cubicBezTo>
                    <a:cubicBezTo>
                      <a:pt x="1199" y="1134"/>
                      <a:pt x="1199" y="1134"/>
                      <a:pt x="1199" y="1134"/>
                    </a:cubicBezTo>
                    <a:cubicBezTo>
                      <a:pt x="1294" y="1093"/>
                      <a:pt x="1356" y="867"/>
                      <a:pt x="1356" y="594"/>
                    </a:cubicBezTo>
                    <a:cubicBezTo>
                      <a:pt x="1356" y="320"/>
                      <a:pt x="1293" y="93"/>
                      <a:pt x="1197" y="54"/>
                    </a:cubicBezTo>
                    <a:close/>
                    <a:moveTo>
                      <a:pt x="922" y="54"/>
                    </a:moveTo>
                    <a:cubicBezTo>
                      <a:pt x="714" y="54"/>
                      <a:pt x="714" y="54"/>
                      <a:pt x="714" y="54"/>
                    </a:cubicBezTo>
                    <a:cubicBezTo>
                      <a:pt x="806" y="93"/>
                      <a:pt x="868" y="320"/>
                      <a:pt x="868" y="594"/>
                    </a:cubicBezTo>
                    <a:cubicBezTo>
                      <a:pt x="868" y="867"/>
                      <a:pt x="807" y="1093"/>
                      <a:pt x="716" y="1134"/>
                    </a:cubicBezTo>
                    <a:cubicBezTo>
                      <a:pt x="924" y="1134"/>
                      <a:pt x="924" y="1134"/>
                      <a:pt x="924" y="1134"/>
                    </a:cubicBezTo>
                    <a:cubicBezTo>
                      <a:pt x="1016" y="1093"/>
                      <a:pt x="1077" y="867"/>
                      <a:pt x="1077" y="594"/>
                    </a:cubicBezTo>
                    <a:cubicBezTo>
                      <a:pt x="1077" y="320"/>
                      <a:pt x="1015" y="93"/>
                      <a:pt x="922" y="54"/>
                    </a:cubicBezTo>
                    <a:close/>
                    <a:moveTo>
                      <a:pt x="1584" y="250"/>
                    </a:moveTo>
                    <a:cubicBezTo>
                      <a:pt x="1579" y="233"/>
                      <a:pt x="1574" y="216"/>
                      <a:pt x="1567" y="201"/>
                    </a:cubicBezTo>
                    <a:cubicBezTo>
                      <a:pt x="1532" y="110"/>
                      <a:pt x="1485" y="54"/>
                      <a:pt x="1445" y="54"/>
                    </a:cubicBezTo>
                    <a:cubicBezTo>
                      <a:pt x="1260" y="54"/>
                      <a:pt x="1260" y="54"/>
                      <a:pt x="1260" y="54"/>
                    </a:cubicBezTo>
                    <a:cubicBezTo>
                      <a:pt x="1352" y="93"/>
                      <a:pt x="1414" y="320"/>
                      <a:pt x="1414" y="593"/>
                    </a:cubicBezTo>
                    <a:cubicBezTo>
                      <a:pt x="1414" y="866"/>
                      <a:pt x="1353" y="1092"/>
                      <a:pt x="1262" y="1133"/>
                    </a:cubicBezTo>
                    <a:cubicBezTo>
                      <a:pt x="1439" y="1133"/>
                      <a:pt x="1439" y="1133"/>
                      <a:pt x="1439" y="1133"/>
                    </a:cubicBezTo>
                    <a:cubicBezTo>
                      <a:pt x="1442" y="1134"/>
                      <a:pt x="1442" y="1134"/>
                      <a:pt x="1442" y="1134"/>
                    </a:cubicBezTo>
                    <a:cubicBezTo>
                      <a:pt x="1445" y="1134"/>
                      <a:pt x="1445" y="1134"/>
                      <a:pt x="1445" y="1134"/>
                    </a:cubicBezTo>
                    <a:cubicBezTo>
                      <a:pt x="1485" y="1134"/>
                      <a:pt x="1532" y="1078"/>
                      <a:pt x="1567" y="987"/>
                    </a:cubicBezTo>
                    <a:cubicBezTo>
                      <a:pt x="1574" y="972"/>
                      <a:pt x="1579" y="956"/>
                      <a:pt x="1584" y="939"/>
                    </a:cubicBezTo>
                    <a:cubicBezTo>
                      <a:pt x="1609" y="844"/>
                      <a:pt x="1623" y="724"/>
                      <a:pt x="1623" y="593"/>
                    </a:cubicBezTo>
                    <a:cubicBezTo>
                      <a:pt x="1623" y="464"/>
                      <a:pt x="1609" y="344"/>
                      <a:pt x="1584" y="250"/>
                    </a:cubicBezTo>
                    <a:close/>
                    <a:moveTo>
                      <a:pt x="226" y="491"/>
                    </a:moveTo>
                    <a:cubicBezTo>
                      <a:pt x="237" y="491"/>
                      <a:pt x="245" y="482"/>
                      <a:pt x="245" y="471"/>
                    </a:cubicBezTo>
                    <a:cubicBezTo>
                      <a:pt x="245" y="358"/>
                      <a:pt x="245" y="358"/>
                      <a:pt x="245" y="358"/>
                    </a:cubicBezTo>
                    <a:cubicBezTo>
                      <a:pt x="245" y="347"/>
                      <a:pt x="237" y="339"/>
                      <a:pt x="226" y="339"/>
                    </a:cubicBezTo>
                    <a:cubicBezTo>
                      <a:pt x="215" y="339"/>
                      <a:pt x="206" y="347"/>
                      <a:pt x="206" y="358"/>
                    </a:cubicBezTo>
                    <a:cubicBezTo>
                      <a:pt x="206" y="471"/>
                      <a:pt x="206" y="471"/>
                      <a:pt x="206" y="471"/>
                    </a:cubicBezTo>
                    <a:cubicBezTo>
                      <a:pt x="206" y="482"/>
                      <a:pt x="215" y="491"/>
                      <a:pt x="226" y="491"/>
                    </a:cubicBezTo>
                    <a:close/>
                    <a:moveTo>
                      <a:pt x="370" y="275"/>
                    </a:moveTo>
                    <a:cubicBezTo>
                      <a:pt x="380" y="275"/>
                      <a:pt x="389" y="266"/>
                      <a:pt x="389" y="255"/>
                    </a:cubicBezTo>
                    <a:cubicBezTo>
                      <a:pt x="389" y="142"/>
                      <a:pt x="389" y="142"/>
                      <a:pt x="389" y="142"/>
                    </a:cubicBezTo>
                    <a:cubicBezTo>
                      <a:pt x="389" y="131"/>
                      <a:pt x="380" y="123"/>
                      <a:pt x="370" y="123"/>
                    </a:cubicBezTo>
                    <a:cubicBezTo>
                      <a:pt x="359" y="123"/>
                      <a:pt x="350" y="131"/>
                      <a:pt x="350" y="142"/>
                    </a:cubicBezTo>
                    <a:cubicBezTo>
                      <a:pt x="350" y="255"/>
                      <a:pt x="350" y="255"/>
                      <a:pt x="350" y="255"/>
                    </a:cubicBezTo>
                    <a:cubicBezTo>
                      <a:pt x="350" y="266"/>
                      <a:pt x="359" y="275"/>
                      <a:pt x="370" y="275"/>
                    </a:cubicBezTo>
                    <a:close/>
                    <a:moveTo>
                      <a:pt x="79" y="153"/>
                    </a:moveTo>
                    <a:cubicBezTo>
                      <a:pt x="90" y="153"/>
                      <a:pt x="98" y="144"/>
                      <a:pt x="98" y="133"/>
                    </a:cubicBezTo>
                    <a:cubicBezTo>
                      <a:pt x="98" y="20"/>
                      <a:pt x="98" y="20"/>
                      <a:pt x="98" y="20"/>
                    </a:cubicBezTo>
                    <a:cubicBezTo>
                      <a:pt x="98" y="9"/>
                      <a:pt x="90" y="0"/>
                      <a:pt x="79" y="0"/>
                    </a:cubicBezTo>
                    <a:cubicBezTo>
                      <a:pt x="68" y="0"/>
                      <a:pt x="59" y="9"/>
                      <a:pt x="59" y="20"/>
                    </a:cubicBezTo>
                    <a:cubicBezTo>
                      <a:pt x="59" y="133"/>
                      <a:pt x="59" y="133"/>
                      <a:pt x="59" y="133"/>
                    </a:cubicBezTo>
                    <a:cubicBezTo>
                      <a:pt x="59" y="144"/>
                      <a:pt x="68" y="153"/>
                      <a:pt x="79" y="153"/>
                    </a:cubicBezTo>
                    <a:close/>
                    <a:moveTo>
                      <a:pt x="226" y="708"/>
                    </a:moveTo>
                    <a:cubicBezTo>
                      <a:pt x="182" y="708"/>
                      <a:pt x="147" y="744"/>
                      <a:pt x="147" y="787"/>
                    </a:cubicBezTo>
                    <a:cubicBezTo>
                      <a:pt x="147" y="831"/>
                      <a:pt x="182" y="866"/>
                      <a:pt x="226" y="866"/>
                    </a:cubicBezTo>
                    <a:cubicBezTo>
                      <a:pt x="269" y="866"/>
                      <a:pt x="305" y="831"/>
                      <a:pt x="305" y="787"/>
                    </a:cubicBezTo>
                    <a:cubicBezTo>
                      <a:pt x="305" y="744"/>
                      <a:pt x="269" y="708"/>
                      <a:pt x="226" y="708"/>
                    </a:cubicBezTo>
                    <a:close/>
                    <a:moveTo>
                      <a:pt x="226" y="827"/>
                    </a:moveTo>
                    <a:cubicBezTo>
                      <a:pt x="204" y="827"/>
                      <a:pt x="186" y="809"/>
                      <a:pt x="186" y="787"/>
                    </a:cubicBezTo>
                    <a:cubicBezTo>
                      <a:pt x="186" y="765"/>
                      <a:pt x="204" y="748"/>
                      <a:pt x="226" y="748"/>
                    </a:cubicBezTo>
                    <a:cubicBezTo>
                      <a:pt x="248" y="748"/>
                      <a:pt x="265" y="765"/>
                      <a:pt x="265" y="787"/>
                    </a:cubicBezTo>
                    <a:cubicBezTo>
                      <a:pt x="265" y="809"/>
                      <a:pt x="248" y="827"/>
                      <a:pt x="226" y="827"/>
                    </a:cubicBezTo>
                    <a:close/>
                    <a:moveTo>
                      <a:pt x="370" y="915"/>
                    </a:moveTo>
                    <a:cubicBezTo>
                      <a:pt x="326" y="915"/>
                      <a:pt x="291" y="950"/>
                      <a:pt x="291" y="994"/>
                    </a:cubicBezTo>
                    <a:cubicBezTo>
                      <a:pt x="291" y="1037"/>
                      <a:pt x="326" y="1073"/>
                      <a:pt x="370" y="1073"/>
                    </a:cubicBezTo>
                    <a:cubicBezTo>
                      <a:pt x="413" y="1073"/>
                      <a:pt x="449" y="1037"/>
                      <a:pt x="449" y="994"/>
                    </a:cubicBezTo>
                    <a:cubicBezTo>
                      <a:pt x="449" y="950"/>
                      <a:pt x="413" y="915"/>
                      <a:pt x="370" y="915"/>
                    </a:cubicBezTo>
                    <a:close/>
                    <a:moveTo>
                      <a:pt x="370" y="1033"/>
                    </a:moveTo>
                    <a:cubicBezTo>
                      <a:pt x="348" y="1033"/>
                      <a:pt x="330" y="1015"/>
                      <a:pt x="330" y="994"/>
                    </a:cubicBezTo>
                    <a:cubicBezTo>
                      <a:pt x="330" y="972"/>
                      <a:pt x="348" y="954"/>
                      <a:pt x="370" y="954"/>
                    </a:cubicBezTo>
                    <a:cubicBezTo>
                      <a:pt x="391" y="954"/>
                      <a:pt x="409" y="972"/>
                      <a:pt x="409" y="994"/>
                    </a:cubicBezTo>
                    <a:cubicBezTo>
                      <a:pt x="409" y="1015"/>
                      <a:pt x="391" y="1033"/>
                      <a:pt x="370" y="1033"/>
                    </a:cubicBezTo>
                    <a:close/>
                    <a:moveTo>
                      <a:pt x="79" y="1047"/>
                    </a:moveTo>
                    <a:cubicBezTo>
                      <a:pt x="35" y="1047"/>
                      <a:pt x="0" y="1082"/>
                      <a:pt x="0" y="1126"/>
                    </a:cubicBezTo>
                    <a:cubicBezTo>
                      <a:pt x="0" y="1169"/>
                      <a:pt x="35" y="1205"/>
                      <a:pt x="79" y="1205"/>
                    </a:cubicBezTo>
                    <a:cubicBezTo>
                      <a:pt x="122" y="1205"/>
                      <a:pt x="158" y="1169"/>
                      <a:pt x="158" y="1126"/>
                    </a:cubicBezTo>
                    <a:cubicBezTo>
                      <a:pt x="158" y="1082"/>
                      <a:pt x="122" y="1047"/>
                      <a:pt x="79" y="1047"/>
                    </a:cubicBezTo>
                    <a:close/>
                    <a:moveTo>
                      <a:pt x="79" y="1165"/>
                    </a:moveTo>
                    <a:cubicBezTo>
                      <a:pt x="57" y="1165"/>
                      <a:pt x="39" y="1147"/>
                      <a:pt x="39" y="1126"/>
                    </a:cubicBezTo>
                    <a:cubicBezTo>
                      <a:pt x="39" y="1104"/>
                      <a:pt x="57" y="1086"/>
                      <a:pt x="79" y="1086"/>
                    </a:cubicBezTo>
                    <a:cubicBezTo>
                      <a:pt x="101" y="1086"/>
                      <a:pt x="118" y="1104"/>
                      <a:pt x="118" y="1126"/>
                    </a:cubicBezTo>
                    <a:cubicBezTo>
                      <a:pt x="118" y="1147"/>
                      <a:pt x="101" y="1165"/>
                      <a:pt x="79" y="1165"/>
                    </a:cubicBezTo>
                    <a:close/>
                    <a:moveTo>
                      <a:pt x="617" y="550"/>
                    </a:moveTo>
                    <a:cubicBezTo>
                      <a:pt x="614" y="541"/>
                      <a:pt x="610" y="532"/>
                      <a:pt x="605" y="523"/>
                    </a:cubicBezTo>
                    <a:cubicBezTo>
                      <a:pt x="600" y="513"/>
                      <a:pt x="593" y="504"/>
                      <a:pt x="586" y="496"/>
                    </a:cubicBezTo>
                    <a:cubicBezTo>
                      <a:pt x="589" y="466"/>
                      <a:pt x="589" y="466"/>
                      <a:pt x="589" y="466"/>
                    </a:cubicBezTo>
                    <a:cubicBezTo>
                      <a:pt x="570" y="448"/>
                      <a:pt x="547" y="435"/>
                      <a:pt x="523" y="427"/>
                    </a:cubicBezTo>
                    <a:cubicBezTo>
                      <a:pt x="499" y="445"/>
                      <a:pt x="499" y="445"/>
                      <a:pt x="499" y="445"/>
                    </a:cubicBezTo>
                    <a:cubicBezTo>
                      <a:pt x="479" y="441"/>
                      <a:pt x="460" y="442"/>
                      <a:pt x="441" y="445"/>
                    </a:cubicBezTo>
                    <a:cubicBezTo>
                      <a:pt x="417" y="427"/>
                      <a:pt x="417" y="427"/>
                      <a:pt x="417" y="427"/>
                    </a:cubicBezTo>
                    <a:cubicBezTo>
                      <a:pt x="405" y="432"/>
                      <a:pt x="392" y="436"/>
                      <a:pt x="381" y="443"/>
                    </a:cubicBezTo>
                    <a:cubicBezTo>
                      <a:pt x="370" y="450"/>
                      <a:pt x="360" y="457"/>
                      <a:pt x="351" y="466"/>
                    </a:cubicBezTo>
                    <a:cubicBezTo>
                      <a:pt x="355" y="497"/>
                      <a:pt x="355" y="497"/>
                      <a:pt x="355" y="497"/>
                    </a:cubicBezTo>
                    <a:cubicBezTo>
                      <a:pt x="341" y="512"/>
                      <a:pt x="331" y="530"/>
                      <a:pt x="324" y="548"/>
                    </a:cubicBezTo>
                    <a:cubicBezTo>
                      <a:pt x="297" y="560"/>
                      <a:pt x="297" y="560"/>
                      <a:pt x="297" y="560"/>
                    </a:cubicBezTo>
                    <a:cubicBezTo>
                      <a:pt x="291" y="585"/>
                      <a:pt x="291" y="611"/>
                      <a:pt x="297" y="638"/>
                    </a:cubicBezTo>
                    <a:cubicBezTo>
                      <a:pt x="323" y="649"/>
                      <a:pt x="323" y="649"/>
                      <a:pt x="323" y="649"/>
                    </a:cubicBezTo>
                    <a:cubicBezTo>
                      <a:pt x="326" y="659"/>
                      <a:pt x="331" y="670"/>
                      <a:pt x="337" y="679"/>
                    </a:cubicBezTo>
                    <a:cubicBezTo>
                      <a:pt x="341" y="688"/>
                      <a:pt x="348" y="697"/>
                      <a:pt x="354" y="704"/>
                    </a:cubicBezTo>
                    <a:cubicBezTo>
                      <a:pt x="350" y="734"/>
                      <a:pt x="350" y="734"/>
                      <a:pt x="350" y="734"/>
                    </a:cubicBezTo>
                    <a:cubicBezTo>
                      <a:pt x="369" y="752"/>
                      <a:pt x="391" y="764"/>
                      <a:pt x="413" y="772"/>
                    </a:cubicBezTo>
                    <a:cubicBezTo>
                      <a:pt x="437" y="755"/>
                      <a:pt x="437" y="755"/>
                      <a:pt x="437" y="755"/>
                    </a:cubicBezTo>
                    <a:cubicBezTo>
                      <a:pt x="459" y="760"/>
                      <a:pt x="480" y="760"/>
                      <a:pt x="502" y="756"/>
                    </a:cubicBezTo>
                    <a:cubicBezTo>
                      <a:pt x="527" y="773"/>
                      <a:pt x="527" y="773"/>
                      <a:pt x="527" y="773"/>
                    </a:cubicBezTo>
                    <a:cubicBezTo>
                      <a:pt x="537" y="770"/>
                      <a:pt x="548" y="764"/>
                      <a:pt x="559" y="759"/>
                    </a:cubicBezTo>
                    <a:cubicBezTo>
                      <a:pt x="570" y="753"/>
                      <a:pt x="580" y="744"/>
                      <a:pt x="590" y="736"/>
                    </a:cubicBezTo>
                    <a:cubicBezTo>
                      <a:pt x="586" y="707"/>
                      <a:pt x="586" y="707"/>
                      <a:pt x="586" y="707"/>
                    </a:cubicBezTo>
                    <a:cubicBezTo>
                      <a:pt x="600" y="690"/>
                      <a:pt x="611" y="670"/>
                      <a:pt x="618" y="649"/>
                    </a:cubicBezTo>
                    <a:cubicBezTo>
                      <a:pt x="645" y="638"/>
                      <a:pt x="645" y="638"/>
                      <a:pt x="645" y="638"/>
                    </a:cubicBezTo>
                    <a:cubicBezTo>
                      <a:pt x="650" y="613"/>
                      <a:pt x="650" y="587"/>
                      <a:pt x="644" y="563"/>
                    </a:cubicBezTo>
                    <a:cubicBezTo>
                      <a:pt x="617" y="550"/>
                      <a:pt x="617" y="550"/>
                      <a:pt x="617" y="550"/>
                    </a:cubicBezTo>
                    <a:close/>
                    <a:moveTo>
                      <a:pt x="509" y="670"/>
                    </a:moveTo>
                    <a:cubicBezTo>
                      <a:pt x="471" y="692"/>
                      <a:pt x="424" y="678"/>
                      <a:pt x="402" y="640"/>
                    </a:cubicBezTo>
                    <a:cubicBezTo>
                      <a:pt x="380" y="603"/>
                      <a:pt x="392" y="553"/>
                      <a:pt x="430" y="532"/>
                    </a:cubicBezTo>
                    <a:cubicBezTo>
                      <a:pt x="440" y="526"/>
                      <a:pt x="450" y="523"/>
                      <a:pt x="460" y="522"/>
                    </a:cubicBezTo>
                    <a:cubicBezTo>
                      <a:pt x="490" y="518"/>
                      <a:pt x="522" y="532"/>
                      <a:pt x="538" y="561"/>
                    </a:cubicBezTo>
                    <a:cubicBezTo>
                      <a:pt x="559" y="600"/>
                      <a:pt x="547" y="648"/>
                      <a:pt x="509" y="67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grpSp>
      </p:grpSp>
      <p:grpSp>
        <p:nvGrpSpPr>
          <p:cNvPr id="29" name="Group 28">
            <a:extLst>
              <a:ext uri="{FF2B5EF4-FFF2-40B4-BE49-F238E27FC236}">
                <a16:creationId xmlns:a16="http://schemas.microsoft.com/office/drawing/2014/main" id="{46677FC3-9BDB-1695-1B3B-9D5C07D8C411}"/>
              </a:ext>
            </a:extLst>
          </p:cNvPr>
          <p:cNvGrpSpPr>
            <a:grpSpLocks noChangeAspect="1"/>
          </p:cNvGrpSpPr>
          <p:nvPr/>
        </p:nvGrpSpPr>
        <p:grpSpPr>
          <a:xfrm>
            <a:off x="5909107" y="1733974"/>
            <a:ext cx="667897" cy="667897"/>
            <a:chOff x="1109933" y="1822724"/>
            <a:chExt cx="1649421" cy="1649421"/>
          </a:xfrm>
        </p:grpSpPr>
        <p:sp>
          <p:nvSpPr>
            <p:cNvPr id="30" name="AutoShape 68">
              <a:extLst>
                <a:ext uri="{FF2B5EF4-FFF2-40B4-BE49-F238E27FC236}">
                  <a16:creationId xmlns:a16="http://schemas.microsoft.com/office/drawing/2014/main" id="{979031F0-0229-0B81-8664-42438B133953}"/>
                </a:ext>
              </a:extLst>
            </p:cNvPr>
            <p:cNvSpPr>
              <a:spLocks noChangeAspect="1" noChangeArrowheads="1" noTextEdit="1"/>
            </p:cNvSpPr>
            <p:nvPr/>
          </p:nvSpPr>
          <p:spPr bwMode="auto">
            <a:xfrm>
              <a:off x="1109933" y="1822724"/>
              <a:ext cx="1649421" cy="16494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31" name="Group 30">
              <a:extLst>
                <a:ext uri="{FF2B5EF4-FFF2-40B4-BE49-F238E27FC236}">
                  <a16:creationId xmlns:a16="http://schemas.microsoft.com/office/drawing/2014/main" id="{6BF7C201-E21C-BA41-27B8-39A8EADF0F78}"/>
                </a:ext>
              </a:extLst>
            </p:cNvPr>
            <p:cNvGrpSpPr/>
            <p:nvPr/>
          </p:nvGrpSpPr>
          <p:grpSpPr>
            <a:xfrm>
              <a:off x="1323199" y="2204914"/>
              <a:ext cx="1221983" cy="879309"/>
              <a:chOff x="1323199" y="2204914"/>
              <a:chExt cx="1221983" cy="879309"/>
            </a:xfrm>
          </p:grpSpPr>
          <p:sp>
            <p:nvSpPr>
              <p:cNvPr id="32" name="Freeform 70">
                <a:extLst>
                  <a:ext uri="{FF2B5EF4-FFF2-40B4-BE49-F238E27FC236}">
                    <a16:creationId xmlns:a16="http://schemas.microsoft.com/office/drawing/2014/main" id="{E6B7FA95-0367-53BE-4AA9-F475AC510C8C}"/>
                  </a:ext>
                </a:extLst>
              </p:cNvPr>
              <p:cNvSpPr>
                <a:spLocks noEditPoints="1"/>
              </p:cNvSpPr>
              <p:nvPr/>
            </p:nvSpPr>
            <p:spPr bwMode="auto">
              <a:xfrm>
                <a:off x="1323199" y="2204914"/>
                <a:ext cx="1221983" cy="879309"/>
              </a:xfrm>
              <a:custGeom>
                <a:avLst/>
                <a:gdLst>
                  <a:gd name="T0" fmla="*/ 503 w 1707"/>
                  <a:gd name="T1" fmla="*/ 599 h 1228"/>
                  <a:gd name="T2" fmla="*/ 449 w 1707"/>
                  <a:gd name="T3" fmla="*/ 585 h 1228"/>
                  <a:gd name="T4" fmla="*/ 471 w 1707"/>
                  <a:gd name="T5" fmla="*/ 660 h 1228"/>
                  <a:gd name="T6" fmla="*/ 360 w 1707"/>
                  <a:gd name="T7" fmla="*/ 428 h 1228"/>
                  <a:gd name="T8" fmla="*/ 387 w 1707"/>
                  <a:gd name="T9" fmla="*/ 394 h 1228"/>
                  <a:gd name="T10" fmla="*/ 395 w 1707"/>
                  <a:gd name="T11" fmla="*/ 344 h 1228"/>
                  <a:gd name="T12" fmla="*/ 1445 w 1707"/>
                  <a:gd name="T13" fmla="*/ 0 h 1228"/>
                  <a:gd name="T14" fmla="*/ 429 w 1707"/>
                  <a:gd name="T15" fmla="*/ 161 h 1228"/>
                  <a:gd name="T16" fmla="*/ 440 w 1707"/>
                  <a:gd name="T17" fmla="*/ 196 h 1228"/>
                  <a:gd name="T18" fmla="*/ 449 w 1707"/>
                  <a:gd name="T19" fmla="*/ 174 h 1228"/>
                  <a:gd name="T20" fmla="*/ 457 w 1707"/>
                  <a:gd name="T21" fmla="*/ 158 h 1228"/>
                  <a:gd name="T22" fmla="*/ 465 w 1707"/>
                  <a:gd name="T23" fmla="*/ 143 h 1228"/>
                  <a:gd name="T24" fmla="*/ 473 w 1707"/>
                  <a:gd name="T25" fmla="*/ 129 h 1228"/>
                  <a:gd name="T26" fmla="*/ 575 w 1707"/>
                  <a:gd name="T27" fmla="*/ 37 h 1228"/>
                  <a:gd name="T28" fmla="*/ 589 w 1707"/>
                  <a:gd name="T29" fmla="*/ 34 h 1228"/>
                  <a:gd name="T30" fmla="*/ 1454 w 1707"/>
                  <a:gd name="T31" fmla="*/ 35 h 1228"/>
                  <a:gd name="T32" fmla="*/ 1466 w 1707"/>
                  <a:gd name="T33" fmla="*/ 37 h 1228"/>
                  <a:gd name="T34" fmla="*/ 1478 w 1707"/>
                  <a:gd name="T35" fmla="*/ 40 h 1228"/>
                  <a:gd name="T36" fmla="*/ 1488 w 1707"/>
                  <a:gd name="T37" fmla="*/ 46 h 1228"/>
                  <a:gd name="T38" fmla="*/ 1499 w 1707"/>
                  <a:gd name="T39" fmla="*/ 52 h 1228"/>
                  <a:gd name="T40" fmla="*/ 1513 w 1707"/>
                  <a:gd name="T41" fmla="*/ 62 h 1228"/>
                  <a:gd name="T42" fmla="*/ 1596 w 1707"/>
                  <a:gd name="T43" fmla="*/ 187 h 1228"/>
                  <a:gd name="T44" fmla="*/ 1607 w 1707"/>
                  <a:gd name="T45" fmla="*/ 216 h 1228"/>
                  <a:gd name="T46" fmla="*/ 1608 w 1707"/>
                  <a:gd name="T47" fmla="*/ 1011 h 1228"/>
                  <a:gd name="T48" fmla="*/ 1600 w 1707"/>
                  <a:gd name="T49" fmla="*/ 1031 h 1228"/>
                  <a:gd name="T50" fmla="*/ 1514 w 1707"/>
                  <a:gd name="T51" fmla="*/ 1164 h 1228"/>
                  <a:gd name="T52" fmla="*/ 1504 w 1707"/>
                  <a:gd name="T53" fmla="*/ 1173 h 1228"/>
                  <a:gd name="T54" fmla="*/ 1491 w 1707"/>
                  <a:gd name="T55" fmla="*/ 1181 h 1228"/>
                  <a:gd name="T56" fmla="*/ 1479 w 1707"/>
                  <a:gd name="T57" fmla="*/ 1187 h 1228"/>
                  <a:gd name="T58" fmla="*/ 1468 w 1707"/>
                  <a:gd name="T59" fmla="*/ 1190 h 1228"/>
                  <a:gd name="T60" fmla="*/ 1456 w 1707"/>
                  <a:gd name="T61" fmla="*/ 1193 h 1228"/>
                  <a:gd name="T62" fmla="*/ 1443 w 1707"/>
                  <a:gd name="T63" fmla="*/ 1194 h 1228"/>
                  <a:gd name="T64" fmla="*/ 1434 w 1707"/>
                  <a:gd name="T65" fmla="*/ 1193 h 1228"/>
                  <a:gd name="T66" fmla="*/ 599 w 1707"/>
                  <a:gd name="T67" fmla="*/ 1194 h 1228"/>
                  <a:gd name="T68" fmla="*/ 587 w 1707"/>
                  <a:gd name="T69" fmla="*/ 1193 h 1228"/>
                  <a:gd name="T70" fmla="*/ 574 w 1707"/>
                  <a:gd name="T71" fmla="*/ 1191 h 1228"/>
                  <a:gd name="T72" fmla="*/ 563 w 1707"/>
                  <a:gd name="T73" fmla="*/ 1188 h 1228"/>
                  <a:gd name="T74" fmla="*/ 552 w 1707"/>
                  <a:gd name="T75" fmla="*/ 1182 h 1228"/>
                  <a:gd name="T76" fmla="*/ 541 w 1707"/>
                  <a:gd name="T77" fmla="*/ 1176 h 1228"/>
                  <a:gd name="T78" fmla="*/ 528 w 1707"/>
                  <a:gd name="T79" fmla="*/ 1166 h 1228"/>
                  <a:gd name="T80" fmla="*/ 596 w 1707"/>
                  <a:gd name="T81" fmla="*/ 1228 h 1228"/>
                  <a:gd name="T82" fmla="*/ 1707 w 1707"/>
                  <a:gd name="T83" fmla="*/ 614 h 1228"/>
                  <a:gd name="T84" fmla="*/ 451 w 1707"/>
                  <a:gd name="T85" fmla="*/ 423 h 1228"/>
                  <a:gd name="T86" fmla="*/ 535 w 1707"/>
                  <a:gd name="T87" fmla="*/ 409 h 1228"/>
                  <a:gd name="T88" fmla="*/ 639 w 1707"/>
                  <a:gd name="T89" fmla="*/ 522 h 1228"/>
                  <a:gd name="T90" fmla="*/ 684 w 1707"/>
                  <a:gd name="T91" fmla="*/ 664 h 1228"/>
                  <a:gd name="T92" fmla="*/ 631 w 1707"/>
                  <a:gd name="T93" fmla="*/ 772 h 1228"/>
                  <a:gd name="T94" fmla="*/ 577 w 1707"/>
                  <a:gd name="T95" fmla="*/ 813 h 1228"/>
                  <a:gd name="T96" fmla="*/ 471 w 1707"/>
                  <a:gd name="T97" fmla="*/ 817 h 1228"/>
                  <a:gd name="T98" fmla="*/ 488 w 1707"/>
                  <a:gd name="T99" fmla="*/ 1013 h 1228"/>
                  <a:gd name="T100" fmla="*/ 808 w 1707"/>
                  <a:gd name="T101" fmla="*/ 614 h 1228"/>
                  <a:gd name="T102" fmla="*/ 362 w 1707"/>
                  <a:gd name="T103" fmla="*/ 894 h 1228"/>
                  <a:gd name="T104" fmla="*/ 345 w 1707"/>
                  <a:gd name="T105" fmla="*/ 800 h 1228"/>
                  <a:gd name="T106" fmla="*/ 226 w 1707"/>
                  <a:gd name="T107" fmla="*/ 1169 h 1228"/>
                  <a:gd name="T108" fmla="*/ 79 w 1707"/>
                  <a:gd name="T109" fmla="*/ 793 h 1228"/>
                  <a:gd name="T110" fmla="*/ 98 w 1707"/>
                  <a:gd name="T111" fmla="*/ 926 h 1228"/>
                  <a:gd name="T112" fmla="*/ 0 w 1707"/>
                  <a:gd name="T113" fmla="*/ 370 h 1228"/>
                  <a:gd name="T114" fmla="*/ 79 w 1707"/>
                  <a:gd name="T115" fmla="*/ 410 h 1228"/>
                  <a:gd name="T116" fmla="*/ 79 w 1707"/>
                  <a:gd name="T117" fmla="*/ 410 h 1228"/>
                  <a:gd name="T118" fmla="*/ 305 w 1707"/>
                  <a:gd name="T119" fmla="*/ 146 h 1228"/>
                  <a:gd name="T120" fmla="*/ 226 w 1707"/>
                  <a:gd name="T121" fmla="*/ 107 h 1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707" h="1228">
                    <a:moveTo>
                      <a:pt x="471" y="660"/>
                    </a:moveTo>
                    <a:cubicBezTo>
                      <a:pt x="477" y="660"/>
                      <a:pt x="483" y="658"/>
                      <a:pt x="489" y="655"/>
                    </a:cubicBezTo>
                    <a:cubicBezTo>
                      <a:pt x="489" y="655"/>
                      <a:pt x="489" y="655"/>
                      <a:pt x="489" y="655"/>
                    </a:cubicBezTo>
                    <a:cubicBezTo>
                      <a:pt x="508" y="644"/>
                      <a:pt x="514" y="619"/>
                      <a:pt x="503" y="599"/>
                    </a:cubicBezTo>
                    <a:cubicBezTo>
                      <a:pt x="496" y="587"/>
                      <a:pt x="483" y="580"/>
                      <a:pt x="469" y="580"/>
                    </a:cubicBezTo>
                    <a:cubicBezTo>
                      <a:pt x="467" y="580"/>
                      <a:pt x="466" y="580"/>
                      <a:pt x="464" y="580"/>
                    </a:cubicBezTo>
                    <a:cubicBezTo>
                      <a:pt x="463" y="580"/>
                      <a:pt x="463" y="580"/>
                      <a:pt x="463" y="580"/>
                    </a:cubicBezTo>
                    <a:cubicBezTo>
                      <a:pt x="461" y="580"/>
                      <a:pt x="456" y="581"/>
                      <a:pt x="449" y="585"/>
                    </a:cubicBezTo>
                    <a:cubicBezTo>
                      <a:pt x="441" y="590"/>
                      <a:pt x="435" y="598"/>
                      <a:pt x="432" y="608"/>
                    </a:cubicBezTo>
                    <a:cubicBezTo>
                      <a:pt x="429" y="619"/>
                      <a:pt x="431" y="630"/>
                      <a:pt x="436" y="639"/>
                    </a:cubicBezTo>
                    <a:cubicBezTo>
                      <a:pt x="437" y="640"/>
                      <a:pt x="437" y="640"/>
                      <a:pt x="437" y="640"/>
                    </a:cubicBezTo>
                    <a:cubicBezTo>
                      <a:pt x="444" y="652"/>
                      <a:pt x="457" y="660"/>
                      <a:pt x="471" y="660"/>
                    </a:cubicBezTo>
                    <a:close/>
                    <a:moveTo>
                      <a:pt x="362" y="333"/>
                    </a:moveTo>
                    <a:cubicBezTo>
                      <a:pt x="355" y="367"/>
                      <a:pt x="349" y="403"/>
                      <a:pt x="344" y="439"/>
                    </a:cubicBezTo>
                    <a:cubicBezTo>
                      <a:pt x="349" y="435"/>
                      <a:pt x="354" y="432"/>
                      <a:pt x="359" y="429"/>
                    </a:cubicBezTo>
                    <a:cubicBezTo>
                      <a:pt x="360" y="428"/>
                      <a:pt x="360" y="428"/>
                      <a:pt x="360" y="428"/>
                    </a:cubicBezTo>
                    <a:cubicBezTo>
                      <a:pt x="362" y="427"/>
                      <a:pt x="362" y="427"/>
                      <a:pt x="362" y="427"/>
                    </a:cubicBezTo>
                    <a:cubicBezTo>
                      <a:pt x="369" y="423"/>
                      <a:pt x="376" y="420"/>
                      <a:pt x="383" y="417"/>
                    </a:cubicBezTo>
                    <a:cubicBezTo>
                      <a:pt x="384" y="410"/>
                      <a:pt x="385" y="403"/>
                      <a:pt x="387" y="397"/>
                    </a:cubicBezTo>
                    <a:cubicBezTo>
                      <a:pt x="387" y="394"/>
                      <a:pt x="387" y="394"/>
                      <a:pt x="387" y="394"/>
                    </a:cubicBezTo>
                    <a:cubicBezTo>
                      <a:pt x="387" y="386"/>
                      <a:pt x="389" y="379"/>
                      <a:pt x="391" y="371"/>
                    </a:cubicBezTo>
                    <a:cubicBezTo>
                      <a:pt x="391" y="370"/>
                      <a:pt x="391" y="370"/>
                      <a:pt x="391" y="369"/>
                    </a:cubicBezTo>
                    <a:cubicBezTo>
                      <a:pt x="393" y="361"/>
                      <a:pt x="394" y="354"/>
                      <a:pt x="395" y="345"/>
                    </a:cubicBezTo>
                    <a:cubicBezTo>
                      <a:pt x="395" y="345"/>
                      <a:pt x="395" y="345"/>
                      <a:pt x="395" y="344"/>
                    </a:cubicBezTo>
                    <a:cubicBezTo>
                      <a:pt x="397" y="338"/>
                      <a:pt x="398" y="331"/>
                      <a:pt x="400" y="325"/>
                    </a:cubicBezTo>
                    <a:cubicBezTo>
                      <a:pt x="391" y="330"/>
                      <a:pt x="381" y="334"/>
                      <a:pt x="370" y="334"/>
                    </a:cubicBezTo>
                    <a:cubicBezTo>
                      <a:pt x="367" y="334"/>
                      <a:pt x="364" y="333"/>
                      <a:pt x="362" y="333"/>
                    </a:cubicBezTo>
                    <a:close/>
                    <a:moveTo>
                      <a:pt x="1445" y="0"/>
                    </a:moveTo>
                    <a:cubicBezTo>
                      <a:pt x="583" y="0"/>
                      <a:pt x="583" y="0"/>
                      <a:pt x="583" y="0"/>
                    </a:cubicBezTo>
                    <a:cubicBezTo>
                      <a:pt x="580" y="0"/>
                      <a:pt x="577" y="1"/>
                      <a:pt x="575" y="2"/>
                    </a:cubicBezTo>
                    <a:cubicBezTo>
                      <a:pt x="519" y="11"/>
                      <a:pt x="468" y="61"/>
                      <a:pt x="426" y="143"/>
                    </a:cubicBezTo>
                    <a:cubicBezTo>
                      <a:pt x="428" y="149"/>
                      <a:pt x="429" y="155"/>
                      <a:pt x="429" y="161"/>
                    </a:cubicBezTo>
                    <a:cubicBezTo>
                      <a:pt x="429" y="226"/>
                      <a:pt x="429" y="226"/>
                      <a:pt x="429" y="226"/>
                    </a:cubicBezTo>
                    <a:cubicBezTo>
                      <a:pt x="431" y="220"/>
                      <a:pt x="433" y="214"/>
                      <a:pt x="435" y="208"/>
                    </a:cubicBezTo>
                    <a:cubicBezTo>
                      <a:pt x="437" y="204"/>
                      <a:pt x="438" y="202"/>
                      <a:pt x="439" y="198"/>
                    </a:cubicBezTo>
                    <a:cubicBezTo>
                      <a:pt x="439" y="197"/>
                      <a:pt x="439" y="197"/>
                      <a:pt x="440" y="196"/>
                    </a:cubicBezTo>
                    <a:cubicBezTo>
                      <a:pt x="441" y="194"/>
                      <a:pt x="442" y="191"/>
                      <a:pt x="443" y="189"/>
                    </a:cubicBezTo>
                    <a:cubicBezTo>
                      <a:pt x="444" y="187"/>
                      <a:pt x="445" y="186"/>
                      <a:pt x="445" y="185"/>
                    </a:cubicBezTo>
                    <a:cubicBezTo>
                      <a:pt x="446" y="183"/>
                      <a:pt x="446" y="181"/>
                      <a:pt x="447" y="180"/>
                    </a:cubicBezTo>
                    <a:cubicBezTo>
                      <a:pt x="447" y="178"/>
                      <a:pt x="448" y="177"/>
                      <a:pt x="449" y="174"/>
                    </a:cubicBezTo>
                    <a:cubicBezTo>
                      <a:pt x="450" y="173"/>
                      <a:pt x="451" y="172"/>
                      <a:pt x="451" y="171"/>
                    </a:cubicBezTo>
                    <a:cubicBezTo>
                      <a:pt x="452" y="169"/>
                      <a:pt x="453" y="168"/>
                      <a:pt x="454" y="166"/>
                    </a:cubicBezTo>
                    <a:cubicBezTo>
                      <a:pt x="455" y="165"/>
                      <a:pt x="455" y="164"/>
                      <a:pt x="455" y="162"/>
                    </a:cubicBezTo>
                    <a:cubicBezTo>
                      <a:pt x="456" y="161"/>
                      <a:pt x="457" y="160"/>
                      <a:pt x="457" y="158"/>
                    </a:cubicBezTo>
                    <a:cubicBezTo>
                      <a:pt x="458" y="157"/>
                      <a:pt x="459" y="155"/>
                      <a:pt x="459" y="154"/>
                    </a:cubicBezTo>
                    <a:cubicBezTo>
                      <a:pt x="460" y="152"/>
                      <a:pt x="461" y="151"/>
                      <a:pt x="462" y="150"/>
                    </a:cubicBezTo>
                    <a:cubicBezTo>
                      <a:pt x="463" y="149"/>
                      <a:pt x="463" y="147"/>
                      <a:pt x="463" y="146"/>
                    </a:cubicBezTo>
                    <a:cubicBezTo>
                      <a:pt x="464" y="145"/>
                      <a:pt x="465" y="143"/>
                      <a:pt x="465" y="143"/>
                    </a:cubicBezTo>
                    <a:cubicBezTo>
                      <a:pt x="466" y="141"/>
                      <a:pt x="467" y="140"/>
                      <a:pt x="468" y="138"/>
                    </a:cubicBezTo>
                    <a:cubicBezTo>
                      <a:pt x="469" y="137"/>
                      <a:pt x="469" y="136"/>
                      <a:pt x="470" y="135"/>
                    </a:cubicBezTo>
                    <a:cubicBezTo>
                      <a:pt x="471" y="134"/>
                      <a:pt x="472" y="133"/>
                      <a:pt x="472" y="131"/>
                    </a:cubicBezTo>
                    <a:cubicBezTo>
                      <a:pt x="472" y="130"/>
                      <a:pt x="473" y="129"/>
                      <a:pt x="473" y="129"/>
                    </a:cubicBezTo>
                    <a:cubicBezTo>
                      <a:pt x="474" y="127"/>
                      <a:pt x="476" y="125"/>
                      <a:pt x="477" y="124"/>
                    </a:cubicBezTo>
                    <a:cubicBezTo>
                      <a:pt x="477" y="123"/>
                      <a:pt x="477" y="123"/>
                      <a:pt x="478" y="122"/>
                    </a:cubicBezTo>
                    <a:cubicBezTo>
                      <a:pt x="479" y="120"/>
                      <a:pt x="480" y="118"/>
                      <a:pt x="481" y="116"/>
                    </a:cubicBezTo>
                    <a:cubicBezTo>
                      <a:pt x="510" y="72"/>
                      <a:pt x="542" y="45"/>
                      <a:pt x="575" y="37"/>
                    </a:cubicBezTo>
                    <a:cubicBezTo>
                      <a:pt x="576" y="37"/>
                      <a:pt x="578" y="37"/>
                      <a:pt x="579" y="36"/>
                    </a:cubicBezTo>
                    <a:cubicBezTo>
                      <a:pt x="580" y="36"/>
                      <a:pt x="580" y="36"/>
                      <a:pt x="581" y="36"/>
                    </a:cubicBezTo>
                    <a:cubicBezTo>
                      <a:pt x="582" y="36"/>
                      <a:pt x="583" y="35"/>
                      <a:pt x="585" y="35"/>
                    </a:cubicBezTo>
                    <a:cubicBezTo>
                      <a:pt x="586" y="34"/>
                      <a:pt x="587" y="34"/>
                      <a:pt x="589" y="34"/>
                    </a:cubicBezTo>
                    <a:cubicBezTo>
                      <a:pt x="595" y="34"/>
                      <a:pt x="595" y="34"/>
                      <a:pt x="595" y="34"/>
                    </a:cubicBezTo>
                    <a:cubicBezTo>
                      <a:pt x="1437" y="34"/>
                      <a:pt x="1445" y="34"/>
                      <a:pt x="1445" y="34"/>
                    </a:cubicBezTo>
                    <a:cubicBezTo>
                      <a:pt x="1451" y="34"/>
                      <a:pt x="1451" y="34"/>
                      <a:pt x="1451" y="34"/>
                    </a:cubicBezTo>
                    <a:cubicBezTo>
                      <a:pt x="1452" y="35"/>
                      <a:pt x="1453" y="35"/>
                      <a:pt x="1454" y="35"/>
                    </a:cubicBezTo>
                    <a:cubicBezTo>
                      <a:pt x="1456" y="35"/>
                      <a:pt x="1456" y="35"/>
                      <a:pt x="1456" y="35"/>
                    </a:cubicBezTo>
                    <a:cubicBezTo>
                      <a:pt x="1457" y="35"/>
                      <a:pt x="1459" y="36"/>
                      <a:pt x="1460" y="36"/>
                    </a:cubicBezTo>
                    <a:cubicBezTo>
                      <a:pt x="1461" y="36"/>
                      <a:pt x="1462" y="36"/>
                      <a:pt x="1462" y="36"/>
                    </a:cubicBezTo>
                    <a:cubicBezTo>
                      <a:pt x="1463" y="37"/>
                      <a:pt x="1464" y="37"/>
                      <a:pt x="1466" y="37"/>
                    </a:cubicBezTo>
                    <a:cubicBezTo>
                      <a:pt x="1467" y="37"/>
                      <a:pt x="1467" y="37"/>
                      <a:pt x="1468" y="37"/>
                    </a:cubicBezTo>
                    <a:cubicBezTo>
                      <a:pt x="1469" y="37"/>
                      <a:pt x="1471" y="38"/>
                      <a:pt x="1471" y="38"/>
                    </a:cubicBezTo>
                    <a:cubicBezTo>
                      <a:pt x="1472" y="38"/>
                      <a:pt x="1473" y="39"/>
                      <a:pt x="1473" y="39"/>
                    </a:cubicBezTo>
                    <a:cubicBezTo>
                      <a:pt x="1475" y="39"/>
                      <a:pt x="1476" y="40"/>
                      <a:pt x="1478" y="40"/>
                    </a:cubicBezTo>
                    <a:cubicBezTo>
                      <a:pt x="1478" y="41"/>
                      <a:pt x="1479" y="41"/>
                      <a:pt x="1479" y="41"/>
                    </a:cubicBezTo>
                    <a:cubicBezTo>
                      <a:pt x="1480" y="42"/>
                      <a:pt x="1481" y="42"/>
                      <a:pt x="1483" y="43"/>
                    </a:cubicBezTo>
                    <a:cubicBezTo>
                      <a:pt x="1484" y="43"/>
                      <a:pt x="1484" y="44"/>
                      <a:pt x="1485" y="44"/>
                    </a:cubicBezTo>
                    <a:cubicBezTo>
                      <a:pt x="1486" y="45"/>
                      <a:pt x="1488" y="45"/>
                      <a:pt x="1488" y="46"/>
                    </a:cubicBezTo>
                    <a:cubicBezTo>
                      <a:pt x="1489" y="46"/>
                      <a:pt x="1490" y="46"/>
                      <a:pt x="1491" y="46"/>
                    </a:cubicBezTo>
                    <a:cubicBezTo>
                      <a:pt x="1492" y="47"/>
                      <a:pt x="1493" y="48"/>
                      <a:pt x="1494" y="48"/>
                    </a:cubicBezTo>
                    <a:cubicBezTo>
                      <a:pt x="1495" y="49"/>
                      <a:pt x="1496" y="50"/>
                      <a:pt x="1496" y="50"/>
                    </a:cubicBezTo>
                    <a:cubicBezTo>
                      <a:pt x="1497" y="51"/>
                      <a:pt x="1498" y="51"/>
                      <a:pt x="1499" y="52"/>
                    </a:cubicBezTo>
                    <a:cubicBezTo>
                      <a:pt x="1500" y="53"/>
                      <a:pt x="1502" y="54"/>
                      <a:pt x="1504" y="55"/>
                    </a:cubicBezTo>
                    <a:cubicBezTo>
                      <a:pt x="1504" y="55"/>
                      <a:pt x="1504" y="55"/>
                      <a:pt x="1504" y="55"/>
                    </a:cubicBezTo>
                    <a:cubicBezTo>
                      <a:pt x="1506" y="56"/>
                      <a:pt x="1508" y="58"/>
                      <a:pt x="1510" y="60"/>
                    </a:cubicBezTo>
                    <a:cubicBezTo>
                      <a:pt x="1511" y="60"/>
                      <a:pt x="1512" y="61"/>
                      <a:pt x="1513" y="62"/>
                    </a:cubicBezTo>
                    <a:cubicBezTo>
                      <a:pt x="1513" y="63"/>
                      <a:pt x="1513" y="63"/>
                      <a:pt x="1514" y="63"/>
                    </a:cubicBezTo>
                    <a:cubicBezTo>
                      <a:pt x="1543" y="89"/>
                      <a:pt x="1570" y="128"/>
                      <a:pt x="1592" y="179"/>
                    </a:cubicBezTo>
                    <a:cubicBezTo>
                      <a:pt x="1593" y="180"/>
                      <a:pt x="1593" y="181"/>
                      <a:pt x="1594" y="182"/>
                    </a:cubicBezTo>
                    <a:cubicBezTo>
                      <a:pt x="1595" y="184"/>
                      <a:pt x="1596" y="186"/>
                      <a:pt x="1596" y="187"/>
                    </a:cubicBezTo>
                    <a:cubicBezTo>
                      <a:pt x="1598" y="190"/>
                      <a:pt x="1599" y="194"/>
                      <a:pt x="1600" y="197"/>
                    </a:cubicBezTo>
                    <a:cubicBezTo>
                      <a:pt x="1601" y="200"/>
                      <a:pt x="1602" y="203"/>
                      <a:pt x="1604" y="205"/>
                    </a:cubicBezTo>
                    <a:cubicBezTo>
                      <a:pt x="1604" y="206"/>
                      <a:pt x="1604" y="206"/>
                      <a:pt x="1604" y="206"/>
                    </a:cubicBezTo>
                    <a:cubicBezTo>
                      <a:pt x="1606" y="210"/>
                      <a:pt x="1607" y="213"/>
                      <a:pt x="1607" y="216"/>
                    </a:cubicBezTo>
                    <a:cubicBezTo>
                      <a:pt x="1608" y="217"/>
                      <a:pt x="1608" y="217"/>
                      <a:pt x="1608" y="217"/>
                    </a:cubicBezTo>
                    <a:cubicBezTo>
                      <a:pt x="1646" y="318"/>
                      <a:pt x="1669" y="453"/>
                      <a:pt x="1671" y="600"/>
                    </a:cubicBezTo>
                    <a:cubicBezTo>
                      <a:pt x="1671" y="628"/>
                      <a:pt x="1671" y="628"/>
                      <a:pt x="1671" y="628"/>
                    </a:cubicBezTo>
                    <a:cubicBezTo>
                      <a:pt x="1669" y="775"/>
                      <a:pt x="1646" y="909"/>
                      <a:pt x="1608" y="1011"/>
                    </a:cubicBezTo>
                    <a:cubicBezTo>
                      <a:pt x="1608" y="1011"/>
                      <a:pt x="1608" y="1011"/>
                      <a:pt x="1607" y="1012"/>
                    </a:cubicBezTo>
                    <a:cubicBezTo>
                      <a:pt x="1607" y="1014"/>
                      <a:pt x="1606" y="1018"/>
                      <a:pt x="1604" y="1022"/>
                    </a:cubicBezTo>
                    <a:cubicBezTo>
                      <a:pt x="1604" y="1022"/>
                      <a:pt x="1604" y="1022"/>
                      <a:pt x="1603" y="1023"/>
                    </a:cubicBezTo>
                    <a:cubicBezTo>
                      <a:pt x="1602" y="1026"/>
                      <a:pt x="1601" y="1028"/>
                      <a:pt x="1600" y="1031"/>
                    </a:cubicBezTo>
                    <a:cubicBezTo>
                      <a:pt x="1599" y="1034"/>
                      <a:pt x="1598" y="1038"/>
                      <a:pt x="1596" y="1040"/>
                    </a:cubicBezTo>
                    <a:cubicBezTo>
                      <a:pt x="1596" y="1042"/>
                      <a:pt x="1595" y="1044"/>
                      <a:pt x="1594" y="1046"/>
                    </a:cubicBezTo>
                    <a:cubicBezTo>
                      <a:pt x="1593" y="1047"/>
                      <a:pt x="1593" y="1048"/>
                      <a:pt x="1592" y="1049"/>
                    </a:cubicBezTo>
                    <a:cubicBezTo>
                      <a:pt x="1570" y="1100"/>
                      <a:pt x="1543" y="1139"/>
                      <a:pt x="1514" y="1164"/>
                    </a:cubicBezTo>
                    <a:cubicBezTo>
                      <a:pt x="1513" y="1165"/>
                      <a:pt x="1513" y="1165"/>
                      <a:pt x="1513" y="1166"/>
                    </a:cubicBezTo>
                    <a:cubicBezTo>
                      <a:pt x="1512" y="1167"/>
                      <a:pt x="1511" y="1168"/>
                      <a:pt x="1510" y="1168"/>
                    </a:cubicBezTo>
                    <a:cubicBezTo>
                      <a:pt x="1508" y="1170"/>
                      <a:pt x="1506" y="1172"/>
                      <a:pt x="1504" y="1172"/>
                    </a:cubicBezTo>
                    <a:cubicBezTo>
                      <a:pt x="1504" y="1173"/>
                      <a:pt x="1504" y="1173"/>
                      <a:pt x="1504" y="1173"/>
                    </a:cubicBezTo>
                    <a:cubicBezTo>
                      <a:pt x="1502" y="1174"/>
                      <a:pt x="1500" y="1175"/>
                      <a:pt x="1499" y="1176"/>
                    </a:cubicBezTo>
                    <a:cubicBezTo>
                      <a:pt x="1498" y="1177"/>
                      <a:pt x="1497" y="1177"/>
                      <a:pt x="1496" y="1178"/>
                    </a:cubicBezTo>
                    <a:cubicBezTo>
                      <a:pt x="1496" y="1178"/>
                      <a:pt x="1495" y="1179"/>
                      <a:pt x="1494" y="1180"/>
                    </a:cubicBezTo>
                    <a:cubicBezTo>
                      <a:pt x="1493" y="1180"/>
                      <a:pt x="1492" y="1181"/>
                      <a:pt x="1491" y="1181"/>
                    </a:cubicBezTo>
                    <a:cubicBezTo>
                      <a:pt x="1490" y="1181"/>
                      <a:pt x="1489" y="1182"/>
                      <a:pt x="1488" y="1182"/>
                    </a:cubicBezTo>
                    <a:cubicBezTo>
                      <a:pt x="1488" y="1183"/>
                      <a:pt x="1486" y="1183"/>
                      <a:pt x="1485" y="1184"/>
                    </a:cubicBezTo>
                    <a:cubicBezTo>
                      <a:pt x="1484" y="1184"/>
                      <a:pt x="1484" y="1185"/>
                      <a:pt x="1483" y="1185"/>
                    </a:cubicBezTo>
                    <a:cubicBezTo>
                      <a:pt x="1481" y="1186"/>
                      <a:pt x="1480" y="1186"/>
                      <a:pt x="1479" y="1187"/>
                    </a:cubicBezTo>
                    <a:cubicBezTo>
                      <a:pt x="1479" y="1187"/>
                      <a:pt x="1478" y="1187"/>
                      <a:pt x="1478" y="1188"/>
                    </a:cubicBezTo>
                    <a:cubicBezTo>
                      <a:pt x="1476" y="1188"/>
                      <a:pt x="1475" y="1189"/>
                      <a:pt x="1473" y="1189"/>
                    </a:cubicBezTo>
                    <a:cubicBezTo>
                      <a:pt x="1473" y="1189"/>
                      <a:pt x="1472" y="1190"/>
                      <a:pt x="1471" y="1190"/>
                    </a:cubicBezTo>
                    <a:cubicBezTo>
                      <a:pt x="1471" y="1190"/>
                      <a:pt x="1469" y="1190"/>
                      <a:pt x="1468" y="1190"/>
                    </a:cubicBezTo>
                    <a:cubicBezTo>
                      <a:pt x="1467" y="1190"/>
                      <a:pt x="1467" y="1191"/>
                      <a:pt x="1466" y="1191"/>
                    </a:cubicBezTo>
                    <a:cubicBezTo>
                      <a:pt x="1464" y="1191"/>
                      <a:pt x="1463" y="1191"/>
                      <a:pt x="1462" y="1192"/>
                    </a:cubicBezTo>
                    <a:cubicBezTo>
                      <a:pt x="1462" y="1192"/>
                      <a:pt x="1461" y="1192"/>
                      <a:pt x="1460" y="1192"/>
                    </a:cubicBezTo>
                    <a:cubicBezTo>
                      <a:pt x="1459" y="1192"/>
                      <a:pt x="1457" y="1193"/>
                      <a:pt x="1456" y="1193"/>
                    </a:cubicBezTo>
                    <a:cubicBezTo>
                      <a:pt x="1454" y="1193"/>
                      <a:pt x="1454" y="1193"/>
                      <a:pt x="1454" y="1193"/>
                    </a:cubicBezTo>
                    <a:cubicBezTo>
                      <a:pt x="1453" y="1193"/>
                      <a:pt x="1452" y="1193"/>
                      <a:pt x="1451" y="1194"/>
                    </a:cubicBezTo>
                    <a:cubicBezTo>
                      <a:pt x="1445" y="1194"/>
                      <a:pt x="1445" y="1194"/>
                      <a:pt x="1445" y="1194"/>
                    </a:cubicBezTo>
                    <a:cubicBezTo>
                      <a:pt x="1444" y="1194"/>
                      <a:pt x="1444" y="1194"/>
                      <a:pt x="1443" y="1194"/>
                    </a:cubicBezTo>
                    <a:cubicBezTo>
                      <a:pt x="1442" y="1194"/>
                      <a:pt x="1442" y="1194"/>
                      <a:pt x="1442" y="1194"/>
                    </a:cubicBezTo>
                    <a:cubicBezTo>
                      <a:pt x="1441" y="1194"/>
                      <a:pt x="1441" y="1194"/>
                      <a:pt x="1441" y="1194"/>
                    </a:cubicBezTo>
                    <a:cubicBezTo>
                      <a:pt x="1437" y="1194"/>
                      <a:pt x="1437" y="1194"/>
                      <a:pt x="1437" y="1194"/>
                    </a:cubicBezTo>
                    <a:cubicBezTo>
                      <a:pt x="1434" y="1193"/>
                      <a:pt x="1434" y="1193"/>
                      <a:pt x="1434" y="1193"/>
                    </a:cubicBezTo>
                    <a:cubicBezTo>
                      <a:pt x="607" y="1193"/>
                      <a:pt x="607" y="1193"/>
                      <a:pt x="607" y="1193"/>
                    </a:cubicBezTo>
                    <a:cubicBezTo>
                      <a:pt x="604" y="1194"/>
                      <a:pt x="604" y="1194"/>
                      <a:pt x="604" y="1194"/>
                    </a:cubicBezTo>
                    <a:cubicBezTo>
                      <a:pt x="600" y="1194"/>
                      <a:pt x="600" y="1194"/>
                      <a:pt x="600" y="1194"/>
                    </a:cubicBezTo>
                    <a:cubicBezTo>
                      <a:pt x="599" y="1194"/>
                      <a:pt x="599" y="1194"/>
                      <a:pt x="599" y="1194"/>
                    </a:cubicBezTo>
                    <a:cubicBezTo>
                      <a:pt x="599" y="1194"/>
                      <a:pt x="599" y="1194"/>
                      <a:pt x="598" y="1194"/>
                    </a:cubicBezTo>
                    <a:cubicBezTo>
                      <a:pt x="597" y="1194"/>
                      <a:pt x="597" y="1194"/>
                      <a:pt x="596" y="1194"/>
                    </a:cubicBezTo>
                    <a:cubicBezTo>
                      <a:pt x="590" y="1194"/>
                      <a:pt x="590" y="1194"/>
                      <a:pt x="590" y="1194"/>
                    </a:cubicBezTo>
                    <a:cubicBezTo>
                      <a:pt x="589" y="1193"/>
                      <a:pt x="588" y="1193"/>
                      <a:pt x="587" y="1193"/>
                    </a:cubicBezTo>
                    <a:cubicBezTo>
                      <a:pt x="584" y="1193"/>
                      <a:pt x="584" y="1193"/>
                      <a:pt x="584" y="1193"/>
                    </a:cubicBezTo>
                    <a:cubicBezTo>
                      <a:pt x="583" y="1193"/>
                      <a:pt x="582" y="1192"/>
                      <a:pt x="581" y="1192"/>
                    </a:cubicBezTo>
                    <a:cubicBezTo>
                      <a:pt x="580" y="1192"/>
                      <a:pt x="579" y="1192"/>
                      <a:pt x="579" y="1192"/>
                    </a:cubicBezTo>
                    <a:cubicBezTo>
                      <a:pt x="577" y="1191"/>
                      <a:pt x="576" y="1191"/>
                      <a:pt x="574" y="1191"/>
                    </a:cubicBezTo>
                    <a:cubicBezTo>
                      <a:pt x="574" y="1191"/>
                      <a:pt x="574" y="1190"/>
                      <a:pt x="573" y="1190"/>
                    </a:cubicBezTo>
                    <a:cubicBezTo>
                      <a:pt x="572" y="1190"/>
                      <a:pt x="570" y="1190"/>
                      <a:pt x="569" y="1190"/>
                    </a:cubicBezTo>
                    <a:cubicBezTo>
                      <a:pt x="568" y="1190"/>
                      <a:pt x="567" y="1189"/>
                      <a:pt x="567" y="1189"/>
                    </a:cubicBezTo>
                    <a:cubicBezTo>
                      <a:pt x="566" y="1189"/>
                      <a:pt x="565" y="1188"/>
                      <a:pt x="563" y="1188"/>
                    </a:cubicBezTo>
                    <a:cubicBezTo>
                      <a:pt x="563" y="1187"/>
                      <a:pt x="562" y="1187"/>
                      <a:pt x="561" y="1187"/>
                    </a:cubicBezTo>
                    <a:cubicBezTo>
                      <a:pt x="560" y="1186"/>
                      <a:pt x="559" y="1186"/>
                      <a:pt x="557" y="1185"/>
                    </a:cubicBezTo>
                    <a:cubicBezTo>
                      <a:pt x="557" y="1185"/>
                      <a:pt x="557" y="1184"/>
                      <a:pt x="556" y="1184"/>
                    </a:cubicBezTo>
                    <a:cubicBezTo>
                      <a:pt x="555" y="1183"/>
                      <a:pt x="553" y="1183"/>
                      <a:pt x="552" y="1182"/>
                    </a:cubicBezTo>
                    <a:cubicBezTo>
                      <a:pt x="551" y="1182"/>
                      <a:pt x="550" y="1181"/>
                      <a:pt x="549" y="1181"/>
                    </a:cubicBezTo>
                    <a:cubicBezTo>
                      <a:pt x="549" y="1181"/>
                      <a:pt x="548" y="1180"/>
                      <a:pt x="547" y="1180"/>
                    </a:cubicBezTo>
                    <a:cubicBezTo>
                      <a:pt x="546" y="1179"/>
                      <a:pt x="545" y="1178"/>
                      <a:pt x="544" y="1178"/>
                    </a:cubicBezTo>
                    <a:cubicBezTo>
                      <a:pt x="543" y="1177"/>
                      <a:pt x="542" y="1177"/>
                      <a:pt x="541" y="1176"/>
                    </a:cubicBezTo>
                    <a:cubicBezTo>
                      <a:pt x="540" y="1175"/>
                      <a:pt x="539" y="1174"/>
                      <a:pt x="537" y="1173"/>
                    </a:cubicBezTo>
                    <a:cubicBezTo>
                      <a:pt x="537" y="1173"/>
                      <a:pt x="537" y="1172"/>
                      <a:pt x="536" y="1172"/>
                    </a:cubicBezTo>
                    <a:cubicBezTo>
                      <a:pt x="534" y="1172"/>
                      <a:pt x="532" y="1170"/>
                      <a:pt x="531" y="1168"/>
                    </a:cubicBezTo>
                    <a:cubicBezTo>
                      <a:pt x="530" y="1168"/>
                      <a:pt x="529" y="1167"/>
                      <a:pt x="528" y="1166"/>
                    </a:cubicBezTo>
                    <a:cubicBezTo>
                      <a:pt x="528" y="1165"/>
                      <a:pt x="527" y="1165"/>
                      <a:pt x="526" y="1164"/>
                    </a:cubicBezTo>
                    <a:cubicBezTo>
                      <a:pt x="504" y="1145"/>
                      <a:pt x="483" y="1118"/>
                      <a:pt x="465" y="1083"/>
                    </a:cubicBezTo>
                    <a:cubicBezTo>
                      <a:pt x="458" y="1093"/>
                      <a:pt x="449" y="1102"/>
                      <a:pt x="439" y="1109"/>
                    </a:cubicBezTo>
                    <a:cubicBezTo>
                      <a:pt x="482" y="1184"/>
                      <a:pt x="537" y="1228"/>
                      <a:pt x="596" y="1228"/>
                    </a:cubicBezTo>
                    <a:cubicBezTo>
                      <a:pt x="600" y="1228"/>
                      <a:pt x="606" y="1228"/>
                      <a:pt x="610" y="1227"/>
                    </a:cubicBezTo>
                    <a:cubicBezTo>
                      <a:pt x="1430" y="1227"/>
                      <a:pt x="1430" y="1227"/>
                      <a:pt x="1430" y="1227"/>
                    </a:cubicBezTo>
                    <a:cubicBezTo>
                      <a:pt x="1435" y="1228"/>
                      <a:pt x="1440" y="1228"/>
                      <a:pt x="1445" y="1228"/>
                    </a:cubicBezTo>
                    <a:cubicBezTo>
                      <a:pt x="1591" y="1228"/>
                      <a:pt x="1707" y="959"/>
                      <a:pt x="1707" y="614"/>
                    </a:cubicBezTo>
                    <a:cubicBezTo>
                      <a:pt x="1707" y="269"/>
                      <a:pt x="1591" y="0"/>
                      <a:pt x="1445" y="0"/>
                    </a:cubicBezTo>
                    <a:close/>
                    <a:moveTo>
                      <a:pt x="444" y="319"/>
                    </a:moveTo>
                    <a:cubicBezTo>
                      <a:pt x="437" y="346"/>
                      <a:pt x="432" y="375"/>
                      <a:pt x="427" y="405"/>
                    </a:cubicBezTo>
                    <a:cubicBezTo>
                      <a:pt x="451" y="423"/>
                      <a:pt x="451" y="423"/>
                      <a:pt x="451" y="423"/>
                    </a:cubicBezTo>
                    <a:cubicBezTo>
                      <a:pt x="458" y="422"/>
                      <a:pt x="465" y="422"/>
                      <a:pt x="471" y="422"/>
                    </a:cubicBezTo>
                    <a:cubicBezTo>
                      <a:pt x="477" y="422"/>
                      <a:pt x="483" y="422"/>
                      <a:pt x="489" y="423"/>
                    </a:cubicBezTo>
                    <a:cubicBezTo>
                      <a:pt x="516" y="403"/>
                      <a:pt x="516" y="403"/>
                      <a:pt x="516" y="403"/>
                    </a:cubicBezTo>
                    <a:cubicBezTo>
                      <a:pt x="535" y="409"/>
                      <a:pt x="535" y="409"/>
                      <a:pt x="535" y="409"/>
                    </a:cubicBezTo>
                    <a:cubicBezTo>
                      <a:pt x="564" y="418"/>
                      <a:pt x="593" y="435"/>
                      <a:pt x="616" y="456"/>
                    </a:cubicBezTo>
                    <a:cubicBezTo>
                      <a:pt x="630" y="470"/>
                      <a:pt x="630" y="470"/>
                      <a:pt x="630" y="470"/>
                    </a:cubicBezTo>
                    <a:cubicBezTo>
                      <a:pt x="627" y="502"/>
                      <a:pt x="627" y="502"/>
                      <a:pt x="627" y="502"/>
                    </a:cubicBezTo>
                    <a:cubicBezTo>
                      <a:pt x="631" y="509"/>
                      <a:pt x="635" y="515"/>
                      <a:pt x="639" y="522"/>
                    </a:cubicBezTo>
                    <a:cubicBezTo>
                      <a:pt x="643" y="528"/>
                      <a:pt x="646" y="534"/>
                      <a:pt x="648" y="540"/>
                    </a:cubicBezTo>
                    <a:cubicBezTo>
                      <a:pt x="679" y="555"/>
                      <a:pt x="679" y="555"/>
                      <a:pt x="679" y="555"/>
                    </a:cubicBezTo>
                    <a:cubicBezTo>
                      <a:pt x="683" y="573"/>
                      <a:pt x="683" y="573"/>
                      <a:pt x="683" y="573"/>
                    </a:cubicBezTo>
                    <a:cubicBezTo>
                      <a:pt x="689" y="602"/>
                      <a:pt x="690" y="633"/>
                      <a:pt x="684" y="664"/>
                    </a:cubicBezTo>
                    <a:cubicBezTo>
                      <a:pt x="680" y="684"/>
                      <a:pt x="680" y="684"/>
                      <a:pt x="680" y="684"/>
                    </a:cubicBezTo>
                    <a:cubicBezTo>
                      <a:pt x="649" y="698"/>
                      <a:pt x="649" y="698"/>
                      <a:pt x="649" y="698"/>
                    </a:cubicBezTo>
                    <a:cubicBezTo>
                      <a:pt x="643" y="712"/>
                      <a:pt x="636" y="725"/>
                      <a:pt x="627" y="737"/>
                    </a:cubicBezTo>
                    <a:cubicBezTo>
                      <a:pt x="631" y="772"/>
                      <a:pt x="631" y="772"/>
                      <a:pt x="631" y="772"/>
                    </a:cubicBezTo>
                    <a:cubicBezTo>
                      <a:pt x="615" y="786"/>
                      <a:pt x="615" y="786"/>
                      <a:pt x="615" y="786"/>
                    </a:cubicBezTo>
                    <a:cubicBezTo>
                      <a:pt x="604" y="794"/>
                      <a:pt x="593" y="804"/>
                      <a:pt x="579" y="812"/>
                    </a:cubicBezTo>
                    <a:cubicBezTo>
                      <a:pt x="578" y="812"/>
                      <a:pt x="578" y="812"/>
                      <a:pt x="578" y="812"/>
                    </a:cubicBezTo>
                    <a:cubicBezTo>
                      <a:pt x="577" y="813"/>
                      <a:pt x="577" y="813"/>
                      <a:pt x="577" y="813"/>
                    </a:cubicBezTo>
                    <a:cubicBezTo>
                      <a:pt x="563" y="820"/>
                      <a:pt x="551" y="826"/>
                      <a:pt x="540" y="829"/>
                    </a:cubicBezTo>
                    <a:cubicBezTo>
                      <a:pt x="521" y="836"/>
                      <a:pt x="521" y="836"/>
                      <a:pt x="521" y="836"/>
                    </a:cubicBezTo>
                    <a:cubicBezTo>
                      <a:pt x="492" y="816"/>
                      <a:pt x="492" y="816"/>
                      <a:pt x="492" y="816"/>
                    </a:cubicBezTo>
                    <a:cubicBezTo>
                      <a:pt x="485" y="817"/>
                      <a:pt x="478" y="817"/>
                      <a:pt x="471" y="817"/>
                    </a:cubicBezTo>
                    <a:cubicBezTo>
                      <a:pt x="463" y="817"/>
                      <a:pt x="455" y="817"/>
                      <a:pt x="447" y="816"/>
                    </a:cubicBezTo>
                    <a:cubicBezTo>
                      <a:pt x="428" y="829"/>
                      <a:pt x="428" y="829"/>
                      <a:pt x="428" y="829"/>
                    </a:cubicBezTo>
                    <a:cubicBezTo>
                      <a:pt x="433" y="862"/>
                      <a:pt x="439" y="894"/>
                      <a:pt x="447" y="923"/>
                    </a:cubicBezTo>
                    <a:cubicBezTo>
                      <a:pt x="472" y="945"/>
                      <a:pt x="488" y="977"/>
                      <a:pt x="488" y="1013"/>
                    </a:cubicBezTo>
                    <a:cubicBezTo>
                      <a:pt x="488" y="1021"/>
                      <a:pt x="487" y="1029"/>
                      <a:pt x="486" y="1036"/>
                    </a:cubicBezTo>
                    <a:cubicBezTo>
                      <a:pt x="518" y="1107"/>
                      <a:pt x="559" y="1151"/>
                      <a:pt x="604" y="1154"/>
                    </a:cubicBezTo>
                    <a:cubicBezTo>
                      <a:pt x="615" y="1154"/>
                      <a:pt x="615" y="1154"/>
                      <a:pt x="615" y="1154"/>
                    </a:cubicBezTo>
                    <a:cubicBezTo>
                      <a:pt x="721" y="1146"/>
                      <a:pt x="808" y="907"/>
                      <a:pt x="808" y="614"/>
                    </a:cubicBezTo>
                    <a:cubicBezTo>
                      <a:pt x="808" y="317"/>
                      <a:pt x="718" y="76"/>
                      <a:pt x="609" y="76"/>
                    </a:cubicBezTo>
                    <a:cubicBezTo>
                      <a:pt x="562" y="76"/>
                      <a:pt x="519" y="121"/>
                      <a:pt x="485" y="196"/>
                    </a:cubicBezTo>
                    <a:moveTo>
                      <a:pt x="345" y="800"/>
                    </a:moveTo>
                    <a:cubicBezTo>
                      <a:pt x="350" y="833"/>
                      <a:pt x="355" y="864"/>
                      <a:pt x="362" y="894"/>
                    </a:cubicBezTo>
                    <a:cubicBezTo>
                      <a:pt x="364" y="894"/>
                      <a:pt x="367" y="894"/>
                      <a:pt x="370" y="894"/>
                    </a:cubicBezTo>
                    <a:cubicBezTo>
                      <a:pt x="380" y="894"/>
                      <a:pt x="390" y="896"/>
                      <a:pt x="400" y="898"/>
                    </a:cubicBezTo>
                    <a:cubicBezTo>
                      <a:pt x="394" y="874"/>
                      <a:pt x="389" y="849"/>
                      <a:pt x="385" y="823"/>
                    </a:cubicBezTo>
                    <a:cubicBezTo>
                      <a:pt x="371" y="816"/>
                      <a:pt x="358" y="809"/>
                      <a:pt x="345" y="800"/>
                    </a:cubicBezTo>
                    <a:close/>
                    <a:moveTo>
                      <a:pt x="226" y="1016"/>
                    </a:moveTo>
                    <a:cubicBezTo>
                      <a:pt x="215" y="1016"/>
                      <a:pt x="206" y="1025"/>
                      <a:pt x="206" y="1036"/>
                    </a:cubicBezTo>
                    <a:cubicBezTo>
                      <a:pt x="206" y="1149"/>
                      <a:pt x="206" y="1149"/>
                      <a:pt x="206" y="1149"/>
                    </a:cubicBezTo>
                    <a:cubicBezTo>
                      <a:pt x="206" y="1160"/>
                      <a:pt x="215" y="1169"/>
                      <a:pt x="226" y="1169"/>
                    </a:cubicBezTo>
                    <a:cubicBezTo>
                      <a:pt x="237" y="1169"/>
                      <a:pt x="245" y="1160"/>
                      <a:pt x="245" y="1149"/>
                    </a:cubicBezTo>
                    <a:cubicBezTo>
                      <a:pt x="245" y="1036"/>
                      <a:pt x="245" y="1036"/>
                      <a:pt x="245" y="1036"/>
                    </a:cubicBezTo>
                    <a:cubicBezTo>
                      <a:pt x="245" y="1025"/>
                      <a:pt x="237" y="1016"/>
                      <a:pt x="226" y="1016"/>
                    </a:cubicBezTo>
                    <a:close/>
                    <a:moveTo>
                      <a:pt x="79" y="793"/>
                    </a:moveTo>
                    <a:cubicBezTo>
                      <a:pt x="68" y="793"/>
                      <a:pt x="59" y="801"/>
                      <a:pt x="59" y="812"/>
                    </a:cubicBezTo>
                    <a:cubicBezTo>
                      <a:pt x="59" y="926"/>
                      <a:pt x="59" y="926"/>
                      <a:pt x="59" y="926"/>
                    </a:cubicBezTo>
                    <a:cubicBezTo>
                      <a:pt x="59" y="936"/>
                      <a:pt x="68" y="945"/>
                      <a:pt x="79" y="945"/>
                    </a:cubicBezTo>
                    <a:cubicBezTo>
                      <a:pt x="90" y="945"/>
                      <a:pt x="98" y="936"/>
                      <a:pt x="98" y="926"/>
                    </a:cubicBezTo>
                    <a:cubicBezTo>
                      <a:pt x="98" y="812"/>
                      <a:pt x="98" y="812"/>
                      <a:pt x="98" y="812"/>
                    </a:cubicBezTo>
                    <a:cubicBezTo>
                      <a:pt x="98" y="801"/>
                      <a:pt x="90" y="793"/>
                      <a:pt x="79" y="793"/>
                    </a:cubicBezTo>
                    <a:close/>
                    <a:moveTo>
                      <a:pt x="79" y="291"/>
                    </a:moveTo>
                    <a:cubicBezTo>
                      <a:pt x="35" y="291"/>
                      <a:pt x="0" y="327"/>
                      <a:pt x="0" y="370"/>
                    </a:cubicBezTo>
                    <a:cubicBezTo>
                      <a:pt x="0" y="414"/>
                      <a:pt x="35" y="449"/>
                      <a:pt x="79" y="449"/>
                    </a:cubicBezTo>
                    <a:cubicBezTo>
                      <a:pt x="122" y="449"/>
                      <a:pt x="158" y="414"/>
                      <a:pt x="158" y="370"/>
                    </a:cubicBezTo>
                    <a:cubicBezTo>
                      <a:pt x="158" y="327"/>
                      <a:pt x="122" y="291"/>
                      <a:pt x="79" y="291"/>
                    </a:cubicBezTo>
                    <a:close/>
                    <a:moveTo>
                      <a:pt x="79" y="410"/>
                    </a:moveTo>
                    <a:cubicBezTo>
                      <a:pt x="57" y="410"/>
                      <a:pt x="39" y="392"/>
                      <a:pt x="39" y="370"/>
                    </a:cubicBezTo>
                    <a:cubicBezTo>
                      <a:pt x="39" y="349"/>
                      <a:pt x="57" y="331"/>
                      <a:pt x="79" y="331"/>
                    </a:cubicBezTo>
                    <a:cubicBezTo>
                      <a:pt x="101" y="331"/>
                      <a:pt x="118" y="349"/>
                      <a:pt x="118" y="370"/>
                    </a:cubicBezTo>
                    <a:cubicBezTo>
                      <a:pt x="118" y="392"/>
                      <a:pt x="101" y="410"/>
                      <a:pt x="79" y="410"/>
                    </a:cubicBezTo>
                    <a:close/>
                    <a:moveTo>
                      <a:pt x="226" y="67"/>
                    </a:moveTo>
                    <a:cubicBezTo>
                      <a:pt x="182" y="67"/>
                      <a:pt x="147" y="103"/>
                      <a:pt x="147" y="146"/>
                    </a:cubicBezTo>
                    <a:cubicBezTo>
                      <a:pt x="147" y="190"/>
                      <a:pt x="182" y="225"/>
                      <a:pt x="226" y="225"/>
                    </a:cubicBezTo>
                    <a:cubicBezTo>
                      <a:pt x="269" y="225"/>
                      <a:pt x="305" y="190"/>
                      <a:pt x="305" y="146"/>
                    </a:cubicBezTo>
                    <a:cubicBezTo>
                      <a:pt x="305" y="103"/>
                      <a:pt x="269" y="67"/>
                      <a:pt x="226" y="67"/>
                    </a:cubicBezTo>
                    <a:close/>
                    <a:moveTo>
                      <a:pt x="226" y="186"/>
                    </a:moveTo>
                    <a:cubicBezTo>
                      <a:pt x="204" y="186"/>
                      <a:pt x="186" y="168"/>
                      <a:pt x="186" y="146"/>
                    </a:cubicBezTo>
                    <a:cubicBezTo>
                      <a:pt x="186" y="125"/>
                      <a:pt x="204" y="107"/>
                      <a:pt x="226" y="107"/>
                    </a:cubicBezTo>
                    <a:cubicBezTo>
                      <a:pt x="248" y="107"/>
                      <a:pt x="265" y="125"/>
                      <a:pt x="265" y="146"/>
                    </a:cubicBezTo>
                    <a:cubicBezTo>
                      <a:pt x="265" y="168"/>
                      <a:pt x="248" y="186"/>
                      <a:pt x="226" y="186"/>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sp>
            <p:nvSpPr>
              <p:cNvPr id="35" name="Freeform 71">
                <a:extLst>
                  <a:ext uri="{FF2B5EF4-FFF2-40B4-BE49-F238E27FC236}">
                    <a16:creationId xmlns:a16="http://schemas.microsoft.com/office/drawing/2014/main" id="{425DDCF0-1110-9D00-A55C-6F1D2FACEAA1}"/>
                  </a:ext>
                </a:extLst>
              </p:cNvPr>
              <p:cNvSpPr>
                <a:spLocks noEditPoints="1"/>
              </p:cNvSpPr>
              <p:nvPr/>
            </p:nvSpPr>
            <p:spPr bwMode="auto">
              <a:xfrm>
                <a:off x="1323199" y="2218790"/>
                <a:ext cx="1161955" cy="862417"/>
              </a:xfrm>
              <a:custGeom>
                <a:avLst/>
                <a:gdLst>
                  <a:gd name="T0" fmla="*/ 983 w 1623"/>
                  <a:gd name="T1" fmla="*/ 54 h 1205"/>
                  <a:gd name="T2" fmla="*/ 985 w 1623"/>
                  <a:gd name="T3" fmla="*/ 1134 h 1205"/>
                  <a:gd name="T4" fmla="*/ 1356 w 1623"/>
                  <a:gd name="T5" fmla="*/ 594 h 1205"/>
                  <a:gd name="T6" fmla="*/ 922 w 1623"/>
                  <a:gd name="T7" fmla="*/ 54 h 1205"/>
                  <a:gd name="T8" fmla="*/ 868 w 1623"/>
                  <a:gd name="T9" fmla="*/ 594 h 1205"/>
                  <a:gd name="T10" fmla="*/ 924 w 1623"/>
                  <a:gd name="T11" fmla="*/ 1134 h 1205"/>
                  <a:gd name="T12" fmla="*/ 922 w 1623"/>
                  <a:gd name="T13" fmla="*/ 54 h 1205"/>
                  <a:gd name="T14" fmla="*/ 1567 w 1623"/>
                  <a:gd name="T15" fmla="*/ 201 h 1205"/>
                  <a:gd name="T16" fmla="*/ 1260 w 1623"/>
                  <a:gd name="T17" fmla="*/ 54 h 1205"/>
                  <a:gd name="T18" fmla="*/ 1262 w 1623"/>
                  <a:gd name="T19" fmla="*/ 1133 h 1205"/>
                  <a:gd name="T20" fmla="*/ 1442 w 1623"/>
                  <a:gd name="T21" fmla="*/ 1134 h 1205"/>
                  <a:gd name="T22" fmla="*/ 1567 w 1623"/>
                  <a:gd name="T23" fmla="*/ 987 h 1205"/>
                  <a:gd name="T24" fmla="*/ 1623 w 1623"/>
                  <a:gd name="T25" fmla="*/ 593 h 1205"/>
                  <a:gd name="T26" fmla="*/ 226 w 1623"/>
                  <a:gd name="T27" fmla="*/ 491 h 1205"/>
                  <a:gd name="T28" fmla="*/ 245 w 1623"/>
                  <a:gd name="T29" fmla="*/ 358 h 1205"/>
                  <a:gd name="T30" fmla="*/ 206 w 1623"/>
                  <a:gd name="T31" fmla="*/ 358 h 1205"/>
                  <a:gd name="T32" fmla="*/ 226 w 1623"/>
                  <a:gd name="T33" fmla="*/ 491 h 1205"/>
                  <a:gd name="T34" fmla="*/ 389 w 1623"/>
                  <a:gd name="T35" fmla="*/ 255 h 1205"/>
                  <a:gd name="T36" fmla="*/ 370 w 1623"/>
                  <a:gd name="T37" fmla="*/ 123 h 1205"/>
                  <a:gd name="T38" fmla="*/ 350 w 1623"/>
                  <a:gd name="T39" fmla="*/ 255 h 1205"/>
                  <a:gd name="T40" fmla="*/ 79 w 1623"/>
                  <a:gd name="T41" fmla="*/ 153 h 1205"/>
                  <a:gd name="T42" fmla="*/ 98 w 1623"/>
                  <a:gd name="T43" fmla="*/ 20 h 1205"/>
                  <a:gd name="T44" fmla="*/ 59 w 1623"/>
                  <a:gd name="T45" fmla="*/ 20 h 1205"/>
                  <a:gd name="T46" fmla="*/ 79 w 1623"/>
                  <a:gd name="T47" fmla="*/ 153 h 1205"/>
                  <a:gd name="T48" fmla="*/ 147 w 1623"/>
                  <a:gd name="T49" fmla="*/ 787 h 1205"/>
                  <a:gd name="T50" fmla="*/ 305 w 1623"/>
                  <a:gd name="T51" fmla="*/ 787 h 1205"/>
                  <a:gd name="T52" fmla="*/ 226 w 1623"/>
                  <a:gd name="T53" fmla="*/ 827 h 1205"/>
                  <a:gd name="T54" fmla="*/ 226 w 1623"/>
                  <a:gd name="T55" fmla="*/ 748 h 1205"/>
                  <a:gd name="T56" fmla="*/ 226 w 1623"/>
                  <a:gd name="T57" fmla="*/ 827 h 1205"/>
                  <a:gd name="T58" fmla="*/ 291 w 1623"/>
                  <a:gd name="T59" fmla="*/ 994 h 1205"/>
                  <a:gd name="T60" fmla="*/ 449 w 1623"/>
                  <a:gd name="T61" fmla="*/ 994 h 1205"/>
                  <a:gd name="T62" fmla="*/ 370 w 1623"/>
                  <a:gd name="T63" fmla="*/ 1033 h 1205"/>
                  <a:gd name="T64" fmla="*/ 370 w 1623"/>
                  <a:gd name="T65" fmla="*/ 954 h 1205"/>
                  <a:gd name="T66" fmla="*/ 370 w 1623"/>
                  <a:gd name="T67" fmla="*/ 1033 h 1205"/>
                  <a:gd name="T68" fmla="*/ 0 w 1623"/>
                  <a:gd name="T69" fmla="*/ 1126 h 1205"/>
                  <a:gd name="T70" fmla="*/ 158 w 1623"/>
                  <a:gd name="T71" fmla="*/ 1126 h 1205"/>
                  <a:gd name="T72" fmla="*/ 79 w 1623"/>
                  <a:gd name="T73" fmla="*/ 1165 h 1205"/>
                  <a:gd name="T74" fmla="*/ 79 w 1623"/>
                  <a:gd name="T75" fmla="*/ 1086 h 1205"/>
                  <a:gd name="T76" fmla="*/ 79 w 1623"/>
                  <a:gd name="T77" fmla="*/ 1165 h 1205"/>
                  <a:gd name="T78" fmla="*/ 605 w 1623"/>
                  <a:gd name="T79" fmla="*/ 523 h 1205"/>
                  <a:gd name="T80" fmla="*/ 589 w 1623"/>
                  <a:gd name="T81" fmla="*/ 466 h 1205"/>
                  <a:gd name="T82" fmla="*/ 499 w 1623"/>
                  <a:gd name="T83" fmla="*/ 445 h 1205"/>
                  <a:gd name="T84" fmla="*/ 417 w 1623"/>
                  <a:gd name="T85" fmla="*/ 427 h 1205"/>
                  <a:gd name="T86" fmla="*/ 351 w 1623"/>
                  <a:gd name="T87" fmla="*/ 466 h 1205"/>
                  <a:gd name="T88" fmla="*/ 324 w 1623"/>
                  <a:gd name="T89" fmla="*/ 548 h 1205"/>
                  <a:gd name="T90" fmla="*/ 297 w 1623"/>
                  <a:gd name="T91" fmla="*/ 638 h 1205"/>
                  <a:gd name="T92" fmla="*/ 337 w 1623"/>
                  <a:gd name="T93" fmla="*/ 679 h 1205"/>
                  <a:gd name="T94" fmla="*/ 350 w 1623"/>
                  <a:gd name="T95" fmla="*/ 734 h 1205"/>
                  <a:gd name="T96" fmla="*/ 437 w 1623"/>
                  <a:gd name="T97" fmla="*/ 755 h 1205"/>
                  <a:gd name="T98" fmla="*/ 527 w 1623"/>
                  <a:gd name="T99" fmla="*/ 773 h 1205"/>
                  <a:gd name="T100" fmla="*/ 590 w 1623"/>
                  <a:gd name="T101" fmla="*/ 736 h 1205"/>
                  <a:gd name="T102" fmla="*/ 618 w 1623"/>
                  <a:gd name="T103" fmla="*/ 649 h 1205"/>
                  <a:gd name="T104" fmla="*/ 644 w 1623"/>
                  <a:gd name="T105" fmla="*/ 563 h 1205"/>
                  <a:gd name="T106" fmla="*/ 509 w 1623"/>
                  <a:gd name="T107" fmla="*/ 670 h 1205"/>
                  <a:gd name="T108" fmla="*/ 430 w 1623"/>
                  <a:gd name="T109" fmla="*/ 532 h 1205"/>
                  <a:gd name="T110" fmla="*/ 538 w 1623"/>
                  <a:gd name="T111" fmla="*/ 561 h 1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623" h="1205">
                    <a:moveTo>
                      <a:pt x="1197" y="54"/>
                    </a:moveTo>
                    <a:cubicBezTo>
                      <a:pt x="983" y="54"/>
                      <a:pt x="983" y="54"/>
                      <a:pt x="983" y="54"/>
                    </a:cubicBezTo>
                    <a:cubicBezTo>
                      <a:pt x="1078" y="93"/>
                      <a:pt x="1141" y="320"/>
                      <a:pt x="1141" y="594"/>
                    </a:cubicBezTo>
                    <a:cubicBezTo>
                      <a:pt x="1141" y="867"/>
                      <a:pt x="1079" y="1093"/>
                      <a:pt x="985" y="1134"/>
                    </a:cubicBezTo>
                    <a:cubicBezTo>
                      <a:pt x="1199" y="1134"/>
                      <a:pt x="1199" y="1134"/>
                      <a:pt x="1199" y="1134"/>
                    </a:cubicBezTo>
                    <a:cubicBezTo>
                      <a:pt x="1294" y="1093"/>
                      <a:pt x="1356" y="867"/>
                      <a:pt x="1356" y="594"/>
                    </a:cubicBezTo>
                    <a:cubicBezTo>
                      <a:pt x="1356" y="320"/>
                      <a:pt x="1293" y="93"/>
                      <a:pt x="1197" y="54"/>
                    </a:cubicBezTo>
                    <a:close/>
                    <a:moveTo>
                      <a:pt x="922" y="54"/>
                    </a:moveTo>
                    <a:cubicBezTo>
                      <a:pt x="714" y="54"/>
                      <a:pt x="714" y="54"/>
                      <a:pt x="714" y="54"/>
                    </a:cubicBezTo>
                    <a:cubicBezTo>
                      <a:pt x="806" y="93"/>
                      <a:pt x="868" y="320"/>
                      <a:pt x="868" y="594"/>
                    </a:cubicBezTo>
                    <a:cubicBezTo>
                      <a:pt x="868" y="867"/>
                      <a:pt x="807" y="1093"/>
                      <a:pt x="716" y="1134"/>
                    </a:cubicBezTo>
                    <a:cubicBezTo>
                      <a:pt x="924" y="1134"/>
                      <a:pt x="924" y="1134"/>
                      <a:pt x="924" y="1134"/>
                    </a:cubicBezTo>
                    <a:cubicBezTo>
                      <a:pt x="1016" y="1093"/>
                      <a:pt x="1077" y="867"/>
                      <a:pt x="1077" y="594"/>
                    </a:cubicBezTo>
                    <a:cubicBezTo>
                      <a:pt x="1077" y="320"/>
                      <a:pt x="1015" y="93"/>
                      <a:pt x="922" y="54"/>
                    </a:cubicBezTo>
                    <a:close/>
                    <a:moveTo>
                      <a:pt x="1584" y="250"/>
                    </a:moveTo>
                    <a:cubicBezTo>
                      <a:pt x="1579" y="233"/>
                      <a:pt x="1574" y="216"/>
                      <a:pt x="1567" y="201"/>
                    </a:cubicBezTo>
                    <a:cubicBezTo>
                      <a:pt x="1532" y="110"/>
                      <a:pt x="1485" y="54"/>
                      <a:pt x="1445" y="54"/>
                    </a:cubicBezTo>
                    <a:cubicBezTo>
                      <a:pt x="1260" y="54"/>
                      <a:pt x="1260" y="54"/>
                      <a:pt x="1260" y="54"/>
                    </a:cubicBezTo>
                    <a:cubicBezTo>
                      <a:pt x="1352" y="93"/>
                      <a:pt x="1414" y="320"/>
                      <a:pt x="1414" y="593"/>
                    </a:cubicBezTo>
                    <a:cubicBezTo>
                      <a:pt x="1414" y="866"/>
                      <a:pt x="1353" y="1092"/>
                      <a:pt x="1262" y="1133"/>
                    </a:cubicBezTo>
                    <a:cubicBezTo>
                      <a:pt x="1439" y="1133"/>
                      <a:pt x="1439" y="1133"/>
                      <a:pt x="1439" y="1133"/>
                    </a:cubicBezTo>
                    <a:cubicBezTo>
                      <a:pt x="1442" y="1134"/>
                      <a:pt x="1442" y="1134"/>
                      <a:pt x="1442" y="1134"/>
                    </a:cubicBezTo>
                    <a:cubicBezTo>
                      <a:pt x="1445" y="1134"/>
                      <a:pt x="1445" y="1134"/>
                      <a:pt x="1445" y="1134"/>
                    </a:cubicBezTo>
                    <a:cubicBezTo>
                      <a:pt x="1485" y="1134"/>
                      <a:pt x="1532" y="1078"/>
                      <a:pt x="1567" y="987"/>
                    </a:cubicBezTo>
                    <a:cubicBezTo>
                      <a:pt x="1574" y="972"/>
                      <a:pt x="1579" y="956"/>
                      <a:pt x="1584" y="939"/>
                    </a:cubicBezTo>
                    <a:cubicBezTo>
                      <a:pt x="1609" y="844"/>
                      <a:pt x="1623" y="724"/>
                      <a:pt x="1623" y="593"/>
                    </a:cubicBezTo>
                    <a:cubicBezTo>
                      <a:pt x="1623" y="464"/>
                      <a:pt x="1609" y="344"/>
                      <a:pt x="1584" y="250"/>
                    </a:cubicBezTo>
                    <a:close/>
                    <a:moveTo>
                      <a:pt x="226" y="491"/>
                    </a:moveTo>
                    <a:cubicBezTo>
                      <a:pt x="237" y="491"/>
                      <a:pt x="245" y="482"/>
                      <a:pt x="245" y="471"/>
                    </a:cubicBezTo>
                    <a:cubicBezTo>
                      <a:pt x="245" y="358"/>
                      <a:pt x="245" y="358"/>
                      <a:pt x="245" y="358"/>
                    </a:cubicBezTo>
                    <a:cubicBezTo>
                      <a:pt x="245" y="347"/>
                      <a:pt x="237" y="339"/>
                      <a:pt x="226" y="339"/>
                    </a:cubicBezTo>
                    <a:cubicBezTo>
                      <a:pt x="215" y="339"/>
                      <a:pt x="206" y="347"/>
                      <a:pt x="206" y="358"/>
                    </a:cubicBezTo>
                    <a:cubicBezTo>
                      <a:pt x="206" y="471"/>
                      <a:pt x="206" y="471"/>
                      <a:pt x="206" y="471"/>
                    </a:cubicBezTo>
                    <a:cubicBezTo>
                      <a:pt x="206" y="482"/>
                      <a:pt x="215" y="491"/>
                      <a:pt x="226" y="491"/>
                    </a:cubicBezTo>
                    <a:close/>
                    <a:moveTo>
                      <a:pt x="370" y="275"/>
                    </a:moveTo>
                    <a:cubicBezTo>
                      <a:pt x="380" y="275"/>
                      <a:pt x="389" y="266"/>
                      <a:pt x="389" y="255"/>
                    </a:cubicBezTo>
                    <a:cubicBezTo>
                      <a:pt x="389" y="142"/>
                      <a:pt x="389" y="142"/>
                      <a:pt x="389" y="142"/>
                    </a:cubicBezTo>
                    <a:cubicBezTo>
                      <a:pt x="389" y="131"/>
                      <a:pt x="380" y="123"/>
                      <a:pt x="370" y="123"/>
                    </a:cubicBezTo>
                    <a:cubicBezTo>
                      <a:pt x="359" y="123"/>
                      <a:pt x="350" y="131"/>
                      <a:pt x="350" y="142"/>
                    </a:cubicBezTo>
                    <a:cubicBezTo>
                      <a:pt x="350" y="255"/>
                      <a:pt x="350" y="255"/>
                      <a:pt x="350" y="255"/>
                    </a:cubicBezTo>
                    <a:cubicBezTo>
                      <a:pt x="350" y="266"/>
                      <a:pt x="359" y="275"/>
                      <a:pt x="370" y="275"/>
                    </a:cubicBezTo>
                    <a:close/>
                    <a:moveTo>
                      <a:pt x="79" y="153"/>
                    </a:moveTo>
                    <a:cubicBezTo>
                      <a:pt x="90" y="153"/>
                      <a:pt x="98" y="144"/>
                      <a:pt x="98" y="133"/>
                    </a:cubicBezTo>
                    <a:cubicBezTo>
                      <a:pt x="98" y="20"/>
                      <a:pt x="98" y="20"/>
                      <a:pt x="98" y="20"/>
                    </a:cubicBezTo>
                    <a:cubicBezTo>
                      <a:pt x="98" y="9"/>
                      <a:pt x="90" y="0"/>
                      <a:pt x="79" y="0"/>
                    </a:cubicBezTo>
                    <a:cubicBezTo>
                      <a:pt x="68" y="0"/>
                      <a:pt x="59" y="9"/>
                      <a:pt x="59" y="20"/>
                    </a:cubicBezTo>
                    <a:cubicBezTo>
                      <a:pt x="59" y="133"/>
                      <a:pt x="59" y="133"/>
                      <a:pt x="59" y="133"/>
                    </a:cubicBezTo>
                    <a:cubicBezTo>
                      <a:pt x="59" y="144"/>
                      <a:pt x="68" y="153"/>
                      <a:pt x="79" y="153"/>
                    </a:cubicBezTo>
                    <a:close/>
                    <a:moveTo>
                      <a:pt x="226" y="708"/>
                    </a:moveTo>
                    <a:cubicBezTo>
                      <a:pt x="182" y="708"/>
                      <a:pt x="147" y="744"/>
                      <a:pt x="147" y="787"/>
                    </a:cubicBezTo>
                    <a:cubicBezTo>
                      <a:pt x="147" y="831"/>
                      <a:pt x="182" y="866"/>
                      <a:pt x="226" y="866"/>
                    </a:cubicBezTo>
                    <a:cubicBezTo>
                      <a:pt x="269" y="866"/>
                      <a:pt x="305" y="831"/>
                      <a:pt x="305" y="787"/>
                    </a:cubicBezTo>
                    <a:cubicBezTo>
                      <a:pt x="305" y="744"/>
                      <a:pt x="269" y="708"/>
                      <a:pt x="226" y="708"/>
                    </a:cubicBezTo>
                    <a:close/>
                    <a:moveTo>
                      <a:pt x="226" y="827"/>
                    </a:moveTo>
                    <a:cubicBezTo>
                      <a:pt x="204" y="827"/>
                      <a:pt x="186" y="809"/>
                      <a:pt x="186" y="787"/>
                    </a:cubicBezTo>
                    <a:cubicBezTo>
                      <a:pt x="186" y="765"/>
                      <a:pt x="204" y="748"/>
                      <a:pt x="226" y="748"/>
                    </a:cubicBezTo>
                    <a:cubicBezTo>
                      <a:pt x="248" y="748"/>
                      <a:pt x="265" y="765"/>
                      <a:pt x="265" y="787"/>
                    </a:cubicBezTo>
                    <a:cubicBezTo>
                      <a:pt x="265" y="809"/>
                      <a:pt x="248" y="827"/>
                      <a:pt x="226" y="827"/>
                    </a:cubicBezTo>
                    <a:close/>
                    <a:moveTo>
                      <a:pt x="370" y="915"/>
                    </a:moveTo>
                    <a:cubicBezTo>
                      <a:pt x="326" y="915"/>
                      <a:pt x="291" y="950"/>
                      <a:pt x="291" y="994"/>
                    </a:cubicBezTo>
                    <a:cubicBezTo>
                      <a:pt x="291" y="1037"/>
                      <a:pt x="326" y="1073"/>
                      <a:pt x="370" y="1073"/>
                    </a:cubicBezTo>
                    <a:cubicBezTo>
                      <a:pt x="413" y="1073"/>
                      <a:pt x="449" y="1037"/>
                      <a:pt x="449" y="994"/>
                    </a:cubicBezTo>
                    <a:cubicBezTo>
                      <a:pt x="449" y="950"/>
                      <a:pt x="413" y="915"/>
                      <a:pt x="370" y="915"/>
                    </a:cubicBezTo>
                    <a:close/>
                    <a:moveTo>
                      <a:pt x="370" y="1033"/>
                    </a:moveTo>
                    <a:cubicBezTo>
                      <a:pt x="348" y="1033"/>
                      <a:pt x="330" y="1015"/>
                      <a:pt x="330" y="994"/>
                    </a:cubicBezTo>
                    <a:cubicBezTo>
                      <a:pt x="330" y="972"/>
                      <a:pt x="348" y="954"/>
                      <a:pt x="370" y="954"/>
                    </a:cubicBezTo>
                    <a:cubicBezTo>
                      <a:pt x="391" y="954"/>
                      <a:pt x="409" y="972"/>
                      <a:pt x="409" y="994"/>
                    </a:cubicBezTo>
                    <a:cubicBezTo>
                      <a:pt x="409" y="1015"/>
                      <a:pt x="391" y="1033"/>
                      <a:pt x="370" y="1033"/>
                    </a:cubicBezTo>
                    <a:close/>
                    <a:moveTo>
                      <a:pt x="79" y="1047"/>
                    </a:moveTo>
                    <a:cubicBezTo>
                      <a:pt x="35" y="1047"/>
                      <a:pt x="0" y="1082"/>
                      <a:pt x="0" y="1126"/>
                    </a:cubicBezTo>
                    <a:cubicBezTo>
                      <a:pt x="0" y="1169"/>
                      <a:pt x="35" y="1205"/>
                      <a:pt x="79" y="1205"/>
                    </a:cubicBezTo>
                    <a:cubicBezTo>
                      <a:pt x="122" y="1205"/>
                      <a:pt x="158" y="1169"/>
                      <a:pt x="158" y="1126"/>
                    </a:cubicBezTo>
                    <a:cubicBezTo>
                      <a:pt x="158" y="1082"/>
                      <a:pt x="122" y="1047"/>
                      <a:pt x="79" y="1047"/>
                    </a:cubicBezTo>
                    <a:close/>
                    <a:moveTo>
                      <a:pt x="79" y="1165"/>
                    </a:moveTo>
                    <a:cubicBezTo>
                      <a:pt x="57" y="1165"/>
                      <a:pt x="39" y="1147"/>
                      <a:pt x="39" y="1126"/>
                    </a:cubicBezTo>
                    <a:cubicBezTo>
                      <a:pt x="39" y="1104"/>
                      <a:pt x="57" y="1086"/>
                      <a:pt x="79" y="1086"/>
                    </a:cubicBezTo>
                    <a:cubicBezTo>
                      <a:pt x="101" y="1086"/>
                      <a:pt x="118" y="1104"/>
                      <a:pt x="118" y="1126"/>
                    </a:cubicBezTo>
                    <a:cubicBezTo>
                      <a:pt x="118" y="1147"/>
                      <a:pt x="101" y="1165"/>
                      <a:pt x="79" y="1165"/>
                    </a:cubicBezTo>
                    <a:close/>
                    <a:moveTo>
                      <a:pt x="617" y="550"/>
                    </a:moveTo>
                    <a:cubicBezTo>
                      <a:pt x="614" y="541"/>
                      <a:pt x="610" y="532"/>
                      <a:pt x="605" y="523"/>
                    </a:cubicBezTo>
                    <a:cubicBezTo>
                      <a:pt x="600" y="513"/>
                      <a:pt x="593" y="504"/>
                      <a:pt x="586" y="496"/>
                    </a:cubicBezTo>
                    <a:cubicBezTo>
                      <a:pt x="589" y="466"/>
                      <a:pt x="589" y="466"/>
                      <a:pt x="589" y="466"/>
                    </a:cubicBezTo>
                    <a:cubicBezTo>
                      <a:pt x="570" y="448"/>
                      <a:pt x="547" y="435"/>
                      <a:pt x="523" y="427"/>
                    </a:cubicBezTo>
                    <a:cubicBezTo>
                      <a:pt x="499" y="445"/>
                      <a:pt x="499" y="445"/>
                      <a:pt x="499" y="445"/>
                    </a:cubicBezTo>
                    <a:cubicBezTo>
                      <a:pt x="479" y="441"/>
                      <a:pt x="460" y="442"/>
                      <a:pt x="441" y="445"/>
                    </a:cubicBezTo>
                    <a:cubicBezTo>
                      <a:pt x="417" y="427"/>
                      <a:pt x="417" y="427"/>
                      <a:pt x="417" y="427"/>
                    </a:cubicBezTo>
                    <a:cubicBezTo>
                      <a:pt x="405" y="432"/>
                      <a:pt x="392" y="436"/>
                      <a:pt x="381" y="443"/>
                    </a:cubicBezTo>
                    <a:cubicBezTo>
                      <a:pt x="370" y="450"/>
                      <a:pt x="360" y="457"/>
                      <a:pt x="351" y="466"/>
                    </a:cubicBezTo>
                    <a:cubicBezTo>
                      <a:pt x="355" y="497"/>
                      <a:pt x="355" y="497"/>
                      <a:pt x="355" y="497"/>
                    </a:cubicBezTo>
                    <a:cubicBezTo>
                      <a:pt x="341" y="512"/>
                      <a:pt x="331" y="530"/>
                      <a:pt x="324" y="548"/>
                    </a:cubicBezTo>
                    <a:cubicBezTo>
                      <a:pt x="297" y="560"/>
                      <a:pt x="297" y="560"/>
                      <a:pt x="297" y="560"/>
                    </a:cubicBezTo>
                    <a:cubicBezTo>
                      <a:pt x="291" y="585"/>
                      <a:pt x="291" y="611"/>
                      <a:pt x="297" y="638"/>
                    </a:cubicBezTo>
                    <a:cubicBezTo>
                      <a:pt x="323" y="649"/>
                      <a:pt x="323" y="649"/>
                      <a:pt x="323" y="649"/>
                    </a:cubicBezTo>
                    <a:cubicBezTo>
                      <a:pt x="326" y="659"/>
                      <a:pt x="331" y="670"/>
                      <a:pt x="337" y="679"/>
                    </a:cubicBezTo>
                    <a:cubicBezTo>
                      <a:pt x="341" y="688"/>
                      <a:pt x="348" y="697"/>
                      <a:pt x="354" y="704"/>
                    </a:cubicBezTo>
                    <a:cubicBezTo>
                      <a:pt x="350" y="734"/>
                      <a:pt x="350" y="734"/>
                      <a:pt x="350" y="734"/>
                    </a:cubicBezTo>
                    <a:cubicBezTo>
                      <a:pt x="369" y="752"/>
                      <a:pt x="391" y="764"/>
                      <a:pt x="413" y="772"/>
                    </a:cubicBezTo>
                    <a:cubicBezTo>
                      <a:pt x="437" y="755"/>
                      <a:pt x="437" y="755"/>
                      <a:pt x="437" y="755"/>
                    </a:cubicBezTo>
                    <a:cubicBezTo>
                      <a:pt x="459" y="760"/>
                      <a:pt x="480" y="760"/>
                      <a:pt x="502" y="756"/>
                    </a:cubicBezTo>
                    <a:cubicBezTo>
                      <a:pt x="527" y="773"/>
                      <a:pt x="527" y="773"/>
                      <a:pt x="527" y="773"/>
                    </a:cubicBezTo>
                    <a:cubicBezTo>
                      <a:pt x="537" y="770"/>
                      <a:pt x="548" y="764"/>
                      <a:pt x="559" y="759"/>
                    </a:cubicBezTo>
                    <a:cubicBezTo>
                      <a:pt x="570" y="753"/>
                      <a:pt x="580" y="744"/>
                      <a:pt x="590" y="736"/>
                    </a:cubicBezTo>
                    <a:cubicBezTo>
                      <a:pt x="586" y="707"/>
                      <a:pt x="586" y="707"/>
                      <a:pt x="586" y="707"/>
                    </a:cubicBezTo>
                    <a:cubicBezTo>
                      <a:pt x="600" y="690"/>
                      <a:pt x="611" y="670"/>
                      <a:pt x="618" y="649"/>
                    </a:cubicBezTo>
                    <a:cubicBezTo>
                      <a:pt x="645" y="638"/>
                      <a:pt x="645" y="638"/>
                      <a:pt x="645" y="638"/>
                    </a:cubicBezTo>
                    <a:cubicBezTo>
                      <a:pt x="650" y="613"/>
                      <a:pt x="650" y="587"/>
                      <a:pt x="644" y="563"/>
                    </a:cubicBezTo>
                    <a:cubicBezTo>
                      <a:pt x="617" y="550"/>
                      <a:pt x="617" y="550"/>
                      <a:pt x="617" y="550"/>
                    </a:cubicBezTo>
                    <a:close/>
                    <a:moveTo>
                      <a:pt x="509" y="670"/>
                    </a:moveTo>
                    <a:cubicBezTo>
                      <a:pt x="471" y="692"/>
                      <a:pt x="424" y="678"/>
                      <a:pt x="402" y="640"/>
                    </a:cubicBezTo>
                    <a:cubicBezTo>
                      <a:pt x="380" y="603"/>
                      <a:pt x="392" y="553"/>
                      <a:pt x="430" y="532"/>
                    </a:cubicBezTo>
                    <a:cubicBezTo>
                      <a:pt x="440" y="526"/>
                      <a:pt x="450" y="523"/>
                      <a:pt x="460" y="522"/>
                    </a:cubicBezTo>
                    <a:cubicBezTo>
                      <a:pt x="490" y="518"/>
                      <a:pt x="522" y="532"/>
                      <a:pt x="538" y="561"/>
                    </a:cubicBezTo>
                    <a:cubicBezTo>
                      <a:pt x="559" y="600"/>
                      <a:pt x="547" y="648"/>
                      <a:pt x="509" y="67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grpSp>
      </p:grpSp>
      <p:grpSp>
        <p:nvGrpSpPr>
          <p:cNvPr id="39" name="Group 38">
            <a:extLst>
              <a:ext uri="{FF2B5EF4-FFF2-40B4-BE49-F238E27FC236}">
                <a16:creationId xmlns:a16="http://schemas.microsoft.com/office/drawing/2014/main" id="{F4487E65-B1A9-B077-EB48-4ECDF06F85A4}"/>
              </a:ext>
            </a:extLst>
          </p:cNvPr>
          <p:cNvGrpSpPr/>
          <p:nvPr/>
        </p:nvGrpSpPr>
        <p:grpSpPr>
          <a:xfrm>
            <a:off x="5096850" y="3860979"/>
            <a:ext cx="467949" cy="460104"/>
            <a:chOff x="5937564" y="3833745"/>
            <a:chExt cx="306171" cy="306910"/>
          </a:xfrm>
        </p:grpSpPr>
        <p:sp>
          <p:nvSpPr>
            <p:cNvPr id="44" name="Freeform 94">
              <a:extLst>
                <a:ext uri="{FF2B5EF4-FFF2-40B4-BE49-F238E27FC236}">
                  <a16:creationId xmlns:a16="http://schemas.microsoft.com/office/drawing/2014/main" id="{E83F5C6C-F222-D581-A4FD-2FFAEEFA9625}"/>
                </a:ext>
              </a:extLst>
            </p:cNvPr>
            <p:cNvSpPr>
              <a:spLocks/>
            </p:cNvSpPr>
            <p:nvPr/>
          </p:nvSpPr>
          <p:spPr bwMode="gray">
            <a:xfrm>
              <a:off x="593756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rgbClr val="008C4F"/>
            </a:solidFill>
            <a:ln>
              <a:solidFill>
                <a:srgbClr val="008C4F"/>
              </a:solidFill>
            </a:ln>
          </p:spPr>
          <p:txBody>
            <a:bodyPr vert="horz" wrap="square" lIns="88641" tIns="44321" rIns="88641" bIns="44321" numCol="1" anchor="t" anchorCtr="0" compatLnSpc="1">
              <a:prstTxWarp prst="textNoShape">
                <a:avLst/>
              </a:prstTxWarp>
            </a:bodyPr>
            <a:lstStyle/>
            <a:p>
              <a:endParaRPr lang="en-US">
                <a:solidFill>
                  <a:srgbClr val="6E6F73"/>
                </a:solidFill>
              </a:endParaRPr>
            </a:p>
          </p:txBody>
        </p:sp>
        <p:sp>
          <p:nvSpPr>
            <p:cNvPr id="45" name="Freeform 95">
              <a:extLst>
                <a:ext uri="{FF2B5EF4-FFF2-40B4-BE49-F238E27FC236}">
                  <a16:creationId xmlns:a16="http://schemas.microsoft.com/office/drawing/2014/main" id="{BB73A0BE-CC07-2E0B-6C6E-A9DF3E97E7E8}"/>
                </a:ext>
              </a:extLst>
            </p:cNvPr>
            <p:cNvSpPr>
              <a:spLocks/>
            </p:cNvSpPr>
            <p:nvPr/>
          </p:nvSpPr>
          <p:spPr bwMode="gray">
            <a:xfrm>
              <a:off x="605399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endParaRPr lang="en-US">
                <a:solidFill>
                  <a:srgbClr val="6E6F73"/>
                </a:solidFill>
              </a:endParaRPr>
            </a:p>
          </p:txBody>
        </p:sp>
      </p:grpSp>
    </p:spTree>
    <p:extLst>
      <p:ext uri="{BB962C8B-B14F-4D97-AF65-F5344CB8AC3E}">
        <p14:creationId xmlns:p14="http://schemas.microsoft.com/office/powerpoint/2010/main" val="21205254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jjrm7ugB57Vqdi2RRWsBSQ"/>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Vietcombank Grid 16:9 - 18842">
  <a:themeElements>
    <a:clrScheme name="Grid color">
      <a:dk1>
        <a:srgbClr val="000000"/>
      </a:dk1>
      <a:lt1>
        <a:sysClr val="window" lastClr="FFFFFF"/>
      </a:lt1>
      <a:dk2>
        <a:srgbClr val="008C4F"/>
      </a:dk2>
      <a:lt2>
        <a:srgbClr val="F2F2F2"/>
      </a:lt2>
      <a:accent1>
        <a:srgbClr val="004E2A"/>
      </a:accent1>
      <a:accent2>
        <a:srgbClr val="00693B"/>
      </a:accent2>
      <a:accent3>
        <a:srgbClr val="D4DF33"/>
      </a:accent3>
      <a:accent4>
        <a:srgbClr val="78B944"/>
      </a:accent4>
      <a:accent5>
        <a:srgbClr val="B1B3B3"/>
      </a:accent5>
      <a:accent6>
        <a:srgbClr val="295E7E"/>
      </a:accent6>
      <a:hlink>
        <a:srgbClr val="295E7E"/>
      </a:hlink>
      <a:folHlink>
        <a:srgbClr val="670F31"/>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9525" cap="rnd" cmpd="sng" algn="ctr">
          <a:solidFill>
            <a:schemeClr val="tx2"/>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rgbClr val="9A9A9A"/>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sz="12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3.xml><?xml version="1.0" encoding="utf-8"?>
<a:theme xmlns:a="http://schemas.openxmlformats.org/drawingml/2006/main">
  <a:themeElements>
    <a:clrScheme name="Default">
      <a:dk1>
        <a:srgbClr val="000000"/>
      </a:dk1>
      <a:lt1>
        <a:srgbClr val="FFFFFF"/>
      </a:lt1>
      <a:dk2>
        <a:srgbClr val="158158"/>
      </a:dk2>
      <a:lt2>
        <a:srgbClr val="F3F3F3"/>
      </a:lt2>
      <a:accent1>
        <a:srgbClr val="058DC7"/>
      </a:accent1>
      <a:accent2>
        <a:srgbClr val="50B432"/>
      </a:accent2>
      <a:accent3>
        <a:srgbClr val="ED561B"/>
      </a:accent3>
      <a:accent4>
        <a:srgbClr val="EDEF00"/>
      </a:accent4>
      <a:accent5>
        <a:srgbClr val="24CBE5"/>
      </a:accent5>
      <a:accent6>
        <a:srgbClr val="64E572"/>
      </a:accent6>
      <a:hlink>
        <a:srgbClr val="2200CC"/>
      </a:hlink>
      <a:folHlink>
        <a:srgbClr val="551A8B"/>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1469</TotalTime>
  <Words>1553</Words>
  <Application>Microsoft Office PowerPoint</Application>
  <PresentationFormat>Widescreen</PresentationFormat>
  <Paragraphs>168</Paragraphs>
  <Slides>24</Slides>
  <Notes>1</Notes>
  <HiddenSlides>0</HiddenSlides>
  <MMClips>0</MMClips>
  <ScaleCrop>false</ScaleCrop>
  <HeadingPairs>
    <vt:vector size="8" baseType="variant">
      <vt:variant>
        <vt:lpstr>Fonts Used</vt:lpstr>
      </vt:variant>
      <vt:variant>
        <vt:i4>7</vt:i4>
      </vt:variant>
      <vt:variant>
        <vt:lpstr>Theme</vt:lpstr>
      </vt:variant>
      <vt:variant>
        <vt:i4>2</vt:i4>
      </vt:variant>
      <vt:variant>
        <vt:lpstr>Embedded OLE Servers</vt:lpstr>
      </vt:variant>
      <vt:variant>
        <vt:i4>1</vt:i4>
      </vt:variant>
      <vt:variant>
        <vt:lpstr>Slide Titles</vt:lpstr>
      </vt:variant>
      <vt:variant>
        <vt:i4>24</vt:i4>
      </vt:variant>
    </vt:vector>
  </HeadingPairs>
  <TitlesOfParts>
    <vt:vector size="34" baseType="lpstr">
      <vt:lpstr>Arial</vt:lpstr>
      <vt:lpstr>Calibri</vt:lpstr>
      <vt:lpstr>Consolas</vt:lpstr>
      <vt:lpstr>Helvetica Neue</vt:lpstr>
      <vt:lpstr>Times New Roman</vt:lpstr>
      <vt:lpstr>Trebuchet MS</vt:lpstr>
      <vt:lpstr>Wingdings 3</vt:lpstr>
      <vt:lpstr>Office Theme</vt:lpstr>
      <vt:lpstr>Vietcombank Grid 16:9 - 18842</vt:lpstr>
      <vt:lpstr>think-cell Slide</vt:lpstr>
      <vt:lpstr>BI23</vt:lpstr>
      <vt:lpstr>PowerPoint Presentation</vt:lpstr>
      <vt:lpstr>PowerPoint Presentation</vt:lpstr>
      <vt:lpstr>1 – Approach</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4E40</dc:title>
  <dc:creator>Pham Minh Duc - TTNHS</dc:creator>
  <cp:lastModifiedBy>Pham Minh Duc - TTNHS</cp:lastModifiedBy>
  <cp:revision>24</cp:revision>
  <dcterms:created xsi:type="dcterms:W3CDTF">2022-12-18T12:39:56Z</dcterms:created>
  <dcterms:modified xsi:type="dcterms:W3CDTF">2023-06-14T10:06:19Z</dcterms:modified>
</cp:coreProperties>
</file>